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heme/theme3.xml" ContentType="application/vnd.openxmlformats-officedocument.theme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theme/theme4.xml" ContentType="application/vnd.openxmlformats-officedocument.theme+xml"/>
  <Override PartName="/ppt/tags/tag1.xml" ContentType="application/vnd.openxmlformats-officedocument.presentationml.tags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theme/theme5.xml" ContentType="application/vnd.openxmlformats-officedocument.theme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theme/theme6.xml" ContentType="application/vnd.openxmlformats-officedocument.theme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theme/theme7.xml" ContentType="application/vnd.openxmlformats-officedocument.theme+xml"/>
  <Override PartName="/ppt/tags/tag2.xml" ContentType="application/vnd.openxmlformats-officedocument.presentationml.tags+xml"/>
  <Override PartName="/ppt/theme/theme8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0" r:id="rId2"/>
    <p:sldMasterId id="2147483672" r:id="rId3"/>
    <p:sldMasterId id="2147483678" r:id="rId4"/>
    <p:sldMasterId id="2147483690" r:id="rId5"/>
    <p:sldMasterId id="2147483702" r:id="rId6"/>
    <p:sldMasterId id="2147483726" r:id="rId7"/>
  </p:sldMasterIdLst>
  <p:notesMasterIdLst>
    <p:notesMasterId r:id="rId22"/>
  </p:notesMasterIdLst>
  <p:sldIdLst>
    <p:sldId id="299" r:id="rId8"/>
    <p:sldId id="523" r:id="rId9"/>
    <p:sldId id="529" r:id="rId10"/>
    <p:sldId id="307" r:id="rId11"/>
    <p:sldId id="377" r:id="rId12"/>
    <p:sldId id="263" r:id="rId13"/>
    <p:sldId id="350" r:id="rId14"/>
    <p:sldId id="525" r:id="rId15"/>
    <p:sldId id="312" r:id="rId16"/>
    <p:sldId id="323" r:id="rId17"/>
    <p:sldId id="526" r:id="rId18"/>
    <p:sldId id="333" r:id="rId19"/>
    <p:sldId id="361" r:id="rId20"/>
    <p:sldId id="314" r:id="rId21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Haciyeva Ayla" initials="HA" lastIdx="1" clrIdx="0">
    <p:extLst>
      <p:ext uri="{19B8F6BF-5375-455C-9EA6-DF929625EA0E}">
        <p15:presenceInfo xmlns:p15="http://schemas.microsoft.com/office/powerpoint/2012/main" userId="c8cac6a9870c86d7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105" d="100"/>
          <a:sy n="105" d="100"/>
        </p:scale>
        <p:origin x="714" y="7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slide" Target="slides/slide6.xml"/><Relationship Id="rId18" Type="http://schemas.openxmlformats.org/officeDocument/2006/relationships/slide" Target="slides/slide11.xml"/><Relationship Id="rId26" Type="http://schemas.openxmlformats.org/officeDocument/2006/relationships/theme" Target="theme/theme1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4.xml"/><Relationship Id="rId7" Type="http://schemas.openxmlformats.org/officeDocument/2006/relationships/slideMaster" Target="slideMasters/slideMaster7.xml"/><Relationship Id="rId12" Type="http://schemas.openxmlformats.org/officeDocument/2006/relationships/slide" Target="slides/slide5.xml"/><Relationship Id="rId17" Type="http://schemas.openxmlformats.org/officeDocument/2006/relationships/slide" Target="slides/slide10.xml"/><Relationship Id="rId25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9.xml"/><Relationship Id="rId20" Type="http://schemas.openxmlformats.org/officeDocument/2006/relationships/slide" Target="slides/slide13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4.xml"/><Relationship Id="rId24" Type="http://schemas.openxmlformats.org/officeDocument/2006/relationships/presProps" Target="presProps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8.xml"/><Relationship Id="rId23" Type="http://schemas.openxmlformats.org/officeDocument/2006/relationships/commentAuthors" Target="commentAuthors.xml"/><Relationship Id="rId10" Type="http://schemas.openxmlformats.org/officeDocument/2006/relationships/slide" Target="slides/slide3.xml"/><Relationship Id="rId19" Type="http://schemas.openxmlformats.org/officeDocument/2006/relationships/slide" Target="slides/slide12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2.xml"/><Relationship Id="rId14" Type="http://schemas.openxmlformats.org/officeDocument/2006/relationships/slide" Target="slides/slide7.xml"/><Relationship Id="rId22" Type="http://schemas.openxmlformats.org/officeDocument/2006/relationships/notesMaster" Target="notesMasters/notesMaster1.xml"/><Relationship Id="rId27" Type="http://schemas.openxmlformats.org/officeDocument/2006/relationships/tableStyles" Target="tableStyle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4">
  <dgm:title val=""/>
  <dgm:desc val=""/>
  <dgm:catLst>
    <dgm:cat type="colorful" pri="10400"/>
  </dgm:catLst>
  <dgm:styleLbl name="node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4"/>
      <a:schemeClr val="accent5"/>
    </dgm:fillClrLst>
    <dgm:linClrLst>
      <a:schemeClr val="accent4"/>
      <a:schemeClr val="accent5"/>
    </dgm:linClrLst>
    <dgm:effectClrLst/>
    <dgm:txLinClrLst/>
    <dgm:txFillClrLst/>
    <dgm:txEffectClrLst/>
  </dgm:styleLbl>
  <dgm:styleLbl name="ln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4">
        <a:alpha val="50000"/>
      </a:schemeClr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4">
        <a:tint val="50000"/>
      </a:schemeClr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4"/>
      <a:schemeClr val="accent5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>
        <a:tint val="9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>
        <a:tint val="5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A671DD12-1FE1-4A1F-BA1A-BB4DDF1D7666}" type="doc">
      <dgm:prSet loTypeId="urn:microsoft.com/office/officeart/2005/8/layout/chevron1" loCatId="process" qsTypeId="urn:microsoft.com/office/officeart/2005/8/quickstyle/simple2" qsCatId="simple" csTypeId="urn:microsoft.com/office/officeart/2005/8/colors/colorful4" csCatId="colorful" phldr="1"/>
      <dgm:spPr/>
    </dgm:pt>
    <dgm:pt modelId="{F00D82C3-338A-4CB5-B524-50B17E367E9F}">
      <dgm:prSet phldrT="[Текст]" custT="1"/>
      <dgm:spPr/>
      <dgm:t>
        <a:bodyPr/>
        <a:lstStyle/>
        <a:p>
          <a:r>
            <a:rPr lang="en-US" sz="1300" b="1" dirty="0" err="1">
              <a:latin typeface="Arial" panose="020B0604020202020204" pitchFamily="34" charset="0"/>
            </a:rPr>
            <a:t>Laktobakteriyaların</a:t>
          </a:r>
          <a:r>
            <a:rPr lang="en-US" sz="1300" b="1" dirty="0">
              <a:latin typeface="Arial" panose="020B0604020202020204" pitchFamily="34" charset="0"/>
            </a:rPr>
            <a:t> </a:t>
          </a:r>
          <a:r>
            <a:rPr lang="en-US" sz="1300" b="1" dirty="0" err="1">
              <a:latin typeface="Arial" panose="020B0604020202020204" pitchFamily="34" charset="0"/>
            </a:rPr>
            <a:t>iştirakı</a:t>
          </a:r>
          <a:r>
            <a:rPr lang="en-US" sz="1300" b="1" dirty="0">
              <a:latin typeface="Arial" panose="020B0604020202020204" pitchFamily="34" charset="0"/>
            </a:rPr>
            <a:t> </a:t>
          </a:r>
          <a:r>
            <a:rPr lang="en-US" sz="1300" b="1" dirty="0" err="1">
              <a:latin typeface="Arial" panose="020B0604020202020204" pitchFamily="34" charset="0"/>
            </a:rPr>
            <a:t>ilə</a:t>
          </a:r>
          <a:r>
            <a:rPr lang="en-US" sz="1300" b="1" dirty="0">
              <a:latin typeface="Arial" panose="020B0604020202020204" pitchFamily="34" charset="0"/>
            </a:rPr>
            <a:t> BB-12-nin </a:t>
          </a:r>
          <a:r>
            <a:rPr lang="en-US" sz="1300" b="1" dirty="0" err="1">
              <a:latin typeface="Arial" panose="020B0604020202020204" pitchFamily="34" charset="0"/>
            </a:rPr>
            <a:t>yapışqanl</a:t>
          </a:r>
          <a:r>
            <a:rPr lang="az-Latn-AZ" sz="1300" b="1" dirty="0">
              <a:latin typeface="Arial" panose="020B0604020202020204" pitchFamily="34" charset="0"/>
            </a:rPr>
            <a:t>ığının</a:t>
          </a:r>
          <a:r>
            <a:rPr lang="en-US" sz="1300" b="1" dirty="0">
              <a:latin typeface="Arial" panose="020B0604020202020204" pitchFamily="34" charset="0"/>
            </a:rPr>
            <a:t> 2 </a:t>
          </a:r>
          <a:r>
            <a:rPr lang="en-US" sz="1300" b="1" dirty="0" err="1">
              <a:latin typeface="Arial" panose="020B0604020202020204" pitchFamily="34" charset="0"/>
            </a:rPr>
            <a:t>dəfədən</a:t>
          </a:r>
          <a:r>
            <a:rPr lang="en-US" sz="1300" b="1" dirty="0">
              <a:latin typeface="Arial" panose="020B0604020202020204" pitchFamily="34" charset="0"/>
            </a:rPr>
            <a:t> </a:t>
          </a:r>
          <a:r>
            <a:rPr lang="en-US" sz="1300" b="1" dirty="0" err="1">
              <a:latin typeface="Arial" panose="020B0604020202020204" pitchFamily="34" charset="0"/>
            </a:rPr>
            <a:t>çox</a:t>
          </a:r>
          <a:r>
            <a:rPr lang="en-US" sz="1300" b="1" dirty="0">
              <a:latin typeface="Arial" panose="020B0604020202020204" pitchFamily="34" charset="0"/>
            </a:rPr>
            <a:t> </a:t>
          </a:r>
          <a:r>
            <a:rPr lang="en-US" sz="1300" b="1" dirty="0" err="1">
              <a:latin typeface="Arial" panose="020B0604020202020204" pitchFamily="34" charset="0"/>
            </a:rPr>
            <a:t>artması</a:t>
          </a:r>
          <a:endParaRPr lang="ru-RU" sz="1300" dirty="0"/>
        </a:p>
      </dgm:t>
    </dgm:pt>
    <dgm:pt modelId="{4A141282-F6F2-4598-AEC8-5C921CCE67FE}" type="parTrans" cxnId="{982CA3C7-567D-40CB-BF16-4622A19E2D2D}">
      <dgm:prSet/>
      <dgm:spPr/>
      <dgm:t>
        <a:bodyPr/>
        <a:lstStyle/>
        <a:p>
          <a:endParaRPr lang="ru-RU"/>
        </a:p>
      </dgm:t>
    </dgm:pt>
    <dgm:pt modelId="{C47C8F2E-D5BF-4910-95CA-853AD6DDAF90}" type="sibTrans" cxnId="{982CA3C7-567D-40CB-BF16-4622A19E2D2D}">
      <dgm:prSet/>
      <dgm:spPr/>
      <dgm:t>
        <a:bodyPr/>
        <a:lstStyle/>
        <a:p>
          <a:endParaRPr lang="ru-RU"/>
        </a:p>
      </dgm:t>
    </dgm:pt>
    <dgm:pt modelId="{D68BF510-E1FF-4F84-8FFA-0B7A60AABF3A}">
      <dgm:prSet custT="1"/>
      <dgm:spPr/>
      <dgm:t>
        <a:bodyPr/>
        <a:lstStyle/>
        <a:p>
          <a:r>
            <a:rPr lang="en-US" altLang="sl-SI" sz="1300" b="1" dirty="0" err="1">
              <a:latin typeface="Arial" panose="020B0604020202020204" pitchFamily="34" charset="0"/>
            </a:rPr>
            <a:t>Probiotikin</a:t>
          </a:r>
          <a:r>
            <a:rPr lang="en-US" altLang="sl-SI" sz="1300" b="1" dirty="0">
              <a:latin typeface="Arial" panose="020B0604020202020204" pitchFamily="34" charset="0"/>
            </a:rPr>
            <a:t> </a:t>
          </a:r>
          <a:r>
            <a:rPr lang="en-US" altLang="sl-SI" sz="1300" b="1" dirty="0" err="1">
              <a:latin typeface="Arial" panose="020B0604020202020204" pitchFamily="34" charset="0"/>
            </a:rPr>
            <a:t>klinik</a:t>
          </a:r>
          <a:r>
            <a:rPr lang="en-US" altLang="sl-SI" sz="1300" b="1" dirty="0">
              <a:latin typeface="Arial" panose="020B0604020202020204" pitchFamily="34" charset="0"/>
            </a:rPr>
            <a:t> </a:t>
          </a:r>
          <a:r>
            <a:rPr lang="en-US" altLang="sl-SI" sz="1300" b="1" dirty="0" err="1">
              <a:latin typeface="Arial" panose="020B0604020202020204" pitchFamily="34" charset="0"/>
            </a:rPr>
            <a:t>təsirinin</a:t>
          </a:r>
          <a:r>
            <a:rPr lang="en-US" altLang="sl-SI" sz="1300" b="1" dirty="0">
              <a:latin typeface="Arial" panose="020B0604020202020204" pitchFamily="34" charset="0"/>
            </a:rPr>
            <a:t> </a:t>
          </a:r>
          <a:r>
            <a:rPr lang="en-US" altLang="sl-SI" sz="1300" b="1" dirty="0" err="1">
              <a:latin typeface="Arial" panose="020B0604020202020204" pitchFamily="34" charset="0"/>
            </a:rPr>
            <a:t>gücləndirilməsi</a:t>
          </a:r>
          <a:endParaRPr lang="ru-RU" sz="1300" b="1" dirty="0"/>
        </a:p>
      </dgm:t>
    </dgm:pt>
    <dgm:pt modelId="{2B3DB6C7-7ACE-42D3-968F-7986D47253F1}" type="parTrans" cxnId="{15B98C54-FBAB-40F4-A38D-92290C4913EE}">
      <dgm:prSet/>
      <dgm:spPr/>
      <dgm:t>
        <a:bodyPr/>
        <a:lstStyle/>
        <a:p>
          <a:endParaRPr lang="ru-RU"/>
        </a:p>
      </dgm:t>
    </dgm:pt>
    <dgm:pt modelId="{456EFCBD-D506-48E1-B9AA-ED73099BF487}" type="sibTrans" cxnId="{15B98C54-FBAB-40F4-A38D-92290C4913EE}">
      <dgm:prSet/>
      <dgm:spPr/>
      <dgm:t>
        <a:bodyPr/>
        <a:lstStyle/>
        <a:p>
          <a:endParaRPr lang="ru-RU"/>
        </a:p>
      </dgm:t>
    </dgm:pt>
    <dgm:pt modelId="{EC974A00-DB12-475B-A468-0FC3C2DCEA3C}" type="pres">
      <dgm:prSet presAssocID="{A671DD12-1FE1-4A1F-BA1A-BB4DDF1D7666}" presName="Name0" presStyleCnt="0">
        <dgm:presLayoutVars>
          <dgm:dir/>
          <dgm:animLvl val="lvl"/>
          <dgm:resizeHandles val="exact"/>
        </dgm:presLayoutVars>
      </dgm:prSet>
      <dgm:spPr/>
    </dgm:pt>
    <dgm:pt modelId="{69CED357-BA14-4A09-9B97-072B7F5614D5}" type="pres">
      <dgm:prSet presAssocID="{F00D82C3-338A-4CB5-B524-50B17E367E9F}" presName="parTxOnly" presStyleLbl="node1" presStyleIdx="0" presStyleCnt="2">
        <dgm:presLayoutVars>
          <dgm:chMax val="0"/>
          <dgm:chPref val="0"/>
          <dgm:bulletEnabled val="1"/>
        </dgm:presLayoutVars>
      </dgm:prSet>
      <dgm:spPr/>
    </dgm:pt>
    <dgm:pt modelId="{337B670D-1A1D-4B7A-BA07-C5355847A07E}" type="pres">
      <dgm:prSet presAssocID="{C47C8F2E-D5BF-4910-95CA-853AD6DDAF90}" presName="parTxOnlySpace" presStyleCnt="0"/>
      <dgm:spPr/>
    </dgm:pt>
    <dgm:pt modelId="{6E411AD0-AE6B-4F9C-8A51-7F2DEB953252}" type="pres">
      <dgm:prSet presAssocID="{D68BF510-E1FF-4F84-8FFA-0B7A60AABF3A}" presName="parTxOnly" presStyleLbl="node1" presStyleIdx="1" presStyleCnt="2" custLinFactNeighborX="5997" custLinFactNeighborY="-13150">
        <dgm:presLayoutVars>
          <dgm:chMax val="0"/>
          <dgm:chPref val="0"/>
          <dgm:bulletEnabled val="1"/>
        </dgm:presLayoutVars>
      </dgm:prSet>
      <dgm:spPr/>
    </dgm:pt>
  </dgm:ptLst>
  <dgm:cxnLst>
    <dgm:cxn modelId="{D49F451B-BD82-4CE0-A0BD-4D1597163740}" type="presOf" srcId="{F00D82C3-338A-4CB5-B524-50B17E367E9F}" destId="{69CED357-BA14-4A09-9B97-072B7F5614D5}" srcOrd="0" destOrd="0" presId="urn:microsoft.com/office/officeart/2005/8/layout/chevron1"/>
    <dgm:cxn modelId="{A0106269-A144-4E26-862F-F30930F6F96E}" type="presOf" srcId="{D68BF510-E1FF-4F84-8FFA-0B7A60AABF3A}" destId="{6E411AD0-AE6B-4F9C-8A51-7F2DEB953252}" srcOrd="0" destOrd="0" presId="urn:microsoft.com/office/officeart/2005/8/layout/chevron1"/>
    <dgm:cxn modelId="{15B98C54-FBAB-40F4-A38D-92290C4913EE}" srcId="{A671DD12-1FE1-4A1F-BA1A-BB4DDF1D7666}" destId="{D68BF510-E1FF-4F84-8FFA-0B7A60AABF3A}" srcOrd="1" destOrd="0" parTransId="{2B3DB6C7-7ACE-42D3-968F-7986D47253F1}" sibTransId="{456EFCBD-D506-48E1-B9AA-ED73099BF487}"/>
    <dgm:cxn modelId="{982CA3C7-567D-40CB-BF16-4622A19E2D2D}" srcId="{A671DD12-1FE1-4A1F-BA1A-BB4DDF1D7666}" destId="{F00D82C3-338A-4CB5-B524-50B17E367E9F}" srcOrd="0" destOrd="0" parTransId="{4A141282-F6F2-4598-AEC8-5C921CCE67FE}" sibTransId="{C47C8F2E-D5BF-4910-95CA-853AD6DDAF90}"/>
    <dgm:cxn modelId="{A280F1D7-581F-4401-9478-5305FBB1EE1E}" type="presOf" srcId="{A671DD12-1FE1-4A1F-BA1A-BB4DDF1D7666}" destId="{EC974A00-DB12-475B-A468-0FC3C2DCEA3C}" srcOrd="0" destOrd="0" presId="urn:microsoft.com/office/officeart/2005/8/layout/chevron1"/>
    <dgm:cxn modelId="{44849849-4BF4-4274-902C-4715E983E0AB}" type="presParOf" srcId="{EC974A00-DB12-475B-A468-0FC3C2DCEA3C}" destId="{69CED357-BA14-4A09-9B97-072B7F5614D5}" srcOrd="0" destOrd="0" presId="urn:microsoft.com/office/officeart/2005/8/layout/chevron1"/>
    <dgm:cxn modelId="{055F0799-F72E-4675-A90F-93487AF97148}" type="presParOf" srcId="{EC974A00-DB12-475B-A468-0FC3C2DCEA3C}" destId="{337B670D-1A1D-4B7A-BA07-C5355847A07E}" srcOrd="1" destOrd="0" presId="urn:microsoft.com/office/officeart/2005/8/layout/chevron1"/>
    <dgm:cxn modelId="{77089617-C843-469C-AC07-D4ED22464303}" type="presParOf" srcId="{EC974A00-DB12-475B-A468-0FC3C2DCEA3C}" destId="{6E411AD0-AE6B-4F9C-8A51-7F2DEB953252}" srcOrd="2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9CED357-BA14-4A09-9B97-072B7F5614D5}">
      <dsp:nvSpPr>
        <dsp:cNvPr id="0" name=""/>
        <dsp:cNvSpPr/>
      </dsp:nvSpPr>
      <dsp:spPr>
        <a:xfrm>
          <a:off x="7155" y="0"/>
          <a:ext cx="4277277" cy="866683"/>
        </a:xfrm>
        <a:prstGeom prst="chevron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52007" tIns="17336" rIns="17336" bIns="17336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300" b="1" kern="1200" dirty="0" err="1">
              <a:latin typeface="Arial" panose="020B0604020202020204" pitchFamily="34" charset="0"/>
            </a:rPr>
            <a:t>Laktobakteriyaların</a:t>
          </a:r>
          <a:r>
            <a:rPr lang="en-US" sz="1300" b="1" kern="1200" dirty="0">
              <a:latin typeface="Arial" panose="020B0604020202020204" pitchFamily="34" charset="0"/>
            </a:rPr>
            <a:t> </a:t>
          </a:r>
          <a:r>
            <a:rPr lang="en-US" sz="1300" b="1" kern="1200" dirty="0" err="1">
              <a:latin typeface="Arial" panose="020B0604020202020204" pitchFamily="34" charset="0"/>
            </a:rPr>
            <a:t>iştirakı</a:t>
          </a:r>
          <a:r>
            <a:rPr lang="en-US" sz="1300" b="1" kern="1200" dirty="0">
              <a:latin typeface="Arial" panose="020B0604020202020204" pitchFamily="34" charset="0"/>
            </a:rPr>
            <a:t> </a:t>
          </a:r>
          <a:r>
            <a:rPr lang="en-US" sz="1300" b="1" kern="1200" dirty="0" err="1">
              <a:latin typeface="Arial" panose="020B0604020202020204" pitchFamily="34" charset="0"/>
            </a:rPr>
            <a:t>ilə</a:t>
          </a:r>
          <a:r>
            <a:rPr lang="en-US" sz="1300" b="1" kern="1200" dirty="0">
              <a:latin typeface="Arial" panose="020B0604020202020204" pitchFamily="34" charset="0"/>
            </a:rPr>
            <a:t> BB-12-nin </a:t>
          </a:r>
          <a:r>
            <a:rPr lang="en-US" sz="1300" b="1" kern="1200" dirty="0" err="1">
              <a:latin typeface="Arial" panose="020B0604020202020204" pitchFamily="34" charset="0"/>
            </a:rPr>
            <a:t>yapışqanl</a:t>
          </a:r>
          <a:r>
            <a:rPr lang="az-Latn-AZ" sz="1300" b="1" kern="1200" dirty="0">
              <a:latin typeface="Arial" panose="020B0604020202020204" pitchFamily="34" charset="0"/>
            </a:rPr>
            <a:t>ığının</a:t>
          </a:r>
          <a:r>
            <a:rPr lang="en-US" sz="1300" b="1" kern="1200" dirty="0">
              <a:latin typeface="Arial" panose="020B0604020202020204" pitchFamily="34" charset="0"/>
            </a:rPr>
            <a:t> 2 </a:t>
          </a:r>
          <a:r>
            <a:rPr lang="en-US" sz="1300" b="1" kern="1200" dirty="0" err="1">
              <a:latin typeface="Arial" panose="020B0604020202020204" pitchFamily="34" charset="0"/>
            </a:rPr>
            <a:t>dəfədən</a:t>
          </a:r>
          <a:r>
            <a:rPr lang="en-US" sz="1300" b="1" kern="1200" dirty="0">
              <a:latin typeface="Arial" panose="020B0604020202020204" pitchFamily="34" charset="0"/>
            </a:rPr>
            <a:t> </a:t>
          </a:r>
          <a:r>
            <a:rPr lang="en-US" sz="1300" b="1" kern="1200" dirty="0" err="1">
              <a:latin typeface="Arial" panose="020B0604020202020204" pitchFamily="34" charset="0"/>
            </a:rPr>
            <a:t>çox</a:t>
          </a:r>
          <a:r>
            <a:rPr lang="en-US" sz="1300" b="1" kern="1200" dirty="0">
              <a:latin typeface="Arial" panose="020B0604020202020204" pitchFamily="34" charset="0"/>
            </a:rPr>
            <a:t> </a:t>
          </a:r>
          <a:r>
            <a:rPr lang="en-US" sz="1300" b="1" kern="1200" dirty="0" err="1">
              <a:latin typeface="Arial" panose="020B0604020202020204" pitchFamily="34" charset="0"/>
            </a:rPr>
            <a:t>artması</a:t>
          </a:r>
          <a:endParaRPr lang="ru-RU" sz="1300" kern="1200" dirty="0"/>
        </a:p>
      </dsp:txBody>
      <dsp:txXfrm>
        <a:off x="440497" y="0"/>
        <a:ext cx="3410594" cy="866683"/>
      </dsp:txXfrm>
    </dsp:sp>
    <dsp:sp modelId="{6E411AD0-AE6B-4F9C-8A51-7F2DEB953252}">
      <dsp:nvSpPr>
        <dsp:cNvPr id="0" name=""/>
        <dsp:cNvSpPr/>
      </dsp:nvSpPr>
      <dsp:spPr>
        <a:xfrm>
          <a:off x="3863859" y="0"/>
          <a:ext cx="4277277" cy="866683"/>
        </a:xfrm>
        <a:prstGeom prst="chevron">
          <a:avLst/>
        </a:prstGeom>
        <a:solidFill>
          <a:schemeClr val="accent4">
            <a:hueOff val="-4464770"/>
            <a:satOff val="26899"/>
            <a:lumOff val="2156"/>
            <a:alphaOff val="0"/>
          </a:schemeClr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52007" tIns="17336" rIns="17336" bIns="17336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altLang="sl-SI" sz="1300" b="1" kern="1200" dirty="0" err="1">
              <a:latin typeface="Arial" panose="020B0604020202020204" pitchFamily="34" charset="0"/>
            </a:rPr>
            <a:t>Probiotikin</a:t>
          </a:r>
          <a:r>
            <a:rPr lang="en-US" altLang="sl-SI" sz="1300" b="1" kern="1200" dirty="0">
              <a:latin typeface="Arial" panose="020B0604020202020204" pitchFamily="34" charset="0"/>
            </a:rPr>
            <a:t> </a:t>
          </a:r>
          <a:r>
            <a:rPr lang="en-US" altLang="sl-SI" sz="1300" b="1" kern="1200" dirty="0" err="1">
              <a:latin typeface="Arial" panose="020B0604020202020204" pitchFamily="34" charset="0"/>
            </a:rPr>
            <a:t>klinik</a:t>
          </a:r>
          <a:r>
            <a:rPr lang="en-US" altLang="sl-SI" sz="1300" b="1" kern="1200" dirty="0">
              <a:latin typeface="Arial" panose="020B0604020202020204" pitchFamily="34" charset="0"/>
            </a:rPr>
            <a:t> </a:t>
          </a:r>
          <a:r>
            <a:rPr lang="en-US" altLang="sl-SI" sz="1300" b="1" kern="1200" dirty="0" err="1">
              <a:latin typeface="Arial" panose="020B0604020202020204" pitchFamily="34" charset="0"/>
            </a:rPr>
            <a:t>təsirinin</a:t>
          </a:r>
          <a:r>
            <a:rPr lang="en-US" altLang="sl-SI" sz="1300" b="1" kern="1200" dirty="0">
              <a:latin typeface="Arial" panose="020B0604020202020204" pitchFamily="34" charset="0"/>
            </a:rPr>
            <a:t> </a:t>
          </a:r>
          <a:r>
            <a:rPr lang="en-US" altLang="sl-SI" sz="1300" b="1" kern="1200" dirty="0" err="1">
              <a:latin typeface="Arial" panose="020B0604020202020204" pitchFamily="34" charset="0"/>
            </a:rPr>
            <a:t>gücləndirilməsi</a:t>
          </a:r>
          <a:endParaRPr lang="ru-RU" sz="1300" b="1" kern="1200" dirty="0"/>
        </a:p>
      </dsp:txBody>
      <dsp:txXfrm>
        <a:off x="4297201" y="0"/>
        <a:ext cx="3410594" cy="866683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2">
  <dgm:title val=""/>
  <dgm:desc val=""/>
  <dgm:catLst>
    <dgm:cat type="simple" pri="102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33C344F-4BDE-4CD4-9C88-A1086C131CCB}" type="datetimeFigureOut">
              <a:rPr lang="en-US" smtClean="0"/>
              <a:t>5/5/2025</a:t>
            </a:fld>
            <a:endParaRPr lang="en-US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219F467-0419-4298-9362-7CF1E1C591C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4742464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08C5E99-C496-4038-B1F4-FB386AB6C7E2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79675868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75279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08C5E99-C496-4038-B1F4-FB386AB6C7E2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75279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41682727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/>
              <a:t>Верхнюю</a:t>
            </a:r>
            <a:r>
              <a:rPr lang="ru-RU" baseline="0" dirty="0"/>
              <a:t> плашку оформить как в слайдах по </a:t>
            </a:r>
            <a:r>
              <a:rPr lang="ru-RU" baseline="0" dirty="0" err="1"/>
              <a:t>линекс</a:t>
            </a:r>
            <a:r>
              <a:rPr lang="ru-RU" baseline="0" dirty="0"/>
              <a:t> форте  выше.  В таблице убрать верхнюю синюю плашку. Посмотрите, может быть есть смысл сделать таблицу в другом цвете.</a:t>
            </a:r>
            <a:endParaRPr lang="en-US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08C5E99-C496-4038-B1F4-FB386AB6C7E2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6044243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75279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9F6B02A-3EA6-4BE4-B418-A91D332E7E37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75279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5025245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75279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08C5E99-C496-4038-B1F4-FB386AB6C7E2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75279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9871115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654050" y="1162050"/>
            <a:ext cx="5573713" cy="31369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08C5E99-C496-4038-B1F4-FB386AB6C7E2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6745768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219F467-0419-4298-9362-7CF1E1C591CA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1171858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654050" y="1162050"/>
            <a:ext cx="5573713" cy="31369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1200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75279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08C5E99-C496-4038-B1F4-FB386AB6C7E2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75279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3564461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63228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5624B43-B9E0-D84C-A70F-DBE45416FE07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63228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7162384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08C5E99-C496-4038-B1F4-FB386AB6C7E2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0362787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75279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08C5E99-C496-4038-B1F4-FB386AB6C7E2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75279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4520127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F11024B4-C3F8-4731-B1FA-94103BC8AF4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3" name="Подзаголовок 2">
            <a:extLst>
              <a:ext uri="{FF2B5EF4-FFF2-40B4-BE49-F238E27FC236}">
                <a16:creationId xmlns:a16="http://schemas.microsoft.com/office/drawing/2014/main" id="{20850DFB-FBF4-4468-B6BE-A4515F72CAD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  <a:endParaRPr lang="en-US"/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7DE70DAA-61C8-49B2-994F-71314E8988C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1F711C6-981B-4077-8503-7280F6B8F5BF}" type="datetimeFigureOut">
              <a:rPr lang="en-US" smtClean="0"/>
              <a:t>5/5/2025</a:t>
            </a:fld>
            <a:endParaRPr lang="en-US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A0E5DE94-613A-4BC6-9CEC-7A98F8AA5D7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D370CCE9-FB6E-44C3-B3A8-0B1FDD50DB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D54EFB-21D0-49C0-9B07-90B3319BE3D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2816313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8044089F-AE81-4127-9189-12EF837EFA4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3" name="Вертикальный текст 2">
            <a:extLst>
              <a:ext uri="{FF2B5EF4-FFF2-40B4-BE49-F238E27FC236}">
                <a16:creationId xmlns:a16="http://schemas.microsoft.com/office/drawing/2014/main" id="{7B6635C7-6DFB-42AA-BE75-226AFC51BCF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/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27FEE354-A833-4555-9EEB-60CE87C51A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1F711C6-981B-4077-8503-7280F6B8F5BF}" type="datetimeFigureOut">
              <a:rPr lang="en-US" smtClean="0"/>
              <a:t>5/5/2025</a:t>
            </a:fld>
            <a:endParaRPr lang="en-US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B8512D9F-138F-44B9-9F06-E3B736B97ED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8804C6C6-0DB5-4B50-8B8C-EC9460946B0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D54EFB-21D0-49C0-9B07-90B3319BE3D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2883575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>
            <a:extLst>
              <a:ext uri="{FF2B5EF4-FFF2-40B4-BE49-F238E27FC236}">
                <a16:creationId xmlns:a16="http://schemas.microsoft.com/office/drawing/2014/main" id="{C90F2AFD-0CBD-4DC5-AE68-AA3CC824499A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3" name="Вертикальный текст 2">
            <a:extLst>
              <a:ext uri="{FF2B5EF4-FFF2-40B4-BE49-F238E27FC236}">
                <a16:creationId xmlns:a16="http://schemas.microsoft.com/office/drawing/2014/main" id="{73221B76-FA8B-40B7-A9EB-4B6A70EE11A4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/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BABBD6A3-8975-41AB-ABCF-FFBB1818127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1F711C6-981B-4077-8503-7280F6B8F5BF}" type="datetimeFigureOut">
              <a:rPr lang="en-US" smtClean="0"/>
              <a:t>5/5/2025</a:t>
            </a:fld>
            <a:endParaRPr lang="en-US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2B823F92-57A9-452A-80F3-DD3CFDB2FE5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FF0884D1-B5C1-4FEC-B6DA-FF32F51B72A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D54EFB-21D0-49C0-9B07-90B3319BE3D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7112353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E126ED-65EF-440E-BC59-E6D6889BE515}" type="datetimeFigureOut">
              <a:rPr lang="en-US" smtClean="0"/>
              <a:t>5/5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52CF3F0-1237-48A3-B620-D2501C3D34C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4095522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E126ED-65EF-440E-BC59-E6D6889BE515}" type="datetimeFigureOut">
              <a:rPr lang="en-US" smtClean="0"/>
              <a:t>5/5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52CF3F0-1237-48A3-B620-D2501C3D34C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2718308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E126ED-65EF-440E-BC59-E6D6889BE515}" type="datetimeFigureOut">
              <a:rPr lang="en-US" smtClean="0"/>
              <a:t>5/5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52CF3F0-1237-48A3-B620-D2501C3D34C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7816661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E126ED-65EF-440E-BC59-E6D6889BE515}" type="datetimeFigureOut">
              <a:rPr lang="en-US" smtClean="0"/>
              <a:t>5/5/202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52CF3F0-1237-48A3-B620-D2501C3D34C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7685390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E126ED-65EF-440E-BC59-E6D6889BE515}" type="datetimeFigureOut">
              <a:rPr lang="en-US" smtClean="0"/>
              <a:t>5/5/2025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52CF3F0-1237-48A3-B620-D2501C3D34C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932753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E126ED-65EF-440E-BC59-E6D6889BE515}" type="datetimeFigureOut">
              <a:rPr lang="en-US" smtClean="0"/>
              <a:t>5/5/2025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52CF3F0-1237-48A3-B620-D2501C3D34C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7463340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E126ED-65EF-440E-BC59-E6D6889BE515}" type="datetimeFigureOut">
              <a:rPr lang="en-US" smtClean="0"/>
              <a:t>5/5/2025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52CF3F0-1237-48A3-B620-D2501C3D34C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1282751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E126ED-65EF-440E-BC59-E6D6889BE515}" type="datetimeFigureOut">
              <a:rPr lang="en-US" smtClean="0"/>
              <a:t>5/5/202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52CF3F0-1237-48A3-B620-D2501C3D34C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8584711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F944AFB3-3196-4C62-9EF3-782112B2B32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ACB1AF7A-1634-414F-8D21-75244F802CC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/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82941356-2044-40D3-B8C9-B84799390C0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1F711C6-981B-4077-8503-7280F6B8F5BF}" type="datetimeFigureOut">
              <a:rPr lang="en-US" smtClean="0"/>
              <a:t>5/5/2025</a:t>
            </a:fld>
            <a:endParaRPr lang="en-US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5EC25E9C-E158-4EA2-A676-9F096EC56B0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6C3D6325-0F2D-4502-AE88-F22E22A00F1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D54EFB-21D0-49C0-9B07-90B3319BE3D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3089418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E126ED-65EF-440E-BC59-E6D6889BE515}" type="datetimeFigureOut">
              <a:rPr lang="en-US" smtClean="0"/>
              <a:t>5/5/202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52CF3F0-1237-48A3-B620-D2501C3D34C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6083091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E126ED-65EF-440E-BC59-E6D6889BE515}" type="datetimeFigureOut">
              <a:rPr lang="en-US" smtClean="0"/>
              <a:t>5/5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52CF3F0-1237-48A3-B620-D2501C3D34C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53270159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E126ED-65EF-440E-BC59-E6D6889BE515}" type="datetimeFigureOut">
              <a:rPr lang="en-US" smtClean="0"/>
              <a:t>5/5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52CF3F0-1237-48A3-B620-D2501C3D34C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04924178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914400" y="2125980"/>
            <a:ext cx="10363201" cy="60785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828800" y="3840480"/>
            <a:ext cx="8534400" cy="40011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>
              <a:defRPr sz="879" b="0" i="0">
                <a:solidFill>
                  <a:srgbClr val="1D4067"/>
                </a:solidFill>
                <a:latin typeface="Trebuchet MS"/>
                <a:cs typeface="Trebuchet MS"/>
              </a:defRPr>
            </a:lvl1pPr>
          </a:lstStyle>
          <a:p>
            <a:pPr marL="7701">
              <a:spcBef>
                <a:spcPts val="15"/>
              </a:spcBef>
            </a:pPr>
            <a:r>
              <a:rPr lang="it-IT" spc="15"/>
              <a:t>K</a:t>
            </a:r>
            <a:r>
              <a:rPr lang="it-IT" spc="-3"/>
              <a:t>Z</a:t>
            </a:r>
            <a:r>
              <a:rPr lang="it-IT" spc="49"/>
              <a:t>2</a:t>
            </a:r>
            <a:r>
              <a:rPr lang="it-IT" spc="42"/>
              <a:t>2</a:t>
            </a:r>
            <a:r>
              <a:rPr lang="it-IT" spc="61"/>
              <a:t>0</a:t>
            </a:r>
            <a:r>
              <a:rPr lang="it-IT" spc="69"/>
              <a:t>2</a:t>
            </a:r>
            <a:r>
              <a:rPr lang="it-IT" spc="30"/>
              <a:t>2</a:t>
            </a:r>
            <a:r>
              <a:rPr lang="it-IT" spc="69"/>
              <a:t>83</a:t>
            </a:r>
            <a:r>
              <a:rPr lang="it-IT" spc="67"/>
              <a:t>6</a:t>
            </a:r>
            <a:r>
              <a:rPr lang="it-IT" spc="36"/>
              <a:t>7</a:t>
            </a:r>
            <a:r>
              <a:rPr lang="it-IT" spc="-233"/>
              <a:t>1</a:t>
            </a:r>
            <a:endParaRPr lang="it-IT" spc="-233" dirty="0"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5/5/2025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122871946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812729" y="1930783"/>
            <a:ext cx="9676582" cy="368562"/>
          </a:xfrm>
        </p:spPr>
        <p:txBody>
          <a:bodyPr lIns="0" tIns="0" rIns="0" bIns="0"/>
          <a:lstStyle>
            <a:lvl1pPr>
              <a:defRPr sz="2395" b="1" i="0">
                <a:solidFill>
                  <a:srgbClr val="004BB6"/>
                </a:solidFill>
                <a:latin typeface="Calibri"/>
                <a:cs typeface="Calibri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774192" y="2771290"/>
            <a:ext cx="10169499" cy="242695"/>
          </a:xfrm>
        </p:spPr>
        <p:txBody>
          <a:bodyPr lIns="0" tIns="0" rIns="0" bIns="0"/>
          <a:lstStyle>
            <a:lvl1pPr>
              <a:defRPr sz="1577" b="1" i="0">
                <a:solidFill>
                  <a:srgbClr val="1C4066"/>
                </a:solidFill>
                <a:latin typeface="Calibri"/>
                <a:cs typeface="Calibri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>
              <a:defRPr sz="879" b="0" i="0">
                <a:solidFill>
                  <a:srgbClr val="1D4067"/>
                </a:solidFill>
                <a:latin typeface="Trebuchet MS"/>
                <a:cs typeface="Trebuchet MS"/>
              </a:defRPr>
            </a:lvl1pPr>
          </a:lstStyle>
          <a:p>
            <a:pPr marL="7701">
              <a:spcBef>
                <a:spcPts val="15"/>
              </a:spcBef>
            </a:pPr>
            <a:r>
              <a:rPr lang="it-IT" spc="15"/>
              <a:t>K</a:t>
            </a:r>
            <a:r>
              <a:rPr lang="it-IT" spc="-3"/>
              <a:t>Z</a:t>
            </a:r>
            <a:r>
              <a:rPr lang="it-IT" spc="49"/>
              <a:t>2</a:t>
            </a:r>
            <a:r>
              <a:rPr lang="it-IT" spc="42"/>
              <a:t>2</a:t>
            </a:r>
            <a:r>
              <a:rPr lang="it-IT" spc="61"/>
              <a:t>0</a:t>
            </a:r>
            <a:r>
              <a:rPr lang="it-IT" spc="69"/>
              <a:t>2</a:t>
            </a:r>
            <a:r>
              <a:rPr lang="it-IT" spc="30"/>
              <a:t>2</a:t>
            </a:r>
            <a:r>
              <a:rPr lang="it-IT" spc="69"/>
              <a:t>83</a:t>
            </a:r>
            <a:r>
              <a:rPr lang="it-IT" spc="67"/>
              <a:t>6</a:t>
            </a:r>
            <a:r>
              <a:rPr lang="it-IT" spc="36"/>
              <a:t>7</a:t>
            </a:r>
            <a:r>
              <a:rPr lang="it-IT" spc="-233"/>
              <a:t>1</a:t>
            </a:r>
            <a:endParaRPr lang="it-IT" spc="-233" dirty="0"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5/5/2025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801368410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812729" y="1930783"/>
            <a:ext cx="9676582" cy="368562"/>
          </a:xfrm>
        </p:spPr>
        <p:txBody>
          <a:bodyPr lIns="0" tIns="0" rIns="0" bIns="0"/>
          <a:lstStyle>
            <a:lvl1pPr>
              <a:defRPr sz="2395" b="1" i="0">
                <a:solidFill>
                  <a:srgbClr val="004BB6"/>
                </a:solidFill>
                <a:latin typeface="Calibri"/>
                <a:cs typeface="Calibri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609600" y="1577340"/>
            <a:ext cx="5303520" cy="40011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6278880" y="1577340"/>
            <a:ext cx="5303520" cy="40011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>
              <a:defRPr sz="879" b="0" i="0">
                <a:solidFill>
                  <a:srgbClr val="1D4067"/>
                </a:solidFill>
                <a:latin typeface="Trebuchet MS"/>
                <a:cs typeface="Trebuchet MS"/>
              </a:defRPr>
            </a:lvl1pPr>
          </a:lstStyle>
          <a:p>
            <a:pPr marL="7701">
              <a:spcBef>
                <a:spcPts val="15"/>
              </a:spcBef>
            </a:pPr>
            <a:r>
              <a:rPr lang="it-IT" spc="15"/>
              <a:t>K</a:t>
            </a:r>
            <a:r>
              <a:rPr lang="it-IT" spc="-3"/>
              <a:t>Z</a:t>
            </a:r>
            <a:r>
              <a:rPr lang="it-IT" spc="49"/>
              <a:t>2</a:t>
            </a:r>
            <a:r>
              <a:rPr lang="it-IT" spc="42"/>
              <a:t>2</a:t>
            </a:r>
            <a:r>
              <a:rPr lang="it-IT" spc="61"/>
              <a:t>0</a:t>
            </a:r>
            <a:r>
              <a:rPr lang="it-IT" spc="69"/>
              <a:t>2</a:t>
            </a:r>
            <a:r>
              <a:rPr lang="it-IT" spc="30"/>
              <a:t>2</a:t>
            </a:r>
            <a:r>
              <a:rPr lang="it-IT" spc="69"/>
              <a:t>83</a:t>
            </a:r>
            <a:r>
              <a:rPr lang="it-IT" spc="67"/>
              <a:t>6</a:t>
            </a:r>
            <a:r>
              <a:rPr lang="it-IT" spc="36"/>
              <a:t>7</a:t>
            </a:r>
            <a:r>
              <a:rPr lang="it-IT" spc="-233"/>
              <a:t>1</a:t>
            </a:r>
            <a:endParaRPr lang="it-IT" spc="-233" dirty="0"/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5/5/2025</a:t>
            </a:fld>
            <a:endParaRPr lang="en-US"/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325507501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812729" y="1930783"/>
            <a:ext cx="9676582" cy="368562"/>
          </a:xfrm>
        </p:spPr>
        <p:txBody>
          <a:bodyPr lIns="0" tIns="0" rIns="0" bIns="0"/>
          <a:lstStyle>
            <a:lvl1pPr>
              <a:defRPr sz="2395" b="1" i="0">
                <a:solidFill>
                  <a:srgbClr val="004BB6"/>
                </a:solidFill>
                <a:latin typeface="Calibri"/>
                <a:cs typeface="Calibri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>
              <a:defRPr sz="879" b="0" i="0">
                <a:solidFill>
                  <a:srgbClr val="1D4067"/>
                </a:solidFill>
                <a:latin typeface="Trebuchet MS"/>
                <a:cs typeface="Trebuchet MS"/>
              </a:defRPr>
            </a:lvl1pPr>
          </a:lstStyle>
          <a:p>
            <a:pPr marL="7701">
              <a:spcBef>
                <a:spcPts val="15"/>
              </a:spcBef>
            </a:pPr>
            <a:r>
              <a:rPr lang="it-IT" spc="15"/>
              <a:t>K</a:t>
            </a:r>
            <a:r>
              <a:rPr lang="it-IT" spc="-3"/>
              <a:t>Z</a:t>
            </a:r>
            <a:r>
              <a:rPr lang="it-IT" spc="49"/>
              <a:t>2</a:t>
            </a:r>
            <a:r>
              <a:rPr lang="it-IT" spc="42"/>
              <a:t>2</a:t>
            </a:r>
            <a:r>
              <a:rPr lang="it-IT" spc="61"/>
              <a:t>0</a:t>
            </a:r>
            <a:r>
              <a:rPr lang="it-IT" spc="69"/>
              <a:t>2</a:t>
            </a:r>
            <a:r>
              <a:rPr lang="it-IT" spc="30"/>
              <a:t>2</a:t>
            </a:r>
            <a:r>
              <a:rPr lang="it-IT" spc="69"/>
              <a:t>83</a:t>
            </a:r>
            <a:r>
              <a:rPr lang="it-IT" spc="67"/>
              <a:t>6</a:t>
            </a:r>
            <a:r>
              <a:rPr lang="it-IT" spc="36"/>
              <a:t>7</a:t>
            </a:r>
            <a:r>
              <a:rPr lang="it-IT" spc="-233"/>
              <a:t>1</a:t>
            </a:r>
            <a:endParaRPr lang="it-IT" spc="-233" dirty="0"/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5/5/2025</a:t>
            </a:fld>
            <a:endParaRPr lang="en-US"/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032992437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>
              <a:defRPr sz="879" b="0" i="0">
                <a:solidFill>
                  <a:srgbClr val="1D4067"/>
                </a:solidFill>
                <a:latin typeface="Trebuchet MS"/>
                <a:cs typeface="Trebuchet MS"/>
              </a:defRPr>
            </a:lvl1pPr>
          </a:lstStyle>
          <a:p>
            <a:pPr marL="7701">
              <a:spcBef>
                <a:spcPts val="15"/>
              </a:spcBef>
            </a:pPr>
            <a:r>
              <a:rPr lang="it-IT" spc="15"/>
              <a:t>K</a:t>
            </a:r>
            <a:r>
              <a:rPr lang="it-IT" spc="-3"/>
              <a:t>Z</a:t>
            </a:r>
            <a:r>
              <a:rPr lang="it-IT" spc="49"/>
              <a:t>2</a:t>
            </a:r>
            <a:r>
              <a:rPr lang="it-IT" spc="42"/>
              <a:t>2</a:t>
            </a:r>
            <a:r>
              <a:rPr lang="it-IT" spc="61"/>
              <a:t>0</a:t>
            </a:r>
            <a:r>
              <a:rPr lang="it-IT" spc="69"/>
              <a:t>2</a:t>
            </a:r>
            <a:r>
              <a:rPr lang="it-IT" spc="30"/>
              <a:t>2</a:t>
            </a:r>
            <a:r>
              <a:rPr lang="it-IT" spc="69"/>
              <a:t>83</a:t>
            </a:r>
            <a:r>
              <a:rPr lang="it-IT" spc="67"/>
              <a:t>6</a:t>
            </a:r>
            <a:r>
              <a:rPr lang="it-IT" spc="36"/>
              <a:t>7</a:t>
            </a:r>
            <a:r>
              <a:rPr lang="it-IT" spc="-233"/>
              <a:t>1</a:t>
            </a:r>
            <a:endParaRPr lang="it-IT" spc="-233" dirty="0"/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5/5/2025</a:t>
            </a:fld>
            <a:endParaRPr lang="en-US"/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405045673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2" y="1122363"/>
            <a:ext cx="10363200" cy="2387600"/>
          </a:xfrm>
          <a:prstGeom prst="rect">
            <a:avLst/>
          </a:prstGeo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9"/>
            <a:ext cx="9144001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4" indent="0" algn="ctr">
              <a:buNone/>
              <a:defRPr sz="2000"/>
            </a:lvl2pPr>
            <a:lvl3pPr marL="914408" indent="0" algn="ctr">
              <a:buNone/>
              <a:defRPr sz="1800"/>
            </a:lvl3pPr>
            <a:lvl4pPr marL="1371612" indent="0" algn="ctr">
              <a:buNone/>
              <a:defRPr sz="1600"/>
            </a:lvl4pPr>
            <a:lvl5pPr marL="1828815" indent="0" algn="ctr">
              <a:buNone/>
              <a:defRPr sz="1600"/>
            </a:lvl5pPr>
            <a:lvl6pPr marL="2286018" indent="0" algn="ctr">
              <a:buNone/>
              <a:defRPr sz="1600"/>
            </a:lvl6pPr>
            <a:lvl7pPr marL="2743222" indent="0" algn="ctr">
              <a:buNone/>
              <a:defRPr sz="1600"/>
            </a:lvl7pPr>
            <a:lvl8pPr marL="3200426" indent="0" algn="ctr">
              <a:buNone/>
              <a:defRPr sz="1600"/>
            </a:lvl8pPr>
            <a:lvl9pPr marL="3657629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23901124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50547" y="137281"/>
            <a:ext cx="3931327" cy="857499"/>
          </a:xfrm>
          <a:prstGeom prst="rect">
            <a:avLst/>
          </a:prstGeom>
        </p:spPr>
        <p:txBody>
          <a:bodyPr/>
          <a:lstStyle/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
Второй уровень
Третий уровень
Четвертый уровень
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2" y="6356352"/>
            <a:ext cx="2743200" cy="365125"/>
          </a:xfrm>
          <a:prstGeom prst="rect">
            <a:avLst/>
          </a:prstGeom>
        </p:spPr>
        <p:txBody>
          <a:bodyPr/>
          <a:lstStyle/>
          <a:p>
            <a:fld id="{617FFAAB-78B4-D94E-9172-4477C8873B97}" type="datetimeFigureOut">
              <a:rPr lang="ru-RU" smtClean="0"/>
              <a:t>05.05.2025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1" y="6356352"/>
            <a:ext cx="4114801" cy="365125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356352"/>
            <a:ext cx="2743200" cy="365125"/>
          </a:xfrm>
          <a:prstGeom prst="rect">
            <a:avLst/>
          </a:prstGeom>
        </p:spPr>
        <p:txBody>
          <a:bodyPr/>
          <a:lstStyle/>
          <a:p>
            <a:fld id="{337EBA19-D45B-5B41-98D8-6F4B62A3674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18724180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2B4B9F69-B111-4931-B96B-A03928A01CE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96B23A5B-515B-43EF-9A1D-77FE9E39F7E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F82E1572-D329-4D12-9E1D-AAEDB211792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1F711C6-981B-4077-8503-7280F6B8F5BF}" type="datetimeFigureOut">
              <a:rPr lang="en-US" smtClean="0"/>
              <a:t>5/5/2025</a:t>
            </a:fld>
            <a:endParaRPr lang="en-US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256CC02D-2DAF-4132-9A80-E561C1E08B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3A5A4F1F-37E6-44AF-8FA8-2937A26E32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D54EFB-21D0-49C0-9B07-90B3319BE3D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65613884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1" y="1709741"/>
            <a:ext cx="10515600" cy="2852737"/>
          </a:xfrm>
          <a:prstGeom prst="rect">
            <a:avLst/>
          </a:prstGeo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1" y="4589465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204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8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1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15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1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2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2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2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
Второй уровень
Третий уровень
Четвертый уровень
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2" y="6356352"/>
            <a:ext cx="2743200" cy="365125"/>
          </a:xfrm>
          <a:prstGeom prst="rect">
            <a:avLst/>
          </a:prstGeom>
        </p:spPr>
        <p:txBody>
          <a:bodyPr/>
          <a:lstStyle/>
          <a:p>
            <a:fld id="{617FFAAB-78B4-D94E-9172-4477C8873B97}" type="datetimeFigureOut">
              <a:rPr lang="ru-RU" smtClean="0"/>
              <a:t>05.05.2025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1" y="6356352"/>
            <a:ext cx="4114801" cy="365125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356352"/>
            <a:ext cx="2743200" cy="365125"/>
          </a:xfrm>
          <a:prstGeom prst="rect">
            <a:avLst/>
          </a:prstGeom>
        </p:spPr>
        <p:txBody>
          <a:bodyPr/>
          <a:lstStyle/>
          <a:p>
            <a:fld id="{337EBA19-D45B-5B41-98D8-6F4B62A3674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60807314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2" y="365127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6"/>
            <a:ext cx="5181601" cy="4351337"/>
          </a:xfrm>
        </p:spPr>
        <p:txBody>
          <a:bodyPr/>
          <a:lstStyle/>
          <a:p>
            <a:pPr lvl="0"/>
            <a:r>
              <a:rPr lang="ru-RU"/>
              <a:t>Образец текста
Второй уровень
Третий уровень
Четвертый уровень
Пятый уровень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1" y="1825626"/>
            <a:ext cx="5181601" cy="4351337"/>
          </a:xfrm>
        </p:spPr>
        <p:txBody>
          <a:bodyPr/>
          <a:lstStyle/>
          <a:p>
            <a:pPr lvl="0"/>
            <a:r>
              <a:rPr lang="ru-RU"/>
              <a:t>Образец текста
Второй уровень
Третий уровень
Четвертый уровень
Пятый уровень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838202" y="6356352"/>
            <a:ext cx="2743200" cy="365125"/>
          </a:xfrm>
          <a:prstGeom prst="rect">
            <a:avLst/>
          </a:prstGeom>
        </p:spPr>
        <p:txBody>
          <a:bodyPr/>
          <a:lstStyle/>
          <a:p>
            <a:fld id="{617FFAAB-78B4-D94E-9172-4477C8873B97}" type="datetimeFigureOut">
              <a:rPr lang="ru-RU" smtClean="0"/>
              <a:t>05.05.2025</a:t>
            </a:fld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038601" y="6356352"/>
            <a:ext cx="4114801" cy="365125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8610600" y="6356352"/>
            <a:ext cx="2743200" cy="365125"/>
          </a:xfrm>
          <a:prstGeom prst="rect">
            <a:avLst/>
          </a:prstGeom>
        </p:spPr>
        <p:txBody>
          <a:bodyPr/>
          <a:lstStyle/>
          <a:p>
            <a:fld id="{337EBA19-D45B-5B41-98D8-6F4B62A3674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29464124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9" y="365127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90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4" indent="0">
              <a:buNone/>
              <a:defRPr sz="2000" b="1"/>
            </a:lvl2pPr>
            <a:lvl3pPr marL="914408" indent="0">
              <a:buNone/>
              <a:defRPr sz="1800" b="1"/>
            </a:lvl3pPr>
            <a:lvl4pPr marL="1371612" indent="0">
              <a:buNone/>
              <a:defRPr sz="1600" b="1"/>
            </a:lvl4pPr>
            <a:lvl5pPr marL="1828815" indent="0">
              <a:buNone/>
              <a:defRPr sz="1600" b="1"/>
            </a:lvl5pPr>
            <a:lvl6pPr marL="2286018" indent="0">
              <a:buNone/>
              <a:defRPr sz="1600" b="1"/>
            </a:lvl6pPr>
            <a:lvl7pPr marL="2743222" indent="0">
              <a:buNone/>
              <a:defRPr sz="1600" b="1"/>
            </a:lvl7pPr>
            <a:lvl8pPr marL="3200426" indent="0">
              <a:buNone/>
              <a:defRPr sz="1600" b="1"/>
            </a:lvl8pPr>
            <a:lvl9pPr marL="3657629" indent="0">
              <a:buNone/>
              <a:defRPr sz="1600" b="1"/>
            </a:lvl9pPr>
          </a:lstStyle>
          <a:p>
            <a:pPr lvl="0"/>
            <a:r>
              <a:rPr lang="ru-RU"/>
              <a:t>Образец текста
Второй уровень
Третий уровень
Четвертый уровень
Пятый уровень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90" y="2505075"/>
            <a:ext cx="5157787" cy="3684587"/>
          </a:xfrm>
        </p:spPr>
        <p:txBody>
          <a:bodyPr/>
          <a:lstStyle/>
          <a:p>
            <a:pPr lvl="0"/>
            <a:r>
              <a:rPr lang="ru-RU"/>
              <a:t>Образец текста
Второй уровень
Третий уровень
Четвертый уровень
Пятый уровень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4" indent="0">
              <a:buNone/>
              <a:defRPr sz="2000" b="1"/>
            </a:lvl2pPr>
            <a:lvl3pPr marL="914408" indent="0">
              <a:buNone/>
              <a:defRPr sz="1800" b="1"/>
            </a:lvl3pPr>
            <a:lvl4pPr marL="1371612" indent="0">
              <a:buNone/>
              <a:defRPr sz="1600" b="1"/>
            </a:lvl4pPr>
            <a:lvl5pPr marL="1828815" indent="0">
              <a:buNone/>
              <a:defRPr sz="1600" b="1"/>
            </a:lvl5pPr>
            <a:lvl6pPr marL="2286018" indent="0">
              <a:buNone/>
              <a:defRPr sz="1600" b="1"/>
            </a:lvl6pPr>
            <a:lvl7pPr marL="2743222" indent="0">
              <a:buNone/>
              <a:defRPr sz="1600" b="1"/>
            </a:lvl7pPr>
            <a:lvl8pPr marL="3200426" indent="0">
              <a:buNone/>
              <a:defRPr sz="1600" b="1"/>
            </a:lvl8pPr>
            <a:lvl9pPr marL="3657629" indent="0">
              <a:buNone/>
              <a:defRPr sz="1600" b="1"/>
            </a:lvl9pPr>
          </a:lstStyle>
          <a:p>
            <a:pPr lvl="0"/>
            <a:r>
              <a:rPr lang="ru-RU"/>
              <a:t>Образец текста
Второй уровень
Третий уровень
Четвертый уровень
Пятый уровень</a:t>
            </a:r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7"/>
          </a:xfrm>
        </p:spPr>
        <p:txBody>
          <a:bodyPr/>
          <a:lstStyle/>
          <a:p>
            <a:pPr lvl="0"/>
            <a:r>
              <a:rPr lang="ru-RU"/>
              <a:t>Образец текста
Второй уровень
Третий уровень
Четвертый уровень
Пятый уровень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838202" y="6356352"/>
            <a:ext cx="2743200" cy="365125"/>
          </a:xfrm>
          <a:prstGeom prst="rect">
            <a:avLst/>
          </a:prstGeom>
        </p:spPr>
        <p:txBody>
          <a:bodyPr/>
          <a:lstStyle/>
          <a:p>
            <a:fld id="{617FFAAB-78B4-D94E-9172-4477C8873B97}" type="datetimeFigureOut">
              <a:rPr lang="ru-RU" smtClean="0"/>
              <a:t>05.05.2025</a:t>
            </a:fld>
            <a:endParaRPr lang="ru-RU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4038601" y="6356352"/>
            <a:ext cx="4114801" cy="365125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8610600" y="6356352"/>
            <a:ext cx="2743200" cy="365125"/>
          </a:xfrm>
          <a:prstGeom prst="rect">
            <a:avLst/>
          </a:prstGeom>
        </p:spPr>
        <p:txBody>
          <a:bodyPr/>
          <a:lstStyle/>
          <a:p>
            <a:fld id="{337EBA19-D45B-5B41-98D8-6F4B62A3674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59656204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2" y="365127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838202" y="6356352"/>
            <a:ext cx="2743200" cy="365125"/>
          </a:xfrm>
          <a:prstGeom prst="rect">
            <a:avLst/>
          </a:prstGeom>
        </p:spPr>
        <p:txBody>
          <a:bodyPr/>
          <a:lstStyle/>
          <a:p>
            <a:fld id="{617FFAAB-78B4-D94E-9172-4477C8873B97}" type="datetimeFigureOut">
              <a:rPr lang="ru-RU" smtClean="0"/>
              <a:t>05.05.2025</a:t>
            </a:fld>
            <a:endParaRPr lang="ru-RU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4038601" y="6356352"/>
            <a:ext cx="4114801" cy="365125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610600" y="6356352"/>
            <a:ext cx="2743200" cy="365125"/>
          </a:xfrm>
          <a:prstGeom prst="rect">
            <a:avLst/>
          </a:prstGeom>
        </p:spPr>
        <p:txBody>
          <a:bodyPr/>
          <a:lstStyle/>
          <a:p>
            <a:fld id="{337EBA19-D45B-5B41-98D8-6F4B62A3674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959281271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838202" y="6356352"/>
            <a:ext cx="2743200" cy="365125"/>
          </a:xfrm>
          <a:prstGeom prst="rect">
            <a:avLst/>
          </a:prstGeom>
        </p:spPr>
        <p:txBody>
          <a:bodyPr/>
          <a:lstStyle/>
          <a:p>
            <a:fld id="{617FFAAB-78B4-D94E-9172-4477C8873B97}" type="datetimeFigureOut">
              <a:rPr lang="ru-RU" smtClean="0"/>
              <a:t>05.05.2025</a:t>
            </a:fld>
            <a:endParaRPr lang="ru-RU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4038601" y="6356352"/>
            <a:ext cx="4114801" cy="365125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8610600" y="6356352"/>
            <a:ext cx="2743200" cy="365125"/>
          </a:xfrm>
          <a:prstGeom prst="rect">
            <a:avLst/>
          </a:prstGeom>
        </p:spPr>
        <p:txBody>
          <a:bodyPr/>
          <a:lstStyle/>
          <a:p>
            <a:fld id="{337EBA19-D45B-5B41-98D8-6F4B62A3674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55152320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9" y="457200"/>
            <a:ext cx="3932237" cy="1600200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7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
Второй уровень
Третий уровень
Четвертый уровень
Пятый уровень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9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4" indent="0">
              <a:buNone/>
              <a:defRPr sz="1400"/>
            </a:lvl2pPr>
            <a:lvl3pPr marL="914408" indent="0">
              <a:buNone/>
              <a:defRPr sz="1199"/>
            </a:lvl3pPr>
            <a:lvl4pPr marL="1371612" indent="0">
              <a:buNone/>
              <a:defRPr sz="1000"/>
            </a:lvl4pPr>
            <a:lvl5pPr marL="1828815" indent="0">
              <a:buNone/>
              <a:defRPr sz="1000"/>
            </a:lvl5pPr>
            <a:lvl6pPr marL="2286018" indent="0">
              <a:buNone/>
              <a:defRPr sz="1000"/>
            </a:lvl6pPr>
            <a:lvl7pPr marL="2743222" indent="0">
              <a:buNone/>
              <a:defRPr sz="1000"/>
            </a:lvl7pPr>
            <a:lvl8pPr marL="3200426" indent="0">
              <a:buNone/>
              <a:defRPr sz="1000"/>
            </a:lvl8pPr>
            <a:lvl9pPr marL="3657629" indent="0">
              <a:buNone/>
              <a:defRPr sz="1000"/>
            </a:lvl9pPr>
          </a:lstStyle>
          <a:p>
            <a:pPr lvl="0"/>
            <a:r>
              <a:rPr lang="ru-RU"/>
              <a:t>Образец текста
Второй уровень
Третий уровень
Четвертый уровень
Пятый уровень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838202" y="6356352"/>
            <a:ext cx="2743200" cy="365125"/>
          </a:xfrm>
          <a:prstGeom prst="rect">
            <a:avLst/>
          </a:prstGeom>
        </p:spPr>
        <p:txBody>
          <a:bodyPr/>
          <a:lstStyle/>
          <a:p>
            <a:fld id="{617FFAAB-78B4-D94E-9172-4477C8873B97}" type="datetimeFigureOut">
              <a:rPr lang="ru-RU" smtClean="0"/>
              <a:t>05.05.2025</a:t>
            </a:fld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038601" y="6356352"/>
            <a:ext cx="4114801" cy="365125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8610600" y="6356352"/>
            <a:ext cx="2743200" cy="365125"/>
          </a:xfrm>
          <a:prstGeom prst="rect">
            <a:avLst/>
          </a:prstGeom>
        </p:spPr>
        <p:txBody>
          <a:bodyPr/>
          <a:lstStyle/>
          <a:p>
            <a:fld id="{337EBA19-D45B-5B41-98D8-6F4B62A3674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22463231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9" y="457200"/>
            <a:ext cx="3932237" cy="1600200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3188" y="987427"/>
            <a:ext cx="617220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4" indent="0">
              <a:buNone/>
              <a:defRPr sz="2800"/>
            </a:lvl2pPr>
            <a:lvl3pPr marL="914408" indent="0">
              <a:buNone/>
              <a:defRPr sz="2400"/>
            </a:lvl3pPr>
            <a:lvl4pPr marL="1371612" indent="0">
              <a:buNone/>
              <a:defRPr sz="2000"/>
            </a:lvl4pPr>
            <a:lvl5pPr marL="1828815" indent="0">
              <a:buNone/>
              <a:defRPr sz="2000"/>
            </a:lvl5pPr>
            <a:lvl6pPr marL="2286018" indent="0">
              <a:buNone/>
              <a:defRPr sz="2000"/>
            </a:lvl6pPr>
            <a:lvl7pPr marL="2743222" indent="0">
              <a:buNone/>
              <a:defRPr sz="2000"/>
            </a:lvl7pPr>
            <a:lvl8pPr marL="3200426" indent="0">
              <a:buNone/>
              <a:defRPr sz="2000"/>
            </a:lvl8pPr>
            <a:lvl9pPr marL="3657629" indent="0">
              <a:buNone/>
              <a:defRPr sz="2000"/>
            </a:lvl9pPr>
          </a:lstStyle>
          <a:p>
            <a:r>
              <a:rPr lang="ru-RU"/>
              <a:t>Вставка рисунка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9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4" indent="0">
              <a:buNone/>
              <a:defRPr sz="1400"/>
            </a:lvl2pPr>
            <a:lvl3pPr marL="914408" indent="0">
              <a:buNone/>
              <a:defRPr sz="1199"/>
            </a:lvl3pPr>
            <a:lvl4pPr marL="1371612" indent="0">
              <a:buNone/>
              <a:defRPr sz="1000"/>
            </a:lvl4pPr>
            <a:lvl5pPr marL="1828815" indent="0">
              <a:buNone/>
              <a:defRPr sz="1000"/>
            </a:lvl5pPr>
            <a:lvl6pPr marL="2286018" indent="0">
              <a:buNone/>
              <a:defRPr sz="1000"/>
            </a:lvl6pPr>
            <a:lvl7pPr marL="2743222" indent="0">
              <a:buNone/>
              <a:defRPr sz="1000"/>
            </a:lvl7pPr>
            <a:lvl8pPr marL="3200426" indent="0">
              <a:buNone/>
              <a:defRPr sz="1000"/>
            </a:lvl8pPr>
            <a:lvl9pPr marL="3657629" indent="0">
              <a:buNone/>
              <a:defRPr sz="1000"/>
            </a:lvl9pPr>
          </a:lstStyle>
          <a:p>
            <a:pPr lvl="0"/>
            <a:r>
              <a:rPr lang="ru-RU"/>
              <a:t>Образец текста
Второй уровень
Третий уровень
Четвертый уровень
Пятый уровень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838202" y="6356352"/>
            <a:ext cx="2743200" cy="365125"/>
          </a:xfrm>
          <a:prstGeom prst="rect">
            <a:avLst/>
          </a:prstGeom>
        </p:spPr>
        <p:txBody>
          <a:bodyPr/>
          <a:lstStyle/>
          <a:p>
            <a:fld id="{617FFAAB-78B4-D94E-9172-4477C8873B97}" type="datetimeFigureOut">
              <a:rPr lang="ru-RU" smtClean="0"/>
              <a:t>05.05.2025</a:t>
            </a:fld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038601" y="6356352"/>
            <a:ext cx="4114801" cy="365125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8610600" y="6356352"/>
            <a:ext cx="2743200" cy="365125"/>
          </a:xfrm>
          <a:prstGeom prst="rect">
            <a:avLst/>
          </a:prstGeom>
        </p:spPr>
        <p:txBody>
          <a:bodyPr/>
          <a:lstStyle/>
          <a:p>
            <a:fld id="{337EBA19-D45B-5B41-98D8-6F4B62A3674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0463366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2" y="365127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
Второй уровень
Третий уровень
Четвертый уровень
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2" y="6356352"/>
            <a:ext cx="2743200" cy="365125"/>
          </a:xfrm>
          <a:prstGeom prst="rect">
            <a:avLst/>
          </a:prstGeom>
        </p:spPr>
        <p:txBody>
          <a:bodyPr/>
          <a:lstStyle/>
          <a:p>
            <a:fld id="{617FFAAB-78B4-D94E-9172-4477C8873B97}" type="datetimeFigureOut">
              <a:rPr lang="ru-RU" smtClean="0"/>
              <a:t>05.05.2025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1" y="6356352"/>
            <a:ext cx="4114801" cy="365125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356352"/>
            <a:ext cx="2743200" cy="365125"/>
          </a:xfrm>
          <a:prstGeom prst="rect">
            <a:avLst/>
          </a:prstGeom>
        </p:spPr>
        <p:txBody>
          <a:bodyPr/>
          <a:lstStyle/>
          <a:p>
            <a:fld id="{337EBA19-D45B-5B41-98D8-6F4B62A3674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80266804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1" y="365125"/>
            <a:ext cx="2628900" cy="5811838"/>
          </a:xfrm>
          <a:prstGeom prst="rect">
            <a:avLst/>
          </a:prstGeom>
        </p:spPr>
        <p:txBody>
          <a:bodyPr vert="eaVert"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1" y="365125"/>
            <a:ext cx="7734301" cy="5811838"/>
          </a:xfrm>
        </p:spPr>
        <p:txBody>
          <a:bodyPr vert="eaVert"/>
          <a:lstStyle/>
          <a:p>
            <a:pPr lvl="0"/>
            <a:r>
              <a:rPr lang="ru-RU"/>
              <a:t>Образец текста
Второй уровень
Третий уровень
Четвертый уровень
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2" y="6356352"/>
            <a:ext cx="2743200" cy="365125"/>
          </a:xfrm>
          <a:prstGeom prst="rect">
            <a:avLst/>
          </a:prstGeom>
        </p:spPr>
        <p:txBody>
          <a:bodyPr/>
          <a:lstStyle/>
          <a:p>
            <a:fld id="{617FFAAB-78B4-D94E-9172-4477C8873B97}" type="datetimeFigureOut">
              <a:rPr lang="ru-RU" smtClean="0"/>
              <a:t>05.05.2025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1" y="6356352"/>
            <a:ext cx="4114801" cy="365125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356352"/>
            <a:ext cx="2743200" cy="365125"/>
          </a:xfrm>
          <a:prstGeom prst="rect">
            <a:avLst/>
          </a:prstGeom>
        </p:spPr>
        <p:txBody>
          <a:bodyPr/>
          <a:lstStyle/>
          <a:p>
            <a:fld id="{337EBA19-D45B-5B41-98D8-6F4B62A3674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86449248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3968143-A545-4B18-9A69-1D710DB2191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848A6E4-FA97-4226-A058-C01EA0F07EC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7325492-96C1-48FF-8399-56A6BAA0845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F172B7-09AB-4FF1-91AB-0A938626D081}" type="datetimeFigureOut">
              <a:rPr lang="en-US" smtClean="0"/>
              <a:t>5/5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57AE75A-F21C-418C-AB76-647C04F687D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1597695-D730-4187-BF4A-25E40FE8333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F0C9E07-A494-419E-921C-53103A3E2D0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1754145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3206215F-1270-466F-9796-7197C71228E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CEA21E47-36E0-4627-B83C-E124F36EA3E7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/>
          </a:p>
        </p:txBody>
      </p:sp>
      <p:sp>
        <p:nvSpPr>
          <p:cNvPr id="4" name="Объект 3">
            <a:extLst>
              <a:ext uri="{FF2B5EF4-FFF2-40B4-BE49-F238E27FC236}">
                <a16:creationId xmlns:a16="http://schemas.microsoft.com/office/drawing/2014/main" id="{E7F82E05-275C-4888-AB7C-9F7D962956A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/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id="{D1C45B36-BA5B-43C8-BBCA-2B933AE3465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1F711C6-981B-4077-8503-7280F6B8F5BF}" type="datetimeFigureOut">
              <a:rPr lang="en-US" smtClean="0"/>
              <a:t>5/5/2025</a:t>
            </a:fld>
            <a:endParaRPr lang="en-US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730520BC-4478-425F-95ED-3A8BA6505E2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7A20B6EE-0318-431E-AFE4-FC824A61FA9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D54EFB-21D0-49C0-9B07-90B3319BE3D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44773965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0316F42-279D-42C4-AF38-6950697547C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04ADC43-479D-4652-ABE2-7E996B9E8B5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C68F47E-C3F6-47D4-9A73-0809C4C5284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F172B7-09AB-4FF1-91AB-0A938626D081}" type="datetimeFigureOut">
              <a:rPr lang="en-US" smtClean="0"/>
              <a:t>5/5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B42A0F0-B74F-4C03-B169-5CAA5A73A7D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52FFCCC-4ECB-47BA-9E0D-B32BC8A9144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F0C9E07-A494-419E-921C-53103A3E2D0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84802367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4A52DBB-ECEB-417B-841A-90EAA6741A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6BD9585-EBAC-4CC7-AE34-12D0CD6BA9F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5AB0B4A-A665-4B21-90C9-25D38D7B3AC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F172B7-09AB-4FF1-91AB-0A938626D081}" type="datetimeFigureOut">
              <a:rPr lang="en-US" smtClean="0"/>
              <a:t>5/5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B6B5BEC-DD0E-47B6-B62D-75985D1196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6256EFA-3948-4F8F-A9E3-AF4DFFFF8AD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F0C9E07-A494-419E-921C-53103A3E2D0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62418662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798D44B-E3D3-4153-B27F-761368659CB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D1CA219-1606-400B-981E-CED8E92CA13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43DEC9F-B6CD-4928-BD01-91B04AB9207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E95B50E-C3CB-45E8-8983-C70EF789EA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F172B7-09AB-4FF1-91AB-0A938626D081}" type="datetimeFigureOut">
              <a:rPr lang="en-US" smtClean="0"/>
              <a:t>5/5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0E8DF52-908F-4487-A414-4927C42BAD3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C0BCD85-F669-485B-9B5F-08AF3A6C55A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F0C9E07-A494-419E-921C-53103A3E2D0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90258275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F3D810A-E7AB-4F2A-8CF9-1BC968112B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2468B2A-E0C5-41D7-9D6D-3409AC95649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FD0A73C-675D-440E-8201-7D813DAA9CD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CA294A4-A98D-4075-8E84-61D4820F1585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ED3BDBBD-4424-43FA-926D-AA0BA0AEE147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C0991EA3-8010-4C23-9713-EBA0C0626E2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F172B7-09AB-4FF1-91AB-0A938626D081}" type="datetimeFigureOut">
              <a:rPr lang="en-US" smtClean="0"/>
              <a:t>5/5/2025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21601EFB-D82D-4176-ACF9-01A7F074496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269785FC-CACC-417C-A853-464BA4D4AAF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F0C9E07-A494-419E-921C-53103A3E2D0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85812328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3D40C77-E7AF-4CF6-BE83-B018B79D15D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BB098C6-B432-4391-89E4-AA7EF0BA1BC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F172B7-09AB-4FF1-91AB-0A938626D081}" type="datetimeFigureOut">
              <a:rPr lang="en-US" smtClean="0"/>
              <a:t>5/5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92D5EB6-69DA-4C57-8914-2C37A08F1BE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2F497D5-279D-44B1-A09A-5D77ADB7115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F0C9E07-A494-419E-921C-53103A3E2D0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82643670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66A4C3DC-85EA-4021-B665-41FFCBF7B1F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F172B7-09AB-4FF1-91AB-0A938626D081}" type="datetimeFigureOut">
              <a:rPr lang="en-US" smtClean="0"/>
              <a:t>5/5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32696C0-2E07-4A88-9642-09ECCCCEE90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EAFC96A-D427-4CA3-BC79-0DEC1CEEFF4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F0C9E07-A494-419E-921C-53103A3E2D0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93392700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F186977-7F53-4BAF-AE74-C300243D1D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9F6FC05-5F60-4719-9249-21E1B0611B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73C5977-5FBD-4A61-A574-F5A9BEB831D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1F665E5-8E6A-45D5-AC55-57CF4CC1BAA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F172B7-09AB-4FF1-91AB-0A938626D081}" type="datetimeFigureOut">
              <a:rPr lang="en-US" smtClean="0"/>
              <a:t>5/5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E198E8F-9F9D-4D52-9EEC-4FA0A9EFA76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71E1671-A549-439D-ADDD-F1E8D8F5F62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F0C9E07-A494-419E-921C-53103A3E2D0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06319058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A5EB2BE-F1F5-45E2-AD20-C2F5456C4F3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1B055104-9BF0-40B2-8368-04ECE47134E9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55AC528-5B18-4AF0-BD47-2DAEC961F20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1888B1D-6DCE-487C-9F08-A6D766673B8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F172B7-09AB-4FF1-91AB-0A938626D081}" type="datetimeFigureOut">
              <a:rPr lang="en-US" smtClean="0"/>
              <a:t>5/5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7AB0944-49A6-4C3A-B239-2E15571061E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82DF291-2B07-4193-9173-04F4C174D5B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F0C9E07-A494-419E-921C-53103A3E2D0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87668008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6F00CE1-8BD0-46E1-BEF9-8E417936C84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8059DC6E-127E-4EAB-BEE1-EB8F5219A665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E946372-2F78-4379-BDE1-BB9A8AA5392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F172B7-09AB-4FF1-91AB-0A938626D081}" type="datetimeFigureOut">
              <a:rPr lang="en-US" smtClean="0"/>
              <a:t>5/5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47DF884-8B0D-4663-A623-860F3829D76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7FBDE58-B393-45DC-915E-28E8C1966A2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F0C9E07-A494-419E-921C-53103A3E2D0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25343855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0DAB1FF1-EF3F-4F51-BCBC-4B3F50CDBA18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46151FEA-E89F-40B8-8507-91D6C9F316A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2BB4B40-459F-4D8B-AAEC-6C49E34EDAE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F172B7-09AB-4FF1-91AB-0A938626D081}" type="datetimeFigureOut">
              <a:rPr lang="en-US" smtClean="0"/>
              <a:t>5/5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35CAC77-3717-49CC-9C19-A0F100E6C6A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A62FF08-8F74-4418-BB6C-9C2169DFDBF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F0C9E07-A494-419E-921C-53103A3E2D0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2301003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F2AC0CE8-3FB1-4EEE-A037-9636C0E4709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F1121B6B-CA18-4A65-BD6A-1402448AE03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>
            <a:extLst>
              <a:ext uri="{FF2B5EF4-FFF2-40B4-BE49-F238E27FC236}">
                <a16:creationId xmlns:a16="http://schemas.microsoft.com/office/drawing/2014/main" id="{8EACC7B9-9C77-47CF-9D79-3092641474E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/>
          </a:p>
        </p:txBody>
      </p:sp>
      <p:sp>
        <p:nvSpPr>
          <p:cNvPr id="5" name="Текст 4">
            <a:extLst>
              <a:ext uri="{FF2B5EF4-FFF2-40B4-BE49-F238E27FC236}">
                <a16:creationId xmlns:a16="http://schemas.microsoft.com/office/drawing/2014/main" id="{D61A19A9-E346-4F49-8EC4-31906F0E4778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>
            <a:extLst>
              <a:ext uri="{FF2B5EF4-FFF2-40B4-BE49-F238E27FC236}">
                <a16:creationId xmlns:a16="http://schemas.microsoft.com/office/drawing/2014/main" id="{116524AF-9CC1-4CBB-9A10-CF9FE2329344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/>
          </a:p>
        </p:txBody>
      </p:sp>
      <p:sp>
        <p:nvSpPr>
          <p:cNvPr id="7" name="Дата 6">
            <a:extLst>
              <a:ext uri="{FF2B5EF4-FFF2-40B4-BE49-F238E27FC236}">
                <a16:creationId xmlns:a16="http://schemas.microsoft.com/office/drawing/2014/main" id="{B577B6C0-EC62-45BE-BD4F-CD35ECF05F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1F711C6-981B-4077-8503-7280F6B8F5BF}" type="datetimeFigureOut">
              <a:rPr lang="en-US" smtClean="0"/>
              <a:t>5/5/2025</a:t>
            </a:fld>
            <a:endParaRPr lang="en-US"/>
          </a:p>
        </p:txBody>
      </p:sp>
      <p:sp>
        <p:nvSpPr>
          <p:cNvPr id="8" name="Нижний колонтитул 7">
            <a:extLst>
              <a:ext uri="{FF2B5EF4-FFF2-40B4-BE49-F238E27FC236}">
                <a16:creationId xmlns:a16="http://schemas.microsoft.com/office/drawing/2014/main" id="{B87BD4B8-AC9D-4140-BBD6-2DFED90AA9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Номер слайда 8">
            <a:extLst>
              <a:ext uri="{FF2B5EF4-FFF2-40B4-BE49-F238E27FC236}">
                <a16:creationId xmlns:a16="http://schemas.microsoft.com/office/drawing/2014/main" id="{D99CFB7D-F440-4B56-9DEE-C31F1060A1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D54EFB-21D0-49C0-9B07-90B3319BE3D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03589998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914402" y="2130426"/>
            <a:ext cx="10363200" cy="1470024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828801" y="3886202"/>
            <a:ext cx="8534399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6983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396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4095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7933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34917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8190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888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758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64C7A3-041E-4AA7-98AE-2E3237B061DB}" type="datetimeFigureOut">
              <a:rPr lang="ru-RU" smtClean="0"/>
              <a:pPr/>
              <a:t>05.05.202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A6D803-ADFA-4953-B6EF-9BE1B9331B8C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051444733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64C7A3-041E-4AA7-98AE-2E3237B061DB}" type="datetimeFigureOut">
              <a:rPr lang="ru-RU" smtClean="0"/>
              <a:pPr/>
              <a:t>05.05.202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A6D803-ADFA-4953-B6EF-9BE1B9331B8C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277234625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963083" y="4406900"/>
            <a:ext cx="10363200" cy="1362076"/>
          </a:xfrm>
        </p:spPr>
        <p:txBody>
          <a:bodyPr anchor="t"/>
          <a:lstStyle>
            <a:lvl1pPr algn="l">
              <a:defRPr sz="4082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963083" y="2906714"/>
            <a:ext cx="10363200" cy="1500187"/>
          </a:xfrm>
        </p:spPr>
        <p:txBody>
          <a:bodyPr anchor="b"/>
          <a:lstStyle>
            <a:lvl1pPr marL="0" indent="0">
              <a:buNone/>
              <a:defRPr sz="2042">
                <a:solidFill>
                  <a:schemeClr val="tx1">
                    <a:tint val="75000"/>
                  </a:schemeClr>
                </a:solidFill>
              </a:defRPr>
            </a:lvl1pPr>
            <a:lvl2pPr marL="469836" indent="0">
              <a:buNone/>
              <a:defRPr sz="1786">
                <a:solidFill>
                  <a:schemeClr val="tx1">
                    <a:tint val="75000"/>
                  </a:schemeClr>
                </a:solidFill>
              </a:defRPr>
            </a:lvl2pPr>
            <a:lvl3pPr marL="939669" indent="0">
              <a:buNone/>
              <a:defRPr sz="1658">
                <a:solidFill>
                  <a:schemeClr val="tx1">
                    <a:tint val="75000"/>
                  </a:schemeClr>
                </a:solidFill>
              </a:defRPr>
            </a:lvl3pPr>
            <a:lvl4pPr marL="1409504" indent="0">
              <a:buNone/>
              <a:defRPr sz="1402">
                <a:solidFill>
                  <a:schemeClr val="tx1">
                    <a:tint val="75000"/>
                  </a:schemeClr>
                </a:solidFill>
              </a:defRPr>
            </a:lvl4pPr>
            <a:lvl5pPr marL="1879338" indent="0">
              <a:buNone/>
              <a:defRPr sz="1402">
                <a:solidFill>
                  <a:schemeClr val="tx1">
                    <a:tint val="75000"/>
                  </a:schemeClr>
                </a:solidFill>
              </a:defRPr>
            </a:lvl5pPr>
            <a:lvl6pPr marL="2349174" indent="0">
              <a:buNone/>
              <a:defRPr sz="1402">
                <a:solidFill>
                  <a:schemeClr val="tx1">
                    <a:tint val="75000"/>
                  </a:schemeClr>
                </a:solidFill>
              </a:defRPr>
            </a:lvl6pPr>
            <a:lvl7pPr marL="2819009" indent="0">
              <a:buNone/>
              <a:defRPr sz="1402">
                <a:solidFill>
                  <a:schemeClr val="tx1">
                    <a:tint val="75000"/>
                  </a:schemeClr>
                </a:solidFill>
              </a:defRPr>
            </a:lvl7pPr>
            <a:lvl8pPr marL="3288843" indent="0">
              <a:buNone/>
              <a:defRPr sz="1402">
                <a:solidFill>
                  <a:schemeClr val="tx1">
                    <a:tint val="75000"/>
                  </a:schemeClr>
                </a:solidFill>
              </a:defRPr>
            </a:lvl8pPr>
            <a:lvl9pPr marL="3758678" indent="0">
              <a:buNone/>
              <a:defRPr sz="1402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64C7A3-041E-4AA7-98AE-2E3237B061DB}" type="datetimeFigureOut">
              <a:rPr lang="ru-RU" smtClean="0"/>
              <a:pPr/>
              <a:t>05.05.202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A6D803-ADFA-4953-B6EF-9BE1B9331B8C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685507332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503771" y="1243013"/>
            <a:ext cx="4434417" cy="3517901"/>
          </a:xfrm>
        </p:spPr>
        <p:txBody>
          <a:bodyPr/>
          <a:lstStyle>
            <a:lvl1pPr>
              <a:defRPr sz="2934"/>
            </a:lvl1pPr>
            <a:lvl2pPr>
              <a:defRPr sz="2424"/>
            </a:lvl2pPr>
            <a:lvl3pPr>
              <a:defRPr sz="2042"/>
            </a:lvl3pPr>
            <a:lvl4pPr>
              <a:defRPr sz="1786"/>
            </a:lvl4pPr>
            <a:lvl5pPr>
              <a:defRPr sz="1786"/>
            </a:lvl5pPr>
            <a:lvl6pPr>
              <a:defRPr sz="1786"/>
            </a:lvl6pPr>
            <a:lvl7pPr>
              <a:defRPr sz="1786"/>
            </a:lvl7pPr>
            <a:lvl8pPr>
              <a:defRPr sz="1786"/>
            </a:lvl8pPr>
            <a:lvl9pPr>
              <a:defRPr sz="1786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5141384" y="1243013"/>
            <a:ext cx="4436535" cy="3517901"/>
          </a:xfrm>
        </p:spPr>
        <p:txBody>
          <a:bodyPr/>
          <a:lstStyle>
            <a:lvl1pPr>
              <a:defRPr sz="2934"/>
            </a:lvl1pPr>
            <a:lvl2pPr>
              <a:defRPr sz="2424"/>
            </a:lvl2pPr>
            <a:lvl3pPr>
              <a:defRPr sz="2042"/>
            </a:lvl3pPr>
            <a:lvl4pPr>
              <a:defRPr sz="1786"/>
            </a:lvl4pPr>
            <a:lvl5pPr>
              <a:defRPr sz="1786"/>
            </a:lvl5pPr>
            <a:lvl6pPr>
              <a:defRPr sz="1786"/>
            </a:lvl6pPr>
            <a:lvl7pPr>
              <a:defRPr sz="1786"/>
            </a:lvl7pPr>
            <a:lvl8pPr>
              <a:defRPr sz="1786"/>
            </a:lvl8pPr>
            <a:lvl9pPr>
              <a:defRPr sz="1786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64C7A3-041E-4AA7-98AE-2E3237B061DB}" type="datetimeFigureOut">
              <a:rPr lang="ru-RU" smtClean="0"/>
              <a:pPr/>
              <a:t>05.05.2025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A6D803-ADFA-4953-B6EF-9BE1B9331B8C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286943244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601" y="274640"/>
            <a:ext cx="10972801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09601" y="1535114"/>
            <a:ext cx="5386917" cy="639761"/>
          </a:xfrm>
        </p:spPr>
        <p:txBody>
          <a:bodyPr anchor="b"/>
          <a:lstStyle>
            <a:lvl1pPr marL="0" indent="0">
              <a:buNone/>
              <a:defRPr sz="2424" b="1"/>
            </a:lvl1pPr>
            <a:lvl2pPr marL="469836" indent="0">
              <a:buNone/>
              <a:defRPr sz="2042" b="1"/>
            </a:lvl2pPr>
            <a:lvl3pPr marL="939669" indent="0">
              <a:buNone/>
              <a:defRPr sz="1786" b="1"/>
            </a:lvl3pPr>
            <a:lvl4pPr marL="1409504" indent="0">
              <a:buNone/>
              <a:defRPr sz="1658" b="1"/>
            </a:lvl4pPr>
            <a:lvl5pPr marL="1879338" indent="0">
              <a:buNone/>
              <a:defRPr sz="1658" b="1"/>
            </a:lvl5pPr>
            <a:lvl6pPr marL="2349174" indent="0">
              <a:buNone/>
              <a:defRPr sz="1658" b="1"/>
            </a:lvl6pPr>
            <a:lvl7pPr marL="2819009" indent="0">
              <a:buNone/>
              <a:defRPr sz="1658" b="1"/>
            </a:lvl7pPr>
            <a:lvl8pPr marL="3288843" indent="0">
              <a:buNone/>
              <a:defRPr sz="1658" b="1"/>
            </a:lvl8pPr>
            <a:lvl9pPr marL="3758678" indent="0">
              <a:buNone/>
              <a:defRPr sz="1658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609601" y="2174875"/>
            <a:ext cx="5386917" cy="3951287"/>
          </a:xfrm>
        </p:spPr>
        <p:txBody>
          <a:bodyPr/>
          <a:lstStyle>
            <a:lvl1pPr>
              <a:defRPr sz="2424"/>
            </a:lvl1pPr>
            <a:lvl2pPr>
              <a:defRPr sz="2042"/>
            </a:lvl2pPr>
            <a:lvl3pPr>
              <a:defRPr sz="1786"/>
            </a:lvl3pPr>
            <a:lvl4pPr>
              <a:defRPr sz="1658"/>
            </a:lvl4pPr>
            <a:lvl5pPr>
              <a:defRPr sz="1658"/>
            </a:lvl5pPr>
            <a:lvl6pPr>
              <a:defRPr sz="1658"/>
            </a:lvl6pPr>
            <a:lvl7pPr>
              <a:defRPr sz="1658"/>
            </a:lvl7pPr>
            <a:lvl8pPr>
              <a:defRPr sz="1658"/>
            </a:lvl8pPr>
            <a:lvl9pPr>
              <a:defRPr sz="1658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93368" y="1535114"/>
            <a:ext cx="5389033" cy="639761"/>
          </a:xfrm>
        </p:spPr>
        <p:txBody>
          <a:bodyPr anchor="b"/>
          <a:lstStyle>
            <a:lvl1pPr marL="0" indent="0">
              <a:buNone/>
              <a:defRPr sz="2424" b="1"/>
            </a:lvl1pPr>
            <a:lvl2pPr marL="469836" indent="0">
              <a:buNone/>
              <a:defRPr sz="2042" b="1"/>
            </a:lvl2pPr>
            <a:lvl3pPr marL="939669" indent="0">
              <a:buNone/>
              <a:defRPr sz="1786" b="1"/>
            </a:lvl3pPr>
            <a:lvl4pPr marL="1409504" indent="0">
              <a:buNone/>
              <a:defRPr sz="1658" b="1"/>
            </a:lvl4pPr>
            <a:lvl5pPr marL="1879338" indent="0">
              <a:buNone/>
              <a:defRPr sz="1658" b="1"/>
            </a:lvl5pPr>
            <a:lvl6pPr marL="2349174" indent="0">
              <a:buNone/>
              <a:defRPr sz="1658" b="1"/>
            </a:lvl6pPr>
            <a:lvl7pPr marL="2819009" indent="0">
              <a:buNone/>
              <a:defRPr sz="1658" b="1"/>
            </a:lvl7pPr>
            <a:lvl8pPr marL="3288843" indent="0">
              <a:buNone/>
              <a:defRPr sz="1658" b="1"/>
            </a:lvl8pPr>
            <a:lvl9pPr marL="3758678" indent="0">
              <a:buNone/>
              <a:defRPr sz="1658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6193368" y="2174875"/>
            <a:ext cx="5389033" cy="3951287"/>
          </a:xfrm>
        </p:spPr>
        <p:txBody>
          <a:bodyPr/>
          <a:lstStyle>
            <a:lvl1pPr>
              <a:defRPr sz="2424"/>
            </a:lvl1pPr>
            <a:lvl2pPr>
              <a:defRPr sz="2042"/>
            </a:lvl2pPr>
            <a:lvl3pPr>
              <a:defRPr sz="1786"/>
            </a:lvl3pPr>
            <a:lvl4pPr>
              <a:defRPr sz="1658"/>
            </a:lvl4pPr>
            <a:lvl5pPr>
              <a:defRPr sz="1658"/>
            </a:lvl5pPr>
            <a:lvl6pPr>
              <a:defRPr sz="1658"/>
            </a:lvl6pPr>
            <a:lvl7pPr>
              <a:defRPr sz="1658"/>
            </a:lvl7pPr>
            <a:lvl8pPr>
              <a:defRPr sz="1658"/>
            </a:lvl8pPr>
            <a:lvl9pPr>
              <a:defRPr sz="1658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64C7A3-041E-4AA7-98AE-2E3237B061DB}" type="datetimeFigureOut">
              <a:rPr lang="ru-RU" smtClean="0"/>
              <a:pPr/>
              <a:t>05.05.2025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A6D803-ADFA-4953-B6EF-9BE1B9331B8C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143033358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64C7A3-041E-4AA7-98AE-2E3237B061DB}" type="datetimeFigureOut">
              <a:rPr lang="ru-RU" smtClean="0"/>
              <a:pPr/>
              <a:t>05.05.2025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A6D803-ADFA-4953-B6EF-9BE1B9331B8C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90626944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64C7A3-041E-4AA7-98AE-2E3237B061DB}" type="datetimeFigureOut">
              <a:rPr lang="ru-RU" smtClean="0"/>
              <a:pPr/>
              <a:t>05.05.2025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A6D803-ADFA-4953-B6EF-9BE1B9331B8C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64682558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604" y="273050"/>
            <a:ext cx="4011083" cy="1162051"/>
          </a:xfrm>
        </p:spPr>
        <p:txBody>
          <a:bodyPr anchor="b"/>
          <a:lstStyle>
            <a:lvl1pPr algn="l">
              <a:defRPr sz="2042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4766736" y="273052"/>
            <a:ext cx="6815666" cy="5853113"/>
          </a:xfrm>
        </p:spPr>
        <p:txBody>
          <a:bodyPr/>
          <a:lstStyle>
            <a:lvl1pPr>
              <a:defRPr sz="3317"/>
            </a:lvl1pPr>
            <a:lvl2pPr>
              <a:defRPr sz="2934"/>
            </a:lvl2pPr>
            <a:lvl3pPr>
              <a:defRPr sz="2424"/>
            </a:lvl3pPr>
            <a:lvl4pPr>
              <a:defRPr sz="2042"/>
            </a:lvl4pPr>
            <a:lvl5pPr>
              <a:defRPr sz="2042"/>
            </a:lvl5pPr>
            <a:lvl6pPr>
              <a:defRPr sz="2042"/>
            </a:lvl6pPr>
            <a:lvl7pPr>
              <a:defRPr sz="2042"/>
            </a:lvl7pPr>
            <a:lvl8pPr>
              <a:defRPr sz="2042"/>
            </a:lvl8pPr>
            <a:lvl9pPr>
              <a:defRPr sz="2042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09604" y="1435102"/>
            <a:ext cx="4011083" cy="4691063"/>
          </a:xfrm>
        </p:spPr>
        <p:txBody>
          <a:bodyPr/>
          <a:lstStyle>
            <a:lvl1pPr marL="0" indent="0">
              <a:buNone/>
              <a:defRPr sz="1402"/>
            </a:lvl1pPr>
            <a:lvl2pPr marL="469836" indent="0">
              <a:buNone/>
              <a:defRPr sz="1276"/>
            </a:lvl2pPr>
            <a:lvl3pPr marL="939669" indent="0">
              <a:buNone/>
              <a:defRPr sz="1020"/>
            </a:lvl3pPr>
            <a:lvl4pPr marL="1409504" indent="0">
              <a:buNone/>
              <a:defRPr sz="892"/>
            </a:lvl4pPr>
            <a:lvl5pPr marL="1879338" indent="0">
              <a:buNone/>
              <a:defRPr sz="892"/>
            </a:lvl5pPr>
            <a:lvl6pPr marL="2349174" indent="0">
              <a:buNone/>
              <a:defRPr sz="892"/>
            </a:lvl6pPr>
            <a:lvl7pPr marL="2819009" indent="0">
              <a:buNone/>
              <a:defRPr sz="892"/>
            </a:lvl7pPr>
            <a:lvl8pPr marL="3288843" indent="0">
              <a:buNone/>
              <a:defRPr sz="892"/>
            </a:lvl8pPr>
            <a:lvl9pPr marL="3758678" indent="0">
              <a:buNone/>
              <a:defRPr sz="892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64C7A3-041E-4AA7-98AE-2E3237B061DB}" type="datetimeFigureOut">
              <a:rPr lang="ru-RU" smtClean="0"/>
              <a:pPr/>
              <a:t>05.05.2025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A6D803-ADFA-4953-B6EF-9BE1B9331B8C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25748169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389718" y="4800600"/>
            <a:ext cx="7315200" cy="566738"/>
          </a:xfrm>
        </p:spPr>
        <p:txBody>
          <a:bodyPr anchor="b"/>
          <a:lstStyle>
            <a:lvl1pPr algn="l">
              <a:defRPr sz="2042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2389718" y="612776"/>
            <a:ext cx="7315200" cy="4114800"/>
          </a:xfrm>
        </p:spPr>
        <p:txBody>
          <a:bodyPr/>
          <a:lstStyle>
            <a:lvl1pPr marL="0" indent="0">
              <a:buNone/>
              <a:defRPr sz="3317"/>
            </a:lvl1pPr>
            <a:lvl2pPr marL="469836" indent="0">
              <a:buNone/>
              <a:defRPr sz="2934"/>
            </a:lvl2pPr>
            <a:lvl3pPr marL="939669" indent="0">
              <a:buNone/>
              <a:defRPr sz="2424"/>
            </a:lvl3pPr>
            <a:lvl4pPr marL="1409504" indent="0">
              <a:buNone/>
              <a:defRPr sz="2042"/>
            </a:lvl4pPr>
            <a:lvl5pPr marL="1879338" indent="0">
              <a:buNone/>
              <a:defRPr sz="2042"/>
            </a:lvl5pPr>
            <a:lvl6pPr marL="2349174" indent="0">
              <a:buNone/>
              <a:defRPr sz="2042"/>
            </a:lvl6pPr>
            <a:lvl7pPr marL="2819009" indent="0">
              <a:buNone/>
              <a:defRPr sz="2042"/>
            </a:lvl7pPr>
            <a:lvl8pPr marL="3288843" indent="0">
              <a:buNone/>
              <a:defRPr sz="2042"/>
            </a:lvl8pPr>
            <a:lvl9pPr marL="3758678" indent="0">
              <a:buNone/>
              <a:defRPr sz="2042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2389718" y="5367339"/>
            <a:ext cx="7315200" cy="804862"/>
          </a:xfrm>
        </p:spPr>
        <p:txBody>
          <a:bodyPr/>
          <a:lstStyle>
            <a:lvl1pPr marL="0" indent="0">
              <a:buNone/>
              <a:defRPr sz="1402"/>
            </a:lvl1pPr>
            <a:lvl2pPr marL="469836" indent="0">
              <a:buNone/>
              <a:defRPr sz="1276"/>
            </a:lvl2pPr>
            <a:lvl3pPr marL="939669" indent="0">
              <a:buNone/>
              <a:defRPr sz="1020"/>
            </a:lvl3pPr>
            <a:lvl4pPr marL="1409504" indent="0">
              <a:buNone/>
              <a:defRPr sz="892"/>
            </a:lvl4pPr>
            <a:lvl5pPr marL="1879338" indent="0">
              <a:buNone/>
              <a:defRPr sz="892"/>
            </a:lvl5pPr>
            <a:lvl6pPr marL="2349174" indent="0">
              <a:buNone/>
              <a:defRPr sz="892"/>
            </a:lvl6pPr>
            <a:lvl7pPr marL="2819009" indent="0">
              <a:buNone/>
              <a:defRPr sz="892"/>
            </a:lvl7pPr>
            <a:lvl8pPr marL="3288843" indent="0">
              <a:buNone/>
              <a:defRPr sz="892"/>
            </a:lvl8pPr>
            <a:lvl9pPr marL="3758678" indent="0">
              <a:buNone/>
              <a:defRPr sz="892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64C7A3-041E-4AA7-98AE-2E3237B061DB}" type="datetimeFigureOut">
              <a:rPr lang="ru-RU" smtClean="0"/>
              <a:pPr/>
              <a:t>05.05.2025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A6D803-ADFA-4953-B6EF-9BE1B9331B8C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923271519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64C7A3-041E-4AA7-98AE-2E3237B061DB}" type="datetimeFigureOut">
              <a:rPr lang="ru-RU" smtClean="0"/>
              <a:pPr/>
              <a:t>05.05.202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A6D803-ADFA-4953-B6EF-9BE1B9331B8C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2648956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53863D96-818D-4FC7-B899-FAC7C27D2F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3" name="Дата 2">
            <a:extLst>
              <a:ext uri="{FF2B5EF4-FFF2-40B4-BE49-F238E27FC236}">
                <a16:creationId xmlns:a16="http://schemas.microsoft.com/office/drawing/2014/main" id="{14A9F525-715C-4084-B9FB-7362983215F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1F711C6-981B-4077-8503-7280F6B8F5BF}" type="datetimeFigureOut">
              <a:rPr lang="en-US" smtClean="0"/>
              <a:t>5/5/2025</a:t>
            </a:fld>
            <a:endParaRPr lang="en-US"/>
          </a:p>
        </p:txBody>
      </p:sp>
      <p:sp>
        <p:nvSpPr>
          <p:cNvPr id="4" name="Нижний колонтитул 3">
            <a:extLst>
              <a:ext uri="{FF2B5EF4-FFF2-40B4-BE49-F238E27FC236}">
                <a16:creationId xmlns:a16="http://schemas.microsoft.com/office/drawing/2014/main" id="{765D8E3E-4A5E-476E-B018-C5BAF3A57DF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Номер слайда 4">
            <a:extLst>
              <a:ext uri="{FF2B5EF4-FFF2-40B4-BE49-F238E27FC236}">
                <a16:creationId xmlns:a16="http://schemas.microsoft.com/office/drawing/2014/main" id="{AB06F144-C592-4ADA-880A-7412088754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D54EFB-21D0-49C0-9B07-90B3319BE3D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76592308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7310970" y="212727"/>
            <a:ext cx="2266951" cy="454818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503767" y="212727"/>
            <a:ext cx="6604000" cy="454818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64C7A3-041E-4AA7-98AE-2E3237B061DB}" type="datetimeFigureOut">
              <a:rPr lang="ru-RU" smtClean="0"/>
              <a:pPr/>
              <a:t>05.05.202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A6D803-ADFA-4953-B6EF-9BE1B9331B8C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63225669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2" y="1122363"/>
            <a:ext cx="10363200" cy="2387600"/>
          </a:xfrm>
          <a:prstGeom prst="rect">
            <a:avLst/>
          </a:prstGeo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9"/>
            <a:ext cx="9144001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4" indent="0" algn="ctr">
              <a:buNone/>
              <a:defRPr sz="2000"/>
            </a:lvl2pPr>
            <a:lvl3pPr marL="914408" indent="0" algn="ctr">
              <a:buNone/>
              <a:defRPr sz="1800"/>
            </a:lvl3pPr>
            <a:lvl4pPr marL="1371612" indent="0" algn="ctr">
              <a:buNone/>
              <a:defRPr sz="1600"/>
            </a:lvl4pPr>
            <a:lvl5pPr marL="1828815" indent="0" algn="ctr">
              <a:buNone/>
              <a:defRPr sz="1600"/>
            </a:lvl5pPr>
            <a:lvl6pPr marL="2286018" indent="0" algn="ctr">
              <a:buNone/>
              <a:defRPr sz="1600"/>
            </a:lvl6pPr>
            <a:lvl7pPr marL="2743222" indent="0" algn="ctr">
              <a:buNone/>
              <a:defRPr sz="1600"/>
            </a:lvl7pPr>
            <a:lvl8pPr marL="3200426" indent="0" algn="ctr">
              <a:buNone/>
              <a:defRPr sz="1600"/>
            </a:lvl8pPr>
            <a:lvl9pPr marL="3657629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67755210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50547" y="137281"/>
            <a:ext cx="3931327" cy="857499"/>
          </a:xfrm>
          <a:prstGeom prst="rect">
            <a:avLst/>
          </a:prstGeom>
        </p:spPr>
        <p:txBody>
          <a:bodyPr/>
          <a:lstStyle/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
Второй уровень
Третий уровень
Четвертый уровень
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2" y="6356352"/>
            <a:ext cx="2743200" cy="365125"/>
          </a:xfrm>
          <a:prstGeom prst="rect">
            <a:avLst/>
          </a:prstGeom>
        </p:spPr>
        <p:txBody>
          <a:bodyPr/>
          <a:lstStyle/>
          <a:p>
            <a:fld id="{617FFAAB-78B4-D94E-9172-4477C8873B97}" type="datetimeFigureOut">
              <a:rPr lang="ru-RU" smtClean="0"/>
              <a:t>05.05.2025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1" y="6356352"/>
            <a:ext cx="4114801" cy="365125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356352"/>
            <a:ext cx="2743200" cy="365125"/>
          </a:xfrm>
          <a:prstGeom prst="rect">
            <a:avLst/>
          </a:prstGeom>
        </p:spPr>
        <p:txBody>
          <a:bodyPr/>
          <a:lstStyle/>
          <a:p>
            <a:fld id="{337EBA19-D45B-5B41-98D8-6F4B62A3674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42565974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1" y="1709741"/>
            <a:ext cx="10515600" cy="2852737"/>
          </a:xfrm>
          <a:prstGeom prst="rect">
            <a:avLst/>
          </a:prstGeo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1" y="4589465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204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8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1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15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1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2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2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2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
Второй уровень
Третий уровень
Четвертый уровень
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2" y="6356352"/>
            <a:ext cx="2743200" cy="365125"/>
          </a:xfrm>
          <a:prstGeom prst="rect">
            <a:avLst/>
          </a:prstGeom>
        </p:spPr>
        <p:txBody>
          <a:bodyPr/>
          <a:lstStyle/>
          <a:p>
            <a:fld id="{617FFAAB-78B4-D94E-9172-4477C8873B97}" type="datetimeFigureOut">
              <a:rPr lang="ru-RU" smtClean="0"/>
              <a:t>05.05.2025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1" y="6356352"/>
            <a:ext cx="4114801" cy="365125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356352"/>
            <a:ext cx="2743200" cy="365125"/>
          </a:xfrm>
          <a:prstGeom prst="rect">
            <a:avLst/>
          </a:prstGeom>
        </p:spPr>
        <p:txBody>
          <a:bodyPr/>
          <a:lstStyle/>
          <a:p>
            <a:fld id="{337EBA19-D45B-5B41-98D8-6F4B62A3674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28157834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2" y="365127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6"/>
            <a:ext cx="5181601" cy="4351337"/>
          </a:xfrm>
        </p:spPr>
        <p:txBody>
          <a:bodyPr/>
          <a:lstStyle/>
          <a:p>
            <a:pPr lvl="0"/>
            <a:r>
              <a:rPr lang="ru-RU"/>
              <a:t>Образец текста
Второй уровень
Третий уровень
Четвертый уровень
Пятый уровень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1" y="1825626"/>
            <a:ext cx="5181601" cy="4351337"/>
          </a:xfrm>
        </p:spPr>
        <p:txBody>
          <a:bodyPr/>
          <a:lstStyle/>
          <a:p>
            <a:pPr lvl="0"/>
            <a:r>
              <a:rPr lang="ru-RU"/>
              <a:t>Образец текста
Второй уровень
Третий уровень
Четвертый уровень
Пятый уровень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838202" y="6356352"/>
            <a:ext cx="2743200" cy="365125"/>
          </a:xfrm>
          <a:prstGeom prst="rect">
            <a:avLst/>
          </a:prstGeom>
        </p:spPr>
        <p:txBody>
          <a:bodyPr/>
          <a:lstStyle/>
          <a:p>
            <a:fld id="{617FFAAB-78B4-D94E-9172-4477C8873B97}" type="datetimeFigureOut">
              <a:rPr lang="ru-RU" smtClean="0"/>
              <a:t>05.05.2025</a:t>
            </a:fld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038601" y="6356352"/>
            <a:ext cx="4114801" cy="365125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8610600" y="6356352"/>
            <a:ext cx="2743200" cy="365125"/>
          </a:xfrm>
          <a:prstGeom prst="rect">
            <a:avLst/>
          </a:prstGeom>
        </p:spPr>
        <p:txBody>
          <a:bodyPr/>
          <a:lstStyle/>
          <a:p>
            <a:fld id="{337EBA19-D45B-5B41-98D8-6F4B62A3674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45483799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9" y="365127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90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4" indent="0">
              <a:buNone/>
              <a:defRPr sz="2000" b="1"/>
            </a:lvl2pPr>
            <a:lvl3pPr marL="914408" indent="0">
              <a:buNone/>
              <a:defRPr sz="1800" b="1"/>
            </a:lvl3pPr>
            <a:lvl4pPr marL="1371612" indent="0">
              <a:buNone/>
              <a:defRPr sz="1600" b="1"/>
            </a:lvl4pPr>
            <a:lvl5pPr marL="1828815" indent="0">
              <a:buNone/>
              <a:defRPr sz="1600" b="1"/>
            </a:lvl5pPr>
            <a:lvl6pPr marL="2286018" indent="0">
              <a:buNone/>
              <a:defRPr sz="1600" b="1"/>
            </a:lvl6pPr>
            <a:lvl7pPr marL="2743222" indent="0">
              <a:buNone/>
              <a:defRPr sz="1600" b="1"/>
            </a:lvl7pPr>
            <a:lvl8pPr marL="3200426" indent="0">
              <a:buNone/>
              <a:defRPr sz="1600" b="1"/>
            </a:lvl8pPr>
            <a:lvl9pPr marL="3657629" indent="0">
              <a:buNone/>
              <a:defRPr sz="1600" b="1"/>
            </a:lvl9pPr>
          </a:lstStyle>
          <a:p>
            <a:pPr lvl="0"/>
            <a:r>
              <a:rPr lang="ru-RU"/>
              <a:t>Образец текста
Второй уровень
Третий уровень
Четвертый уровень
Пятый уровень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90" y="2505075"/>
            <a:ext cx="5157787" cy="3684587"/>
          </a:xfrm>
        </p:spPr>
        <p:txBody>
          <a:bodyPr/>
          <a:lstStyle/>
          <a:p>
            <a:pPr lvl="0"/>
            <a:r>
              <a:rPr lang="ru-RU"/>
              <a:t>Образец текста
Второй уровень
Третий уровень
Четвертый уровень
Пятый уровень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4" indent="0">
              <a:buNone/>
              <a:defRPr sz="2000" b="1"/>
            </a:lvl2pPr>
            <a:lvl3pPr marL="914408" indent="0">
              <a:buNone/>
              <a:defRPr sz="1800" b="1"/>
            </a:lvl3pPr>
            <a:lvl4pPr marL="1371612" indent="0">
              <a:buNone/>
              <a:defRPr sz="1600" b="1"/>
            </a:lvl4pPr>
            <a:lvl5pPr marL="1828815" indent="0">
              <a:buNone/>
              <a:defRPr sz="1600" b="1"/>
            </a:lvl5pPr>
            <a:lvl6pPr marL="2286018" indent="0">
              <a:buNone/>
              <a:defRPr sz="1600" b="1"/>
            </a:lvl6pPr>
            <a:lvl7pPr marL="2743222" indent="0">
              <a:buNone/>
              <a:defRPr sz="1600" b="1"/>
            </a:lvl7pPr>
            <a:lvl8pPr marL="3200426" indent="0">
              <a:buNone/>
              <a:defRPr sz="1600" b="1"/>
            </a:lvl8pPr>
            <a:lvl9pPr marL="3657629" indent="0">
              <a:buNone/>
              <a:defRPr sz="1600" b="1"/>
            </a:lvl9pPr>
          </a:lstStyle>
          <a:p>
            <a:pPr lvl="0"/>
            <a:r>
              <a:rPr lang="ru-RU"/>
              <a:t>Образец текста
Второй уровень
Третий уровень
Четвертый уровень
Пятый уровень</a:t>
            </a:r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7"/>
          </a:xfrm>
        </p:spPr>
        <p:txBody>
          <a:bodyPr/>
          <a:lstStyle/>
          <a:p>
            <a:pPr lvl="0"/>
            <a:r>
              <a:rPr lang="ru-RU"/>
              <a:t>Образец текста
Второй уровень
Третий уровень
Четвертый уровень
Пятый уровень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838202" y="6356352"/>
            <a:ext cx="2743200" cy="365125"/>
          </a:xfrm>
          <a:prstGeom prst="rect">
            <a:avLst/>
          </a:prstGeom>
        </p:spPr>
        <p:txBody>
          <a:bodyPr/>
          <a:lstStyle/>
          <a:p>
            <a:fld id="{617FFAAB-78B4-D94E-9172-4477C8873B97}" type="datetimeFigureOut">
              <a:rPr lang="ru-RU" smtClean="0"/>
              <a:t>05.05.2025</a:t>
            </a:fld>
            <a:endParaRPr lang="ru-RU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4038601" y="6356352"/>
            <a:ext cx="4114801" cy="365125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8610600" y="6356352"/>
            <a:ext cx="2743200" cy="365125"/>
          </a:xfrm>
          <a:prstGeom prst="rect">
            <a:avLst/>
          </a:prstGeom>
        </p:spPr>
        <p:txBody>
          <a:bodyPr/>
          <a:lstStyle/>
          <a:p>
            <a:fld id="{337EBA19-D45B-5B41-98D8-6F4B62A3674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978799850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2" y="365127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838202" y="6356352"/>
            <a:ext cx="2743200" cy="365125"/>
          </a:xfrm>
          <a:prstGeom prst="rect">
            <a:avLst/>
          </a:prstGeom>
        </p:spPr>
        <p:txBody>
          <a:bodyPr/>
          <a:lstStyle/>
          <a:p>
            <a:fld id="{617FFAAB-78B4-D94E-9172-4477C8873B97}" type="datetimeFigureOut">
              <a:rPr lang="ru-RU" smtClean="0"/>
              <a:t>05.05.2025</a:t>
            </a:fld>
            <a:endParaRPr lang="ru-RU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4038601" y="6356352"/>
            <a:ext cx="4114801" cy="365125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610600" y="6356352"/>
            <a:ext cx="2743200" cy="365125"/>
          </a:xfrm>
          <a:prstGeom prst="rect">
            <a:avLst/>
          </a:prstGeom>
        </p:spPr>
        <p:txBody>
          <a:bodyPr/>
          <a:lstStyle/>
          <a:p>
            <a:fld id="{337EBA19-D45B-5B41-98D8-6F4B62A3674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45132332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838202" y="6356352"/>
            <a:ext cx="2743200" cy="365125"/>
          </a:xfrm>
          <a:prstGeom prst="rect">
            <a:avLst/>
          </a:prstGeom>
        </p:spPr>
        <p:txBody>
          <a:bodyPr/>
          <a:lstStyle/>
          <a:p>
            <a:fld id="{617FFAAB-78B4-D94E-9172-4477C8873B97}" type="datetimeFigureOut">
              <a:rPr lang="ru-RU" smtClean="0"/>
              <a:t>05.05.2025</a:t>
            </a:fld>
            <a:endParaRPr lang="ru-RU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4038601" y="6356352"/>
            <a:ext cx="4114801" cy="365125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8610600" y="6356352"/>
            <a:ext cx="2743200" cy="365125"/>
          </a:xfrm>
          <a:prstGeom prst="rect">
            <a:avLst/>
          </a:prstGeom>
        </p:spPr>
        <p:txBody>
          <a:bodyPr/>
          <a:lstStyle/>
          <a:p>
            <a:fld id="{337EBA19-D45B-5B41-98D8-6F4B62A3674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73242757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9" y="457200"/>
            <a:ext cx="3932237" cy="1600200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7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
Второй уровень
Третий уровень
Четвертый уровень
Пятый уровень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9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4" indent="0">
              <a:buNone/>
              <a:defRPr sz="1400"/>
            </a:lvl2pPr>
            <a:lvl3pPr marL="914408" indent="0">
              <a:buNone/>
              <a:defRPr sz="1199"/>
            </a:lvl3pPr>
            <a:lvl4pPr marL="1371612" indent="0">
              <a:buNone/>
              <a:defRPr sz="1000"/>
            </a:lvl4pPr>
            <a:lvl5pPr marL="1828815" indent="0">
              <a:buNone/>
              <a:defRPr sz="1000"/>
            </a:lvl5pPr>
            <a:lvl6pPr marL="2286018" indent="0">
              <a:buNone/>
              <a:defRPr sz="1000"/>
            </a:lvl6pPr>
            <a:lvl7pPr marL="2743222" indent="0">
              <a:buNone/>
              <a:defRPr sz="1000"/>
            </a:lvl7pPr>
            <a:lvl8pPr marL="3200426" indent="0">
              <a:buNone/>
              <a:defRPr sz="1000"/>
            </a:lvl8pPr>
            <a:lvl9pPr marL="3657629" indent="0">
              <a:buNone/>
              <a:defRPr sz="1000"/>
            </a:lvl9pPr>
          </a:lstStyle>
          <a:p>
            <a:pPr lvl="0"/>
            <a:r>
              <a:rPr lang="ru-RU"/>
              <a:t>Образец текста
Второй уровень
Третий уровень
Четвертый уровень
Пятый уровень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838202" y="6356352"/>
            <a:ext cx="2743200" cy="365125"/>
          </a:xfrm>
          <a:prstGeom prst="rect">
            <a:avLst/>
          </a:prstGeom>
        </p:spPr>
        <p:txBody>
          <a:bodyPr/>
          <a:lstStyle/>
          <a:p>
            <a:fld id="{617FFAAB-78B4-D94E-9172-4477C8873B97}" type="datetimeFigureOut">
              <a:rPr lang="ru-RU" smtClean="0"/>
              <a:t>05.05.2025</a:t>
            </a:fld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038601" y="6356352"/>
            <a:ext cx="4114801" cy="365125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8610600" y="6356352"/>
            <a:ext cx="2743200" cy="365125"/>
          </a:xfrm>
          <a:prstGeom prst="rect">
            <a:avLst/>
          </a:prstGeom>
        </p:spPr>
        <p:txBody>
          <a:bodyPr/>
          <a:lstStyle/>
          <a:p>
            <a:fld id="{337EBA19-D45B-5B41-98D8-6F4B62A3674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81971647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9" y="457200"/>
            <a:ext cx="3932237" cy="1600200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3188" y="987427"/>
            <a:ext cx="617220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4" indent="0">
              <a:buNone/>
              <a:defRPr sz="2800"/>
            </a:lvl2pPr>
            <a:lvl3pPr marL="914408" indent="0">
              <a:buNone/>
              <a:defRPr sz="2400"/>
            </a:lvl3pPr>
            <a:lvl4pPr marL="1371612" indent="0">
              <a:buNone/>
              <a:defRPr sz="2000"/>
            </a:lvl4pPr>
            <a:lvl5pPr marL="1828815" indent="0">
              <a:buNone/>
              <a:defRPr sz="2000"/>
            </a:lvl5pPr>
            <a:lvl6pPr marL="2286018" indent="0">
              <a:buNone/>
              <a:defRPr sz="2000"/>
            </a:lvl6pPr>
            <a:lvl7pPr marL="2743222" indent="0">
              <a:buNone/>
              <a:defRPr sz="2000"/>
            </a:lvl7pPr>
            <a:lvl8pPr marL="3200426" indent="0">
              <a:buNone/>
              <a:defRPr sz="2000"/>
            </a:lvl8pPr>
            <a:lvl9pPr marL="3657629" indent="0">
              <a:buNone/>
              <a:defRPr sz="2000"/>
            </a:lvl9pPr>
          </a:lstStyle>
          <a:p>
            <a:r>
              <a:rPr lang="ru-RU"/>
              <a:t>Вставка рисунка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9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4" indent="0">
              <a:buNone/>
              <a:defRPr sz="1400"/>
            </a:lvl2pPr>
            <a:lvl3pPr marL="914408" indent="0">
              <a:buNone/>
              <a:defRPr sz="1199"/>
            </a:lvl3pPr>
            <a:lvl4pPr marL="1371612" indent="0">
              <a:buNone/>
              <a:defRPr sz="1000"/>
            </a:lvl4pPr>
            <a:lvl5pPr marL="1828815" indent="0">
              <a:buNone/>
              <a:defRPr sz="1000"/>
            </a:lvl5pPr>
            <a:lvl6pPr marL="2286018" indent="0">
              <a:buNone/>
              <a:defRPr sz="1000"/>
            </a:lvl6pPr>
            <a:lvl7pPr marL="2743222" indent="0">
              <a:buNone/>
              <a:defRPr sz="1000"/>
            </a:lvl7pPr>
            <a:lvl8pPr marL="3200426" indent="0">
              <a:buNone/>
              <a:defRPr sz="1000"/>
            </a:lvl8pPr>
            <a:lvl9pPr marL="3657629" indent="0">
              <a:buNone/>
              <a:defRPr sz="1000"/>
            </a:lvl9pPr>
          </a:lstStyle>
          <a:p>
            <a:pPr lvl="0"/>
            <a:r>
              <a:rPr lang="ru-RU"/>
              <a:t>Образец текста
Второй уровень
Третий уровень
Четвертый уровень
Пятый уровень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838202" y="6356352"/>
            <a:ext cx="2743200" cy="365125"/>
          </a:xfrm>
          <a:prstGeom prst="rect">
            <a:avLst/>
          </a:prstGeom>
        </p:spPr>
        <p:txBody>
          <a:bodyPr/>
          <a:lstStyle/>
          <a:p>
            <a:fld id="{617FFAAB-78B4-D94E-9172-4477C8873B97}" type="datetimeFigureOut">
              <a:rPr lang="ru-RU" smtClean="0"/>
              <a:t>05.05.2025</a:t>
            </a:fld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038601" y="6356352"/>
            <a:ext cx="4114801" cy="365125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8610600" y="6356352"/>
            <a:ext cx="2743200" cy="365125"/>
          </a:xfrm>
          <a:prstGeom prst="rect">
            <a:avLst/>
          </a:prstGeom>
        </p:spPr>
        <p:txBody>
          <a:bodyPr/>
          <a:lstStyle/>
          <a:p>
            <a:fld id="{337EBA19-D45B-5B41-98D8-6F4B62A3674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9104241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>
            <a:extLst>
              <a:ext uri="{FF2B5EF4-FFF2-40B4-BE49-F238E27FC236}">
                <a16:creationId xmlns:a16="http://schemas.microsoft.com/office/drawing/2014/main" id="{486D0F41-A208-4E99-8D56-57E10D825F8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1F711C6-981B-4077-8503-7280F6B8F5BF}" type="datetimeFigureOut">
              <a:rPr lang="en-US" smtClean="0"/>
              <a:t>5/5/2025</a:t>
            </a:fld>
            <a:endParaRPr lang="en-US"/>
          </a:p>
        </p:txBody>
      </p:sp>
      <p:sp>
        <p:nvSpPr>
          <p:cNvPr id="3" name="Нижний колонтитул 2">
            <a:extLst>
              <a:ext uri="{FF2B5EF4-FFF2-40B4-BE49-F238E27FC236}">
                <a16:creationId xmlns:a16="http://schemas.microsoft.com/office/drawing/2014/main" id="{3DFF1A83-5954-46AF-82FB-34021832F3E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5EBDE773-6B49-4862-9ADC-651A7FCDA3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D54EFB-21D0-49C0-9B07-90B3319BE3D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72135737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2" y="365127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
Второй уровень
Третий уровень
Четвертый уровень
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2" y="6356352"/>
            <a:ext cx="2743200" cy="365125"/>
          </a:xfrm>
          <a:prstGeom prst="rect">
            <a:avLst/>
          </a:prstGeom>
        </p:spPr>
        <p:txBody>
          <a:bodyPr/>
          <a:lstStyle/>
          <a:p>
            <a:fld id="{617FFAAB-78B4-D94E-9172-4477C8873B97}" type="datetimeFigureOut">
              <a:rPr lang="ru-RU" smtClean="0"/>
              <a:t>05.05.2025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1" y="6356352"/>
            <a:ext cx="4114801" cy="365125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356352"/>
            <a:ext cx="2743200" cy="365125"/>
          </a:xfrm>
          <a:prstGeom prst="rect">
            <a:avLst/>
          </a:prstGeom>
        </p:spPr>
        <p:txBody>
          <a:bodyPr/>
          <a:lstStyle/>
          <a:p>
            <a:fld id="{337EBA19-D45B-5B41-98D8-6F4B62A3674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82060587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1" y="365125"/>
            <a:ext cx="2628900" cy="5811838"/>
          </a:xfrm>
          <a:prstGeom prst="rect">
            <a:avLst/>
          </a:prstGeom>
        </p:spPr>
        <p:txBody>
          <a:bodyPr vert="eaVert"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1" y="365125"/>
            <a:ext cx="7734301" cy="5811838"/>
          </a:xfrm>
        </p:spPr>
        <p:txBody>
          <a:bodyPr vert="eaVert"/>
          <a:lstStyle/>
          <a:p>
            <a:pPr lvl="0"/>
            <a:r>
              <a:rPr lang="ru-RU"/>
              <a:t>Образец текста
Второй уровень
Третий уровень
Четвертый уровень
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2" y="6356352"/>
            <a:ext cx="2743200" cy="365125"/>
          </a:xfrm>
          <a:prstGeom prst="rect">
            <a:avLst/>
          </a:prstGeom>
        </p:spPr>
        <p:txBody>
          <a:bodyPr/>
          <a:lstStyle/>
          <a:p>
            <a:fld id="{617FFAAB-78B4-D94E-9172-4477C8873B97}" type="datetimeFigureOut">
              <a:rPr lang="ru-RU" smtClean="0"/>
              <a:t>05.05.2025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1" y="6356352"/>
            <a:ext cx="4114801" cy="365125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356352"/>
            <a:ext cx="2743200" cy="365125"/>
          </a:xfrm>
          <a:prstGeom prst="rect">
            <a:avLst/>
          </a:prstGeom>
        </p:spPr>
        <p:txBody>
          <a:bodyPr/>
          <a:lstStyle/>
          <a:p>
            <a:fld id="{337EBA19-D45B-5B41-98D8-6F4B62A3674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11550475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94E42672-2327-45DB-A855-B2305F90006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30349574-5D8D-44EE-9945-20098BEDAA5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/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4E601D42-33C3-4A79-BD27-5461A756BA8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id="{1C50FC05-6BD5-467D-A19D-2143A047EC0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1F711C6-981B-4077-8503-7280F6B8F5BF}" type="datetimeFigureOut">
              <a:rPr lang="en-US" smtClean="0"/>
              <a:t>5/5/2025</a:t>
            </a:fld>
            <a:endParaRPr lang="en-US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E24E6797-3FA3-4CF2-8F0C-A4EEF31C3C0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6530A689-19F5-4A2E-AC52-69EFC30F64B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D54EFB-21D0-49C0-9B07-90B3319BE3D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5804533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28F77982-5D5E-480B-8F5D-F58F3C5F839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3" name="Рисунок 2">
            <a:extLst>
              <a:ext uri="{FF2B5EF4-FFF2-40B4-BE49-F238E27FC236}">
                <a16:creationId xmlns:a16="http://schemas.microsoft.com/office/drawing/2014/main" id="{6BB554C7-B72C-47CE-8A01-F8838F52ADC9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5BF5438F-C984-425F-A895-D35A91E1B84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id="{8F418B7C-AB75-4FFA-8257-13DCCC9034E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1F711C6-981B-4077-8503-7280F6B8F5BF}" type="datetimeFigureOut">
              <a:rPr lang="en-US" smtClean="0"/>
              <a:t>5/5/2025</a:t>
            </a:fld>
            <a:endParaRPr lang="en-US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21A9C041-68AC-4007-BC44-7F20A5E052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BBF93A33-83ED-484A-B0E3-33626AEE296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D54EFB-21D0-49C0-9B07-90B3319BE3D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8515267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5.xml"/><Relationship Id="rId7" Type="http://schemas.openxmlformats.org/officeDocument/2006/relationships/image" Target="../media/image1.jpg"/><Relationship Id="rId2" Type="http://schemas.openxmlformats.org/officeDocument/2006/relationships/slideLayout" Target="../slideLayouts/slideLayout24.xml"/><Relationship Id="rId1" Type="http://schemas.openxmlformats.org/officeDocument/2006/relationships/slideLayout" Target="../slideLayouts/slideLayout23.xml"/><Relationship Id="rId6" Type="http://schemas.openxmlformats.org/officeDocument/2006/relationships/theme" Target="../theme/theme3.xml"/><Relationship Id="rId5" Type="http://schemas.openxmlformats.org/officeDocument/2006/relationships/slideLayout" Target="../slideLayouts/slideLayout27.xml"/><Relationship Id="rId4" Type="http://schemas.openxmlformats.org/officeDocument/2006/relationships/slideLayout" Target="../slideLayouts/slideLayout26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5.xml"/><Relationship Id="rId13" Type="http://schemas.openxmlformats.org/officeDocument/2006/relationships/vmlDrawing" Target="../drawings/vmlDrawing1.vml"/><Relationship Id="rId18" Type="http://schemas.openxmlformats.org/officeDocument/2006/relationships/image" Target="../media/image4.png"/><Relationship Id="rId3" Type="http://schemas.openxmlformats.org/officeDocument/2006/relationships/slideLayout" Target="../slideLayouts/slideLayout30.xml"/><Relationship Id="rId7" Type="http://schemas.openxmlformats.org/officeDocument/2006/relationships/slideLayout" Target="../slideLayouts/slideLayout34.xml"/><Relationship Id="rId12" Type="http://schemas.openxmlformats.org/officeDocument/2006/relationships/theme" Target="../theme/theme4.xml"/><Relationship Id="rId17" Type="http://schemas.openxmlformats.org/officeDocument/2006/relationships/image" Target="../media/image3.png"/><Relationship Id="rId2" Type="http://schemas.openxmlformats.org/officeDocument/2006/relationships/slideLayout" Target="../slideLayouts/slideLayout29.xml"/><Relationship Id="rId16" Type="http://schemas.openxmlformats.org/officeDocument/2006/relationships/image" Target="../media/image2.emf"/><Relationship Id="rId1" Type="http://schemas.openxmlformats.org/officeDocument/2006/relationships/slideLayout" Target="../slideLayouts/slideLayout28.xml"/><Relationship Id="rId6" Type="http://schemas.openxmlformats.org/officeDocument/2006/relationships/slideLayout" Target="../slideLayouts/slideLayout33.xml"/><Relationship Id="rId11" Type="http://schemas.openxmlformats.org/officeDocument/2006/relationships/slideLayout" Target="../slideLayouts/slideLayout38.xml"/><Relationship Id="rId5" Type="http://schemas.openxmlformats.org/officeDocument/2006/relationships/slideLayout" Target="../slideLayouts/slideLayout32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37.xml"/><Relationship Id="rId19" Type="http://schemas.openxmlformats.org/officeDocument/2006/relationships/image" Target="../media/image5.png"/><Relationship Id="rId4" Type="http://schemas.openxmlformats.org/officeDocument/2006/relationships/slideLayout" Target="../slideLayouts/slideLayout31.xml"/><Relationship Id="rId9" Type="http://schemas.openxmlformats.org/officeDocument/2006/relationships/slideLayout" Target="../slideLayouts/slideLayout36.xml"/><Relationship Id="rId14" Type="http://schemas.openxmlformats.org/officeDocument/2006/relationships/tags" Target="../tags/tag1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6.xml"/><Relationship Id="rId3" Type="http://schemas.openxmlformats.org/officeDocument/2006/relationships/slideLayout" Target="../slideLayouts/slideLayout41.xml"/><Relationship Id="rId7" Type="http://schemas.openxmlformats.org/officeDocument/2006/relationships/slideLayout" Target="../slideLayouts/slideLayout45.xml"/><Relationship Id="rId12" Type="http://schemas.openxmlformats.org/officeDocument/2006/relationships/theme" Target="../theme/theme5.xml"/><Relationship Id="rId2" Type="http://schemas.openxmlformats.org/officeDocument/2006/relationships/slideLayout" Target="../slideLayouts/slideLayout40.xml"/><Relationship Id="rId1" Type="http://schemas.openxmlformats.org/officeDocument/2006/relationships/slideLayout" Target="../slideLayouts/slideLayout39.xml"/><Relationship Id="rId6" Type="http://schemas.openxmlformats.org/officeDocument/2006/relationships/slideLayout" Target="../slideLayouts/slideLayout44.xml"/><Relationship Id="rId11" Type="http://schemas.openxmlformats.org/officeDocument/2006/relationships/slideLayout" Target="../slideLayouts/slideLayout49.xml"/><Relationship Id="rId5" Type="http://schemas.openxmlformats.org/officeDocument/2006/relationships/slideLayout" Target="../slideLayouts/slideLayout43.xml"/><Relationship Id="rId10" Type="http://schemas.openxmlformats.org/officeDocument/2006/relationships/slideLayout" Target="../slideLayouts/slideLayout48.xml"/><Relationship Id="rId4" Type="http://schemas.openxmlformats.org/officeDocument/2006/relationships/slideLayout" Target="../slideLayouts/slideLayout42.xml"/><Relationship Id="rId9" Type="http://schemas.openxmlformats.org/officeDocument/2006/relationships/slideLayout" Target="../slideLayouts/slideLayout47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7.xml"/><Relationship Id="rId3" Type="http://schemas.openxmlformats.org/officeDocument/2006/relationships/slideLayout" Target="../slideLayouts/slideLayout52.xml"/><Relationship Id="rId7" Type="http://schemas.openxmlformats.org/officeDocument/2006/relationships/slideLayout" Target="../slideLayouts/slideLayout56.xml"/><Relationship Id="rId12" Type="http://schemas.openxmlformats.org/officeDocument/2006/relationships/theme" Target="../theme/theme6.xml"/><Relationship Id="rId2" Type="http://schemas.openxmlformats.org/officeDocument/2006/relationships/slideLayout" Target="../slideLayouts/slideLayout51.xml"/><Relationship Id="rId1" Type="http://schemas.openxmlformats.org/officeDocument/2006/relationships/slideLayout" Target="../slideLayouts/slideLayout50.xml"/><Relationship Id="rId6" Type="http://schemas.openxmlformats.org/officeDocument/2006/relationships/slideLayout" Target="../slideLayouts/slideLayout55.xml"/><Relationship Id="rId11" Type="http://schemas.openxmlformats.org/officeDocument/2006/relationships/slideLayout" Target="../slideLayouts/slideLayout60.xml"/><Relationship Id="rId5" Type="http://schemas.openxmlformats.org/officeDocument/2006/relationships/slideLayout" Target="../slideLayouts/slideLayout54.xml"/><Relationship Id="rId10" Type="http://schemas.openxmlformats.org/officeDocument/2006/relationships/slideLayout" Target="../slideLayouts/slideLayout59.xml"/><Relationship Id="rId4" Type="http://schemas.openxmlformats.org/officeDocument/2006/relationships/slideLayout" Target="../slideLayouts/slideLayout53.xml"/><Relationship Id="rId9" Type="http://schemas.openxmlformats.org/officeDocument/2006/relationships/slideLayout" Target="../slideLayouts/slideLayout58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8.xml"/><Relationship Id="rId13" Type="http://schemas.openxmlformats.org/officeDocument/2006/relationships/vmlDrawing" Target="../drawings/vmlDrawing2.vml"/><Relationship Id="rId18" Type="http://schemas.openxmlformats.org/officeDocument/2006/relationships/image" Target="../media/image4.png"/><Relationship Id="rId3" Type="http://schemas.openxmlformats.org/officeDocument/2006/relationships/slideLayout" Target="../slideLayouts/slideLayout63.xml"/><Relationship Id="rId7" Type="http://schemas.openxmlformats.org/officeDocument/2006/relationships/slideLayout" Target="../slideLayouts/slideLayout67.xml"/><Relationship Id="rId12" Type="http://schemas.openxmlformats.org/officeDocument/2006/relationships/theme" Target="../theme/theme7.xml"/><Relationship Id="rId17" Type="http://schemas.openxmlformats.org/officeDocument/2006/relationships/image" Target="../media/image3.png"/><Relationship Id="rId2" Type="http://schemas.openxmlformats.org/officeDocument/2006/relationships/slideLayout" Target="../slideLayouts/slideLayout62.xml"/><Relationship Id="rId16" Type="http://schemas.openxmlformats.org/officeDocument/2006/relationships/image" Target="../media/image2.emf"/><Relationship Id="rId1" Type="http://schemas.openxmlformats.org/officeDocument/2006/relationships/slideLayout" Target="../slideLayouts/slideLayout61.xml"/><Relationship Id="rId6" Type="http://schemas.openxmlformats.org/officeDocument/2006/relationships/slideLayout" Target="../slideLayouts/slideLayout66.xml"/><Relationship Id="rId11" Type="http://schemas.openxmlformats.org/officeDocument/2006/relationships/slideLayout" Target="../slideLayouts/slideLayout71.xml"/><Relationship Id="rId5" Type="http://schemas.openxmlformats.org/officeDocument/2006/relationships/slideLayout" Target="../slideLayouts/slideLayout65.xml"/><Relationship Id="rId15" Type="http://schemas.openxmlformats.org/officeDocument/2006/relationships/oleObject" Target="../embeddings/oleObject2.bin"/><Relationship Id="rId10" Type="http://schemas.openxmlformats.org/officeDocument/2006/relationships/slideLayout" Target="../slideLayouts/slideLayout70.xml"/><Relationship Id="rId19" Type="http://schemas.openxmlformats.org/officeDocument/2006/relationships/image" Target="../media/image5.png"/><Relationship Id="rId4" Type="http://schemas.openxmlformats.org/officeDocument/2006/relationships/slideLayout" Target="../slideLayouts/slideLayout64.xml"/><Relationship Id="rId9" Type="http://schemas.openxmlformats.org/officeDocument/2006/relationships/slideLayout" Target="../slideLayouts/slideLayout6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2C48DE0E-B444-49C5-AD90-69F57E39B64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1CA7F189-9BD7-48C7-AAF9-B11D796B900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/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5735A24E-BB30-4F30-B23A-D2C0A8EEB80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1F711C6-981B-4077-8503-7280F6B8F5BF}" type="datetimeFigureOut">
              <a:rPr lang="en-US" smtClean="0"/>
              <a:t>5/5/2025</a:t>
            </a:fld>
            <a:endParaRPr lang="en-US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C4DBCA05-331B-4A2B-9BD0-1A3B93E1565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2B760B63-9910-4EFE-8624-11396346CE0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8D54EFB-21D0-49C0-9B07-90B3319BE3D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9896095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9E126ED-65EF-440E-BC59-E6D6889BE515}" type="datetimeFigureOut">
              <a:rPr lang="en-US" smtClean="0"/>
              <a:t>5/5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52CF3F0-1237-48A3-B620-D2501C3D34C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8058295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bg object 16"/>
          <p:cNvPicPr/>
          <p:nvPr/>
        </p:nvPicPr>
        <p:blipFill>
          <a:blip r:embed="rId7" cstate="print"/>
          <a:stretch>
            <a:fillRect/>
          </a:stretch>
        </p:blipFill>
        <p:spPr>
          <a:xfrm>
            <a:off x="1" y="0"/>
            <a:ext cx="12191999" cy="6857519"/>
          </a:xfrm>
          <a:prstGeom prst="rect">
            <a:avLst/>
          </a:prstGeom>
        </p:spPr>
      </p:pic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812729" y="1930783"/>
            <a:ext cx="9676582" cy="60785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3950" b="1" i="0">
                <a:solidFill>
                  <a:srgbClr val="004BB6"/>
                </a:solidFill>
                <a:latin typeface="Calibri"/>
                <a:cs typeface="Calibri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774192" y="2771290"/>
            <a:ext cx="10169499" cy="40011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2600" b="1" i="0">
                <a:solidFill>
                  <a:srgbClr val="1C4066"/>
                </a:solidFill>
                <a:latin typeface="Calibri"/>
                <a:cs typeface="Calibri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424098" y="6473490"/>
            <a:ext cx="765947" cy="13529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879" b="0" i="0">
                <a:solidFill>
                  <a:srgbClr val="1D4067"/>
                </a:solidFill>
                <a:latin typeface="Trebuchet MS"/>
                <a:cs typeface="Trebuchet MS"/>
              </a:defRPr>
            </a:lvl1pPr>
          </a:lstStyle>
          <a:p>
            <a:pPr marL="7701">
              <a:spcBef>
                <a:spcPts val="15"/>
              </a:spcBef>
            </a:pPr>
            <a:r>
              <a:rPr lang="it-IT" spc="15"/>
              <a:t>K</a:t>
            </a:r>
            <a:r>
              <a:rPr lang="it-IT" spc="-3"/>
              <a:t>Z</a:t>
            </a:r>
            <a:r>
              <a:rPr lang="it-IT" spc="49"/>
              <a:t>2</a:t>
            </a:r>
            <a:r>
              <a:rPr lang="it-IT" spc="42"/>
              <a:t>2</a:t>
            </a:r>
            <a:r>
              <a:rPr lang="it-IT" spc="61"/>
              <a:t>0</a:t>
            </a:r>
            <a:r>
              <a:rPr lang="it-IT" spc="69"/>
              <a:t>2</a:t>
            </a:r>
            <a:r>
              <a:rPr lang="it-IT" spc="30"/>
              <a:t>2</a:t>
            </a:r>
            <a:r>
              <a:rPr lang="it-IT" spc="69"/>
              <a:t>83</a:t>
            </a:r>
            <a:r>
              <a:rPr lang="it-IT" spc="67"/>
              <a:t>6</a:t>
            </a:r>
            <a:r>
              <a:rPr lang="it-IT" spc="36"/>
              <a:t>7</a:t>
            </a:r>
            <a:r>
              <a:rPr lang="it-IT" spc="-233"/>
              <a:t>1</a:t>
            </a:r>
            <a:endParaRPr lang="it-IT" spc="-233" dirty="0"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609600" y="6377940"/>
            <a:ext cx="2804160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5/5/2025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8778241" y="6377940"/>
            <a:ext cx="2804160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2512053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</p:sldLayoutIdLst>
  <p:txStyles>
    <p:titleStyle>
      <a:lvl1pPr>
        <a:defRPr>
          <a:latin typeface="+mj-lt"/>
          <a:ea typeface="+mj-ea"/>
          <a:cs typeface="+mj-cs"/>
        </a:defRPr>
      </a:lvl1pPr>
    </p:titleStyle>
    <p:bodyStyle>
      <a:lvl1pPr marL="0">
        <a:defRPr>
          <a:latin typeface="+mn-lt"/>
          <a:ea typeface="+mn-ea"/>
          <a:cs typeface="+mn-cs"/>
        </a:defRPr>
      </a:lvl1pPr>
      <a:lvl2pPr marL="277246">
        <a:defRPr>
          <a:latin typeface="+mn-lt"/>
          <a:ea typeface="+mn-ea"/>
          <a:cs typeface="+mn-cs"/>
        </a:defRPr>
      </a:lvl2pPr>
      <a:lvl3pPr marL="554492">
        <a:defRPr>
          <a:latin typeface="+mn-lt"/>
          <a:ea typeface="+mn-ea"/>
          <a:cs typeface="+mn-cs"/>
        </a:defRPr>
      </a:lvl3pPr>
      <a:lvl4pPr marL="831738">
        <a:defRPr>
          <a:latin typeface="+mn-lt"/>
          <a:ea typeface="+mn-ea"/>
          <a:cs typeface="+mn-cs"/>
        </a:defRPr>
      </a:lvl4pPr>
      <a:lvl5pPr marL="1108984">
        <a:defRPr>
          <a:latin typeface="+mn-lt"/>
          <a:ea typeface="+mn-ea"/>
          <a:cs typeface="+mn-cs"/>
        </a:defRPr>
      </a:lvl5pPr>
      <a:lvl6pPr marL="1386230">
        <a:defRPr>
          <a:latin typeface="+mn-lt"/>
          <a:ea typeface="+mn-ea"/>
          <a:cs typeface="+mn-cs"/>
        </a:defRPr>
      </a:lvl6pPr>
      <a:lvl7pPr marL="1663476">
        <a:defRPr>
          <a:latin typeface="+mn-lt"/>
          <a:ea typeface="+mn-ea"/>
          <a:cs typeface="+mn-cs"/>
        </a:defRPr>
      </a:lvl7pPr>
      <a:lvl8pPr marL="1940723">
        <a:defRPr>
          <a:latin typeface="+mn-lt"/>
          <a:ea typeface="+mn-ea"/>
          <a:cs typeface="+mn-cs"/>
        </a:defRPr>
      </a:lvl8pPr>
      <a:lvl9pPr marL="2217969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277246">
        <a:defRPr>
          <a:latin typeface="+mn-lt"/>
          <a:ea typeface="+mn-ea"/>
          <a:cs typeface="+mn-cs"/>
        </a:defRPr>
      </a:lvl2pPr>
      <a:lvl3pPr marL="554492">
        <a:defRPr>
          <a:latin typeface="+mn-lt"/>
          <a:ea typeface="+mn-ea"/>
          <a:cs typeface="+mn-cs"/>
        </a:defRPr>
      </a:lvl3pPr>
      <a:lvl4pPr marL="831738">
        <a:defRPr>
          <a:latin typeface="+mn-lt"/>
          <a:ea typeface="+mn-ea"/>
          <a:cs typeface="+mn-cs"/>
        </a:defRPr>
      </a:lvl4pPr>
      <a:lvl5pPr marL="1108984">
        <a:defRPr>
          <a:latin typeface="+mn-lt"/>
          <a:ea typeface="+mn-ea"/>
          <a:cs typeface="+mn-cs"/>
        </a:defRPr>
      </a:lvl5pPr>
      <a:lvl6pPr marL="1386230">
        <a:defRPr>
          <a:latin typeface="+mn-lt"/>
          <a:ea typeface="+mn-ea"/>
          <a:cs typeface="+mn-cs"/>
        </a:defRPr>
      </a:lvl6pPr>
      <a:lvl7pPr marL="1663476">
        <a:defRPr>
          <a:latin typeface="+mn-lt"/>
          <a:ea typeface="+mn-ea"/>
          <a:cs typeface="+mn-cs"/>
        </a:defRPr>
      </a:lvl7pPr>
      <a:lvl8pPr marL="1940723">
        <a:defRPr>
          <a:latin typeface="+mn-lt"/>
          <a:ea typeface="+mn-ea"/>
          <a:cs typeface="+mn-cs"/>
        </a:defRPr>
      </a:lvl8pPr>
      <a:lvl9pPr marL="2217969">
        <a:defRPr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4139501949"/>
              </p:ext>
            </p:extLst>
          </p:nvPr>
        </p:nvGraphicFramePr>
        <p:xfrm>
          <a:off x="2513" y="1990"/>
          <a:ext cx="2513" cy="19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2" name="Слайд think-cell" r:id="rId15" imgW="415" imgH="416" progId="TCLayout.ActiveDocument.1">
                  <p:embed/>
                </p:oleObj>
              </mc:Choice>
              <mc:Fallback>
                <p:oleObj name="Слайд think-cell" r:id="rId15" imgW="415" imgH="416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2513" y="1990"/>
                        <a:ext cx="2513" cy="19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Прямоугольник 12">
            <a:extLst>
              <a:ext uri="{FF2B5EF4-FFF2-40B4-BE49-F238E27FC236}">
                <a16:creationId xmlns:a16="http://schemas.microsoft.com/office/drawing/2014/main" id="{9B447808-F61A-104A-93E6-C6D410A7DFF4}"/>
              </a:ext>
            </a:extLst>
          </p:cNvPr>
          <p:cNvSpPr/>
          <p:nvPr userDrawn="1"/>
        </p:nvSpPr>
        <p:spPr>
          <a:xfrm>
            <a:off x="0" y="-885"/>
            <a:ext cx="12192000" cy="1083204"/>
          </a:xfrm>
          <a:prstGeom prst="rect">
            <a:avLst/>
          </a:prstGeom>
          <a:gradFill flip="none" rotWithShape="1">
            <a:gsLst>
              <a:gs pos="0">
                <a:srgbClr val="14447A"/>
              </a:gs>
              <a:gs pos="100000">
                <a:srgbClr val="002060"/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256"/>
          </a:p>
        </p:txBody>
      </p:sp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64121064-02F5-F941-8DDB-C09657293FB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1715" r="65515" b="53745"/>
          <a:stretch/>
        </p:blipFill>
        <p:spPr>
          <a:xfrm>
            <a:off x="8913726" y="2694"/>
            <a:ext cx="3277019" cy="1079625"/>
          </a:xfrm>
          <a:prstGeom prst="rect">
            <a:avLst/>
          </a:prstGeom>
        </p:spPr>
      </p:pic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DE6EC647-4596-084A-B39B-A344037939F1}"/>
              </a:ext>
            </a:extLst>
          </p:cNvPr>
          <p:cNvPicPr>
            <a:picLocks noChangeAspect="1"/>
          </p:cNvPicPr>
          <p:nvPr userDrawn="1"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257" y="1136799"/>
            <a:ext cx="12192000" cy="5721201"/>
          </a:xfrm>
          <a:prstGeom prst="rect">
            <a:avLst/>
          </a:prstGeom>
        </p:spPr>
      </p:pic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2" y="1825626"/>
            <a:ext cx="10515600" cy="435133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dirty="0"/>
              <a:t>Образец текста
Второй уровень
Третий уровень
Четвертый уровень
Пятый уровень</a:t>
            </a:r>
            <a:endParaRPr lang="en-US" dirty="0"/>
          </a:p>
        </p:txBody>
      </p:sp>
      <p:sp>
        <p:nvSpPr>
          <p:cNvPr id="8" name="Freeform 11">
            <a:extLst>
              <a:ext uri="{FF2B5EF4-FFF2-40B4-BE49-F238E27FC236}">
                <a16:creationId xmlns:a16="http://schemas.microsoft.com/office/drawing/2014/main" id="{4A772FAB-E056-2F48-A032-8D5FA4F9C76C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9589680" y="6386663"/>
            <a:ext cx="2192641" cy="202442"/>
          </a:xfrm>
          <a:custGeom>
            <a:avLst/>
            <a:gdLst>
              <a:gd name="T0" fmla="*/ 113 w 2434"/>
              <a:gd name="T1" fmla="*/ 208 h 285"/>
              <a:gd name="T2" fmla="*/ 33 w 2434"/>
              <a:gd name="T3" fmla="*/ 147 h 285"/>
              <a:gd name="T4" fmla="*/ 66 w 2434"/>
              <a:gd name="T5" fmla="*/ 12 h 285"/>
              <a:gd name="T6" fmla="*/ 183 w 2434"/>
              <a:gd name="T7" fmla="*/ 93 h 285"/>
              <a:gd name="T8" fmla="*/ 130 w 2434"/>
              <a:gd name="T9" fmla="*/ 102 h 285"/>
              <a:gd name="T10" fmla="*/ 215 w 2434"/>
              <a:gd name="T11" fmla="*/ 225 h 285"/>
              <a:gd name="T12" fmla="*/ 395 w 2434"/>
              <a:gd name="T13" fmla="*/ 243 h 285"/>
              <a:gd name="T14" fmla="*/ 606 w 2434"/>
              <a:gd name="T15" fmla="*/ 277 h 285"/>
              <a:gd name="T16" fmla="*/ 926 w 2434"/>
              <a:gd name="T17" fmla="*/ 10 h 285"/>
              <a:gd name="T18" fmla="*/ 1063 w 2434"/>
              <a:gd name="T19" fmla="*/ 161 h 285"/>
              <a:gd name="T20" fmla="*/ 916 w 2434"/>
              <a:gd name="T21" fmla="*/ 89 h 285"/>
              <a:gd name="T22" fmla="*/ 954 w 2434"/>
              <a:gd name="T23" fmla="*/ 105 h 285"/>
              <a:gd name="T24" fmla="*/ 1099 w 2434"/>
              <a:gd name="T25" fmla="*/ 225 h 285"/>
              <a:gd name="T26" fmla="*/ 1137 w 2434"/>
              <a:gd name="T27" fmla="*/ 24 h 285"/>
              <a:gd name="T28" fmla="*/ 1343 w 2434"/>
              <a:gd name="T29" fmla="*/ 61 h 285"/>
              <a:gd name="T30" fmla="*/ 1307 w 2434"/>
              <a:gd name="T31" fmla="*/ 262 h 285"/>
              <a:gd name="T32" fmla="*/ 1172 w 2434"/>
              <a:gd name="T33" fmla="*/ 142 h 285"/>
              <a:gd name="T34" fmla="*/ 1270 w 2434"/>
              <a:gd name="T35" fmla="*/ 142 h 285"/>
              <a:gd name="T36" fmla="*/ 1379 w 2434"/>
              <a:gd name="T37" fmla="*/ 9 h 285"/>
              <a:gd name="T38" fmla="*/ 1740 w 2434"/>
              <a:gd name="T39" fmla="*/ 48 h 285"/>
              <a:gd name="T40" fmla="*/ 1919 w 2434"/>
              <a:gd name="T41" fmla="*/ 11 h 285"/>
              <a:gd name="T42" fmla="*/ 1957 w 2434"/>
              <a:gd name="T43" fmla="*/ 67 h 285"/>
              <a:gd name="T44" fmla="*/ 2032 w 2434"/>
              <a:gd name="T45" fmla="*/ 101 h 285"/>
              <a:gd name="T46" fmla="*/ 2020 w 2434"/>
              <a:gd name="T47" fmla="*/ 84 h 285"/>
              <a:gd name="T48" fmla="*/ 1969 w 2434"/>
              <a:gd name="T49" fmla="*/ 84 h 285"/>
              <a:gd name="T50" fmla="*/ 2020 w 2434"/>
              <a:gd name="T51" fmla="*/ 84 h 285"/>
              <a:gd name="T52" fmla="*/ 2124 w 2434"/>
              <a:gd name="T53" fmla="*/ 103 h 285"/>
              <a:gd name="T54" fmla="*/ 2177 w 2434"/>
              <a:gd name="T55" fmla="*/ 59 h 285"/>
              <a:gd name="T56" fmla="*/ 2132 w 2434"/>
              <a:gd name="T57" fmla="*/ 52 h 285"/>
              <a:gd name="T58" fmla="*/ 2194 w 2434"/>
              <a:gd name="T59" fmla="*/ 113 h 285"/>
              <a:gd name="T60" fmla="*/ 2145 w 2434"/>
              <a:gd name="T61" fmla="*/ 126 h 285"/>
              <a:gd name="T62" fmla="*/ 2141 w 2434"/>
              <a:gd name="T63" fmla="*/ 96 h 285"/>
              <a:gd name="T64" fmla="*/ 2179 w 2434"/>
              <a:gd name="T65" fmla="*/ 95 h 285"/>
              <a:gd name="T66" fmla="*/ 2253 w 2434"/>
              <a:gd name="T67" fmla="*/ 55 h 285"/>
              <a:gd name="T68" fmla="*/ 2286 w 2434"/>
              <a:gd name="T69" fmla="*/ 116 h 285"/>
              <a:gd name="T70" fmla="*/ 2303 w 2434"/>
              <a:gd name="T71" fmla="*/ 113 h 285"/>
              <a:gd name="T72" fmla="*/ 2333 w 2434"/>
              <a:gd name="T73" fmla="*/ 23 h 285"/>
              <a:gd name="T74" fmla="*/ 2365 w 2434"/>
              <a:gd name="T75" fmla="*/ 100 h 285"/>
              <a:gd name="T76" fmla="*/ 2419 w 2434"/>
              <a:gd name="T77" fmla="*/ 97 h 285"/>
              <a:gd name="T78" fmla="*/ 2386 w 2434"/>
              <a:gd name="T79" fmla="*/ 43 h 285"/>
              <a:gd name="T80" fmla="*/ 2391 w 2434"/>
              <a:gd name="T81" fmla="*/ 52 h 285"/>
              <a:gd name="T82" fmla="*/ 2434 w 2434"/>
              <a:gd name="T83" fmla="*/ 108 h 285"/>
              <a:gd name="T84" fmla="*/ 1692 w 2434"/>
              <a:gd name="T85" fmla="*/ 164 h 285"/>
              <a:gd name="T86" fmla="*/ 1755 w 2434"/>
              <a:gd name="T87" fmla="*/ 274 h 285"/>
              <a:gd name="T88" fmla="*/ 1767 w 2434"/>
              <a:gd name="T89" fmla="*/ 203 h 285"/>
              <a:gd name="T90" fmla="*/ 1808 w 2434"/>
              <a:gd name="T91" fmla="*/ 180 h 285"/>
              <a:gd name="T92" fmla="*/ 1804 w 2434"/>
              <a:gd name="T93" fmla="*/ 277 h 285"/>
              <a:gd name="T94" fmla="*/ 1935 w 2434"/>
              <a:gd name="T95" fmla="*/ 172 h 285"/>
              <a:gd name="T96" fmla="*/ 1935 w 2434"/>
              <a:gd name="T97" fmla="*/ 168 h 285"/>
              <a:gd name="T98" fmla="*/ 1988 w 2434"/>
              <a:gd name="T99" fmla="*/ 268 h 285"/>
              <a:gd name="T100" fmla="*/ 1957 w 2434"/>
              <a:gd name="T101" fmla="*/ 228 h 285"/>
              <a:gd name="T102" fmla="*/ 2014 w 2434"/>
              <a:gd name="T103" fmla="*/ 208 h 285"/>
              <a:gd name="T104" fmla="*/ 1981 w 2434"/>
              <a:gd name="T105" fmla="*/ 227 h 285"/>
              <a:gd name="T106" fmla="*/ 1980 w 2434"/>
              <a:gd name="T107" fmla="*/ 280 h 285"/>
              <a:gd name="T108" fmla="*/ 2038 w 2434"/>
              <a:gd name="T109" fmla="*/ 176 h 285"/>
              <a:gd name="T110" fmla="*/ 2071 w 2434"/>
              <a:gd name="T111" fmla="*/ 236 h 285"/>
              <a:gd name="T112" fmla="*/ 2150 w 2434"/>
              <a:gd name="T113" fmla="*/ 228 h 285"/>
              <a:gd name="T114" fmla="*/ 2072 w 2434"/>
              <a:gd name="T115" fmla="*/ 245 h 285"/>
              <a:gd name="T116" fmla="*/ 2090 w 2434"/>
              <a:gd name="T117" fmla="*/ 218 h 285"/>
              <a:gd name="T118" fmla="*/ 2134 w 2434"/>
              <a:gd name="T119" fmla="*/ 254 h 285"/>
              <a:gd name="T120" fmla="*/ 2221 w 2434"/>
              <a:gd name="T121" fmla="*/ 196 h 285"/>
              <a:gd name="T122" fmla="*/ 2209 w 2434"/>
              <a:gd name="T123" fmla="*/ 205 h 28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2434" h="285">
                <a:moveTo>
                  <a:pt x="109" y="285"/>
                </a:moveTo>
                <a:lnTo>
                  <a:pt x="94" y="285"/>
                </a:lnTo>
                <a:lnTo>
                  <a:pt x="80" y="282"/>
                </a:lnTo>
                <a:lnTo>
                  <a:pt x="66" y="280"/>
                </a:lnTo>
                <a:lnTo>
                  <a:pt x="53" y="276"/>
                </a:lnTo>
                <a:lnTo>
                  <a:pt x="26" y="267"/>
                </a:lnTo>
                <a:lnTo>
                  <a:pt x="0" y="256"/>
                </a:lnTo>
                <a:lnTo>
                  <a:pt x="34" y="180"/>
                </a:lnTo>
                <a:lnTo>
                  <a:pt x="48" y="191"/>
                </a:lnTo>
                <a:lnTo>
                  <a:pt x="65" y="200"/>
                </a:lnTo>
                <a:lnTo>
                  <a:pt x="73" y="204"/>
                </a:lnTo>
                <a:lnTo>
                  <a:pt x="81" y="206"/>
                </a:lnTo>
                <a:lnTo>
                  <a:pt x="91" y="209"/>
                </a:lnTo>
                <a:lnTo>
                  <a:pt x="100" y="210"/>
                </a:lnTo>
                <a:lnTo>
                  <a:pt x="106" y="209"/>
                </a:lnTo>
                <a:lnTo>
                  <a:pt x="113" y="208"/>
                </a:lnTo>
                <a:lnTo>
                  <a:pt x="117" y="205"/>
                </a:lnTo>
                <a:lnTo>
                  <a:pt x="119" y="204"/>
                </a:lnTo>
                <a:lnTo>
                  <a:pt x="120" y="200"/>
                </a:lnTo>
                <a:lnTo>
                  <a:pt x="122" y="197"/>
                </a:lnTo>
                <a:lnTo>
                  <a:pt x="122" y="193"/>
                </a:lnTo>
                <a:lnTo>
                  <a:pt x="119" y="190"/>
                </a:lnTo>
                <a:lnTo>
                  <a:pt x="118" y="187"/>
                </a:lnTo>
                <a:lnTo>
                  <a:pt x="114" y="185"/>
                </a:lnTo>
                <a:lnTo>
                  <a:pt x="106" y="181"/>
                </a:lnTo>
                <a:lnTo>
                  <a:pt x="97" y="179"/>
                </a:lnTo>
                <a:lnTo>
                  <a:pt x="85" y="176"/>
                </a:lnTo>
                <a:lnTo>
                  <a:pt x="71" y="171"/>
                </a:lnTo>
                <a:lnTo>
                  <a:pt x="58" y="165"/>
                </a:lnTo>
                <a:lnTo>
                  <a:pt x="45" y="158"/>
                </a:lnTo>
                <a:lnTo>
                  <a:pt x="39" y="153"/>
                </a:lnTo>
                <a:lnTo>
                  <a:pt x="33" y="147"/>
                </a:lnTo>
                <a:lnTo>
                  <a:pt x="28" y="141"/>
                </a:lnTo>
                <a:lnTo>
                  <a:pt x="23" y="134"/>
                </a:lnTo>
                <a:lnTo>
                  <a:pt x="20" y="126"/>
                </a:lnTo>
                <a:lnTo>
                  <a:pt x="17" y="116"/>
                </a:lnTo>
                <a:lnTo>
                  <a:pt x="16" y="106"/>
                </a:lnTo>
                <a:lnTo>
                  <a:pt x="15" y="94"/>
                </a:lnTo>
                <a:lnTo>
                  <a:pt x="16" y="82"/>
                </a:lnTo>
                <a:lnTo>
                  <a:pt x="17" y="70"/>
                </a:lnTo>
                <a:lnTo>
                  <a:pt x="21" y="61"/>
                </a:lnTo>
                <a:lnTo>
                  <a:pt x="24" y="51"/>
                </a:lnTo>
                <a:lnTo>
                  <a:pt x="29" y="43"/>
                </a:lnTo>
                <a:lnTo>
                  <a:pt x="35" y="35"/>
                </a:lnTo>
                <a:lnTo>
                  <a:pt x="42" y="29"/>
                </a:lnTo>
                <a:lnTo>
                  <a:pt x="49" y="22"/>
                </a:lnTo>
                <a:lnTo>
                  <a:pt x="56" y="17"/>
                </a:lnTo>
                <a:lnTo>
                  <a:pt x="66" y="12"/>
                </a:lnTo>
                <a:lnTo>
                  <a:pt x="75" y="9"/>
                </a:lnTo>
                <a:lnTo>
                  <a:pt x="85" y="6"/>
                </a:lnTo>
                <a:lnTo>
                  <a:pt x="94" y="4"/>
                </a:lnTo>
                <a:lnTo>
                  <a:pt x="105" y="3"/>
                </a:lnTo>
                <a:lnTo>
                  <a:pt x="117" y="1"/>
                </a:lnTo>
                <a:lnTo>
                  <a:pt x="128" y="1"/>
                </a:lnTo>
                <a:lnTo>
                  <a:pt x="139" y="1"/>
                </a:lnTo>
                <a:lnTo>
                  <a:pt x="151" y="3"/>
                </a:lnTo>
                <a:lnTo>
                  <a:pt x="163" y="5"/>
                </a:lnTo>
                <a:lnTo>
                  <a:pt x="175" y="9"/>
                </a:lnTo>
                <a:lnTo>
                  <a:pt x="187" y="12"/>
                </a:lnTo>
                <a:lnTo>
                  <a:pt x="197" y="17"/>
                </a:lnTo>
                <a:lnTo>
                  <a:pt x="208" y="23"/>
                </a:lnTo>
                <a:lnTo>
                  <a:pt x="218" y="29"/>
                </a:lnTo>
                <a:lnTo>
                  <a:pt x="188" y="96"/>
                </a:lnTo>
                <a:lnTo>
                  <a:pt x="183" y="93"/>
                </a:lnTo>
                <a:lnTo>
                  <a:pt x="173" y="86"/>
                </a:lnTo>
                <a:lnTo>
                  <a:pt x="165" y="82"/>
                </a:lnTo>
                <a:lnTo>
                  <a:pt x="156" y="78"/>
                </a:lnTo>
                <a:lnTo>
                  <a:pt x="148" y="76"/>
                </a:lnTo>
                <a:lnTo>
                  <a:pt x="137" y="75"/>
                </a:lnTo>
                <a:lnTo>
                  <a:pt x="128" y="76"/>
                </a:lnTo>
                <a:lnTo>
                  <a:pt x="119" y="78"/>
                </a:lnTo>
                <a:lnTo>
                  <a:pt x="117" y="81"/>
                </a:lnTo>
                <a:lnTo>
                  <a:pt x="114" y="83"/>
                </a:lnTo>
                <a:lnTo>
                  <a:pt x="113" y="86"/>
                </a:lnTo>
                <a:lnTo>
                  <a:pt x="113" y="89"/>
                </a:lnTo>
                <a:lnTo>
                  <a:pt x="113" y="91"/>
                </a:lnTo>
                <a:lnTo>
                  <a:pt x="116" y="95"/>
                </a:lnTo>
                <a:lnTo>
                  <a:pt x="118" y="97"/>
                </a:lnTo>
                <a:lnTo>
                  <a:pt x="122" y="100"/>
                </a:lnTo>
                <a:lnTo>
                  <a:pt x="130" y="102"/>
                </a:lnTo>
                <a:lnTo>
                  <a:pt x="137" y="105"/>
                </a:lnTo>
                <a:lnTo>
                  <a:pt x="150" y="108"/>
                </a:lnTo>
                <a:lnTo>
                  <a:pt x="163" y="113"/>
                </a:lnTo>
                <a:lnTo>
                  <a:pt x="177" y="119"/>
                </a:lnTo>
                <a:lnTo>
                  <a:pt x="190" y="127"/>
                </a:lnTo>
                <a:lnTo>
                  <a:pt x="196" y="132"/>
                </a:lnTo>
                <a:lnTo>
                  <a:pt x="202" y="138"/>
                </a:lnTo>
                <a:lnTo>
                  <a:pt x="207" y="144"/>
                </a:lnTo>
                <a:lnTo>
                  <a:pt x="212" y="151"/>
                </a:lnTo>
                <a:lnTo>
                  <a:pt x="215" y="159"/>
                </a:lnTo>
                <a:lnTo>
                  <a:pt x="218" y="168"/>
                </a:lnTo>
                <a:lnTo>
                  <a:pt x="219" y="179"/>
                </a:lnTo>
                <a:lnTo>
                  <a:pt x="220" y="191"/>
                </a:lnTo>
                <a:lnTo>
                  <a:pt x="219" y="203"/>
                </a:lnTo>
                <a:lnTo>
                  <a:pt x="218" y="215"/>
                </a:lnTo>
                <a:lnTo>
                  <a:pt x="215" y="225"/>
                </a:lnTo>
                <a:lnTo>
                  <a:pt x="212" y="235"/>
                </a:lnTo>
                <a:lnTo>
                  <a:pt x="207" y="243"/>
                </a:lnTo>
                <a:lnTo>
                  <a:pt x="201" y="250"/>
                </a:lnTo>
                <a:lnTo>
                  <a:pt x="194" y="257"/>
                </a:lnTo>
                <a:lnTo>
                  <a:pt x="187" y="263"/>
                </a:lnTo>
                <a:lnTo>
                  <a:pt x="180" y="269"/>
                </a:lnTo>
                <a:lnTo>
                  <a:pt x="170" y="273"/>
                </a:lnTo>
                <a:lnTo>
                  <a:pt x="161" y="276"/>
                </a:lnTo>
                <a:lnTo>
                  <a:pt x="151" y="280"/>
                </a:lnTo>
                <a:lnTo>
                  <a:pt x="142" y="282"/>
                </a:lnTo>
                <a:lnTo>
                  <a:pt x="131" y="283"/>
                </a:lnTo>
                <a:lnTo>
                  <a:pt x="119" y="285"/>
                </a:lnTo>
                <a:lnTo>
                  <a:pt x="109" y="285"/>
                </a:lnTo>
                <a:close/>
                <a:moveTo>
                  <a:pt x="402" y="277"/>
                </a:moveTo>
                <a:lnTo>
                  <a:pt x="402" y="277"/>
                </a:lnTo>
                <a:lnTo>
                  <a:pt x="395" y="243"/>
                </a:lnTo>
                <a:lnTo>
                  <a:pt x="323" y="243"/>
                </a:lnTo>
                <a:lnTo>
                  <a:pt x="312" y="277"/>
                </a:lnTo>
                <a:lnTo>
                  <a:pt x="212" y="277"/>
                </a:lnTo>
                <a:lnTo>
                  <a:pt x="305" y="9"/>
                </a:lnTo>
                <a:lnTo>
                  <a:pt x="415" y="9"/>
                </a:lnTo>
                <a:lnTo>
                  <a:pt x="504" y="277"/>
                </a:lnTo>
                <a:lnTo>
                  <a:pt x="402" y="277"/>
                </a:lnTo>
                <a:close/>
                <a:moveTo>
                  <a:pt x="358" y="95"/>
                </a:moveTo>
                <a:lnTo>
                  <a:pt x="358" y="95"/>
                </a:lnTo>
                <a:lnTo>
                  <a:pt x="335" y="179"/>
                </a:lnTo>
                <a:lnTo>
                  <a:pt x="382" y="179"/>
                </a:lnTo>
                <a:lnTo>
                  <a:pt x="358" y="95"/>
                </a:lnTo>
                <a:close/>
                <a:moveTo>
                  <a:pt x="686" y="277"/>
                </a:moveTo>
                <a:lnTo>
                  <a:pt x="686" y="277"/>
                </a:lnTo>
                <a:lnTo>
                  <a:pt x="606" y="146"/>
                </a:lnTo>
                <a:lnTo>
                  <a:pt x="606" y="277"/>
                </a:lnTo>
                <a:lnTo>
                  <a:pt x="512" y="277"/>
                </a:lnTo>
                <a:lnTo>
                  <a:pt x="512" y="9"/>
                </a:lnTo>
                <a:lnTo>
                  <a:pt x="606" y="9"/>
                </a:lnTo>
                <a:lnTo>
                  <a:pt x="686" y="140"/>
                </a:lnTo>
                <a:lnTo>
                  <a:pt x="686" y="9"/>
                </a:lnTo>
                <a:lnTo>
                  <a:pt x="778" y="9"/>
                </a:lnTo>
                <a:lnTo>
                  <a:pt x="778" y="277"/>
                </a:lnTo>
                <a:lnTo>
                  <a:pt x="686" y="277"/>
                </a:lnTo>
                <a:close/>
                <a:moveTo>
                  <a:pt x="914" y="276"/>
                </a:moveTo>
                <a:lnTo>
                  <a:pt x="914" y="276"/>
                </a:lnTo>
                <a:lnTo>
                  <a:pt x="883" y="277"/>
                </a:lnTo>
                <a:lnTo>
                  <a:pt x="808" y="277"/>
                </a:lnTo>
                <a:lnTo>
                  <a:pt x="808" y="9"/>
                </a:lnTo>
                <a:lnTo>
                  <a:pt x="880" y="9"/>
                </a:lnTo>
                <a:lnTo>
                  <a:pt x="909" y="9"/>
                </a:lnTo>
                <a:lnTo>
                  <a:pt x="926" y="10"/>
                </a:lnTo>
                <a:lnTo>
                  <a:pt x="941" y="11"/>
                </a:lnTo>
                <a:lnTo>
                  <a:pt x="957" y="12"/>
                </a:lnTo>
                <a:lnTo>
                  <a:pt x="971" y="16"/>
                </a:lnTo>
                <a:lnTo>
                  <a:pt x="984" y="19"/>
                </a:lnTo>
                <a:lnTo>
                  <a:pt x="997" y="24"/>
                </a:lnTo>
                <a:lnTo>
                  <a:pt x="1009" y="30"/>
                </a:lnTo>
                <a:lnTo>
                  <a:pt x="1019" y="37"/>
                </a:lnTo>
                <a:lnTo>
                  <a:pt x="1029" y="46"/>
                </a:lnTo>
                <a:lnTo>
                  <a:pt x="1038" y="56"/>
                </a:lnTo>
                <a:lnTo>
                  <a:pt x="1045" y="67"/>
                </a:lnTo>
                <a:lnTo>
                  <a:pt x="1052" y="78"/>
                </a:lnTo>
                <a:lnTo>
                  <a:pt x="1057" y="93"/>
                </a:lnTo>
                <a:lnTo>
                  <a:pt x="1061" y="108"/>
                </a:lnTo>
                <a:lnTo>
                  <a:pt x="1063" y="125"/>
                </a:lnTo>
                <a:lnTo>
                  <a:pt x="1064" y="144"/>
                </a:lnTo>
                <a:lnTo>
                  <a:pt x="1063" y="161"/>
                </a:lnTo>
                <a:lnTo>
                  <a:pt x="1061" y="177"/>
                </a:lnTo>
                <a:lnTo>
                  <a:pt x="1057" y="192"/>
                </a:lnTo>
                <a:lnTo>
                  <a:pt x="1052" y="205"/>
                </a:lnTo>
                <a:lnTo>
                  <a:pt x="1047" y="217"/>
                </a:lnTo>
                <a:lnTo>
                  <a:pt x="1039" y="229"/>
                </a:lnTo>
                <a:lnTo>
                  <a:pt x="1031" y="238"/>
                </a:lnTo>
                <a:lnTo>
                  <a:pt x="1022" y="247"/>
                </a:lnTo>
                <a:lnTo>
                  <a:pt x="1011" y="254"/>
                </a:lnTo>
                <a:lnTo>
                  <a:pt x="999" y="260"/>
                </a:lnTo>
                <a:lnTo>
                  <a:pt x="987" y="266"/>
                </a:lnTo>
                <a:lnTo>
                  <a:pt x="974" y="269"/>
                </a:lnTo>
                <a:lnTo>
                  <a:pt x="960" y="273"/>
                </a:lnTo>
                <a:lnTo>
                  <a:pt x="945" y="274"/>
                </a:lnTo>
                <a:lnTo>
                  <a:pt x="929" y="276"/>
                </a:lnTo>
                <a:lnTo>
                  <a:pt x="914" y="276"/>
                </a:lnTo>
                <a:close/>
                <a:moveTo>
                  <a:pt x="916" y="89"/>
                </a:moveTo>
                <a:lnTo>
                  <a:pt x="916" y="89"/>
                </a:lnTo>
                <a:lnTo>
                  <a:pt x="906" y="89"/>
                </a:lnTo>
                <a:lnTo>
                  <a:pt x="906" y="197"/>
                </a:lnTo>
                <a:lnTo>
                  <a:pt x="916" y="197"/>
                </a:lnTo>
                <a:lnTo>
                  <a:pt x="928" y="196"/>
                </a:lnTo>
                <a:lnTo>
                  <a:pt x="938" y="193"/>
                </a:lnTo>
                <a:lnTo>
                  <a:pt x="947" y="190"/>
                </a:lnTo>
                <a:lnTo>
                  <a:pt x="954" y="184"/>
                </a:lnTo>
                <a:lnTo>
                  <a:pt x="960" y="177"/>
                </a:lnTo>
                <a:lnTo>
                  <a:pt x="964" y="167"/>
                </a:lnTo>
                <a:lnTo>
                  <a:pt x="966" y="157"/>
                </a:lnTo>
                <a:lnTo>
                  <a:pt x="967" y="145"/>
                </a:lnTo>
                <a:lnTo>
                  <a:pt x="966" y="133"/>
                </a:lnTo>
                <a:lnTo>
                  <a:pt x="964" y="122"/>
                </a:lnTo>
                <a:lnTo>
                  <a:pt x="960" y="113"/>
                </a:lnTo>
                <a:lnTo>
                  <a:pt x="954" y="105"/>
                </a:lnTo>
                <a:lnTo>
                  <a:pt x="947" y="97"/>
                </a:lnTo>
                <a:lnTo>
                  <a:pt x="939" y="93"/>
                </a:lnTo>
                <a:lnTo>
                  <a:pt x="928" y="90"/>
                </a:lnTo>
                <a:lnTo>
                  <a:pt x="916" y="89"/>
                </a:lnTo>
                <a:close/>
                <a:moveTo>
                  <a:pt x="1219" y="285"/>
                </a:moveTo>
                <a:lnTo>
                  <a:pt x="1219" y="285"/>
                </a:lnTo>
                <a:lnTo>
                  <a:pt x="1204" y="285"/>
                </a:lnTo>
                <a:lnTo>
                  <a:pt x="1190" y="282"/>
                </a:lnTo>
                <a:lnTo>
                  <a:pt x="1176" y="279"/>
                </a:lnTo>
                <a:lnTo>
                  <a:pt x="1161" y="275"/>
                </a:lnTo>
                <a:lnTo>
                  <a:pt x="1150" y="269"/>
                </a:lnTo>
                <a:lnTo>
                  <a:pt x="1138" y="262"/>
                </a:lnTo>
                <a:lnTo>
                  <a:pt x="1126" y="255"/>
                </a:lnTo>
                <a:lnTo>
                  <a:pt x="1116" y="245"/>
                </a:lnTo>
                <a:lnTo>
                  <a:pt x="1107" y="236"/>
                </a:lnTo>
                <a:lnTo>
                  <a:pt x="1099" y="225"/>
                </a:lnTo>
                <a:lnTo>
                  <a:pt x="1092" y="213"/>
                </a:lnTo>
                <a:lnTo>
                  <a:pt x="1086" y="202"/>
                </a:lnTo>
                <a:lnTo>
                  <a:pt x="1081" y="187"/>
                </a:lnTo>
                <a:lnTo>
                  <a:pt x="1077" y="173"/>
                </a:lnTo>
                <a:lnTo>
                  <a:pt x="1075" y="159"/>
                </a:lnTo>
                <a:lnTo>
                  <a:pt x="1074" y="142"/>
                </a:lnTo>
                <a:lnTo>
                  <a:pt x="1075" y="127"/>
                </a:lnTo>
                <a:lnTo>
                  <a:pt x="1077" y="113"/>
                </a:lnTo>
                <a:lnTo>
                  <a:pt x="1081" y="99"/>
                </a:lnTo>
                <a:lnTo>
                  <a:pt x="1086" y="86"/>
                </a:lnTo>
                <a:lnTo>
                  <a:pt x="1090" y="73"/>
                </a:lnTo>
                <a:lnTo>
                  <a:pt x="1097" y="61"/>
                </a:lnTo>
                <a:lnTo>
                  <a:pt x="1106" y="50"/>
                </a:lnTo>
                <a:lnTo>
                  <a:pt x="1115" y="41"/>
                </a:lnTo>
                <a:lnTo>
                  <a:pt x="1126" y="31"/>
                </a:lnTo>
                <a:lnTo>
                  <a:pt x="1137" y="24"/>
                </a:lnTo>
                <a:lnTo>
                  <a:pt x="1148" y="17"/>
                </a:lnTo>
                <a:lnTo>
                  <a:pt x="1161" y="11"/>
                </a:lnTo>
                <a:lnTo>
                  <a:pt x="1174" y="6"/>
                </a:lnTo>
                <a:lnTo>
                  <a:pt x="1189" y="4"/>
                </a:lnTo>
                <a:lnTo>
                  <a:pt x="1204" y="1"/>
                </a:lnTo>
                <a:lnTo>
                  <a:pt x="1219" y="0"/>
                </a:lnTo>
                <a:lnTo>
                  <a:pt x="1235" y="1"/>
                </a:lnTo>
                <a:lnTo>
                  <a:pt x="1249" y="4"/>
                </a:lnTo>
                <a:lnTo>
                  <a:pt x="1264" y="6"/>
                </a:lnTo>
                <a:lnTo>
                  <a:pt x="1277" y="11"/>
                </a:lnTo>
                <a:lnTo>
                  <a:pt x="1290" y="17"/>
                </a:lnTo>
                <a:lnTo>
                  <a:pt x="1303" y="23"/>
                </a:lnTo>
                <a:lnTo>
                  <a:pt x="1314" y="31"/>
                </a:lnTo>
                <a:lnTo>
                  <a:pt x="1325" y="39"/>
                </a:lnTo>
                <a:lnTo>
                  <a:pt x="1334" y="50"/>
                </a:lnTo>
                <a:lnTo>
                  <a:pt x="1343" y="61"/>
                </a:lnTo>
                <a:lnTo>
                  <a:pt x="1350" y="73"/>
                </a:lnTo>
                <a:lnTo>
                  <a:pt x="1357" y="84"/>
                </a:lnTo>
                <a:lnTo>
                  <a:pt x="1362" y="99"/>
                </a:lnTo>
                <a:lnTo>
                  <a:pt x="1365" y="113"/>
                </a:lnTo>
                <a:lnTo>
                  <a:pt x="1367" y="127"/>
                </a:lnTo>
                <a:lnTo>
                  <a:pt x="1367" y="142"/>
                </a:lnTo>
                <a:lnTo>
                  <a:pt x="1367" y="159"/>
                </a:lnTo>
                <a:lnTo>
                  <a:pt x="1365" y="173"/>
                </a:lnTo>
                <a:lnTo>
                  <a:pt x="1362" y="187"/>
                </a:lnTo>
                <a:lnTo>
                  <a:pt x="1358" y="200"/>
                </a:lnTo>
                <a:lnTo>
                  <a:pt x="1352" y="213"/>
                </a:lnTo>
                <a:lnTo>
                  <a:pt x="1345" y="225"/>
                </a:lnTo>
                <a:lnTo>
                  <a:pt x="1338" y="236"/>
                </a:lnTo>
                <a:lnTo>
                  <a:pt x="1328" y="245"/>
                </a:lnTo>
                <a:lnTo>
                  <a:pt x="1319" y="255"/>
                </a:lnTo>
                <a:lnTo>
                  <a:pt x="1307" y="262"/>
                </a:lnTo>
                <a:lnTo>
                  <a:pt x="1295" y="269"/>
                </a:lnTo>
                <a:lnTo>
                  <a:pt x="1282" y="275"/>
                </a:lnTo>
                <a:lnTo>
                  <a:pt x="1268" y="279"/>
                </a:lnTo>
                <a:lnTo>
                  <a:pt x="1253" y="282"/>
                </a:lnTo>
                <a:lnTo>
                  <a:pt x="1236" y="285"/>
                </a:lnTo>
                <a:lnTo>
                  <a:pt x="1219" y="285"/>
                </a:lnTo>
                <a:close/>
                <a:moveTo>
                  <a:pt x="1221" y="90"/>
                </a:moveTo>
                <a:lnTo>
                  <a:pt x="1221" y="90"/>
                </a:lnTo>
                <a:lnTo>
                  <a:pt x="1210" y="91"/>
                </a:lnTo>
                <a:lnTo>
                  <a:pt x="1200" y="94"/>
                </a:lnTo>
                <a:lnTo>
                  <a:pt x="1192" y="99"/>
                </a:lnTo>
                <a:lnTo>
                  <a:pt x="1185" y="105"/>
                </a:lnTo>
                <a:lnTo>
                  <a:pt x="1179" y="113"/>
                </a:lnTo>
                <a:lnTo>
                  <a:pt x="1174" y="121"/>
                </a:lnTo>
                <a:lnTo>
                  <a:pt x="1172" y="132"/>
                </a:lnTo>
                <a:lnTo>
                  <a:pt x="1172" y="142"/>
                </a:lnTo>
                <a:lnTo>
                  <a:pt x="1172" y="154"/>
                </a:lnTo>
                <a:lnTo>
                  <a:pt x="1176" y="164"/>
                </a:lnTo>
                <a:lnTo>
                  <a:pt x="1179" y="173"/>
                </a:lnTo>
                <a:lnTo>
                  <a:pt x="1185" y="181"/>
                </a:lnTo>
                <a:lnTo>
                  <a:pt x="1192" y="187"/>
                </a:lnTo>
                <a:lnTo>
                  <a:pt x="1200" y="192"/>
                </a:lnTo>
                <a:lnTo>
                  <a:pt x="1210" y="195"/>
                </a:lnTo>
                <a:lnTo>
                  <a:pt x="1221" y="196"/>
                </a:lnTo>
                <a:lnTo>
                  <a:pt x="1231" y="195"/>
                </a:lnTo>
                <a:lnTo>
                  <a:pt x="1241" y="192"/>
                </a:lnTo>
                <a:lnTo>
                  <a:pt x="1249" y="187"/>
                </a:lnTo>
                <a:lnTo>
                  <a:pt x="1257" y="181"/>
                </a:lnTo>
                <a:lnTo>
                  <a:pt x="1262" y="173"/>
                </a:lnTo>
                <a:lnTo>
                  <a:pt x="1267" y="164"/>
                </a:lnTo>
                <a:lnTo>
                  <a:pt x="1269" y="154"/>
                </a:lnTo>
                <a:lnTo>
                  <a:pt x="1270" y="142"/>
                </a:lnTo>
                <a:lnTo>
                  <a:pt x="1269" y="132"/>
                </a:lnTo>
                <a:lnTo>
                  <a:pt x="1267" y="121"/>
                </a:lnTo>
                <a:lnTo>
                  <a:pt x="1262" y="112"/>
                </a:lnTo>
                <a:lnTo>
                  <a:pt x="1256" y="105"/>
                </a:lnTo>
                <a:lnTo>
                  <a:pt x="1249" y="99"/>
                </a:lnTo>
                <a:lnTo>
                  <a:pt x="1241" y="94"/>
                </a:lnTo>
                <a:lnTo>
                  <a:pt x="1231" y="91"/>
                </a:lnTo>
                <a:lnTo>
                  <a:pt x="1221" y="90"/>
                </a:lnTo>
                <a:close/>
                <a:moveTo>
                  <a:pt x="1513" y="197"/>
                </a:moveTo>
                <a:lnTo>
                  <a:pt x="1513" y="197"/>
                </a:lnTo>
                <a:lnTo>
                  <a:pt x="1613" y="197"/>
                </a:lnTo>
                <a:lnTo>
                  <a:pt x="1613" y="277"/>
                </a:lnTo>
                <a:lnTo>
                  <a:pt x="1356" y="277"/>
                </a:lnTo>
                <a:lnTo>
                  <a:pt x="1470" y="89"/>
                </a:lnTo>
                <a:lnTo>
                  <a:pt x="1379" y="89"/>
                </a:lnTo>
                <a:lnTo>
                  <a:pt x="1379" y="9"/>
                </a:lnTo>
                <a:lnTo>
                  <a:pt x="1626" y="9"/>
                </a:lnTo>
                <a:lnTo>
                  <a:pt x="1513" y="197"/>
                </a:lnTo>
                <a:close/>
                <a:moveTo>
                  <a:pt x="1755" y="91"/>
                </a:moveTo>
                <a:lnTo>
                  <a:pt x="1755" y="91"/>
                </a:lnTo>
                <a:lnTo>
                  <a:pt x="1711" y="91"/>
                </a:lnTo>
                <a:lnTo>
                  <a:pt x="1699" y="125"/>
                </a:lnTo>
                <a:lnTo>
                  <a:pt x="1682" y="125"/>
                </a:lnTo>
                <a:lnTo>
                  <a:pt x="1724" y="11"/>
                </a:lnTo>
                <a:lnTo>
                  <a:pt x="1742" y="11"/>
                </a:lnTo>
                <a:lnTo>
                  <a:pt x="1783" y="125"/>
                </a:lnTo>
                <a:lnTo>
                  <a:pt x="1767" y="125"/>
                </a:lnTo>
                <a:lnTo>
                  <a:pt x="1755" y="91"/>
                </a:lnTo>
                <a:close/>
                <a:moveTo>
                  <a:pt x="1714" y="80"/>
                </a:moveTo>
                <a:lnTo>
                  <a:pt x="1714" y="80"/>
                </a:lnTo>
                <a:lnTo>
                  <a:pt x="1751" y="80"/>
                </a:lnTo>
                <a:lnTo>
                  <a:pt x="1740" y="48"/>
                </a:lnTo>
                <a:lnTo>
                  <a:pt x="1736" y="31"/>
                </a:lnTo>
                <a:lnTo>
                  <a:pt x="1733" y="24"/>
                </a:lnTo>
                <a:lnTo>
                  <a:pt x="1732" y="24"/>
                </a:lnTo>
                <a:lnTo>
                  <a:pt x="1731" y="31"/>
                </a:lnTo>
                <a:lnTo>
                  <a:pt x="1726" y="48"/>
                </a:lnTo>
                <a:lnTo>
                  <a:pt x="1714" y="80"/>
                </a:lnTo>
                <a:close/>
                <a:moveTo>
                  <a:pt x="1845" y="11"/>
                </a:moveTo>
                <a:lnTo>
                  <a:pt x="1845" y="11"/>
                </a:lnTo>
                <a:lnTo>
                  <a:pt x="1861" y="11"/>
                </a:lnTo>
                <a:lnTo>
                  <a:pt x="1907" y="82"/>
                </a:lnTo>
                <a:lnTo>
                  <a:pt x="1916" y="96"/>
                </a:lnTo>
                <a:lnTo>
                  <a:pt x="1920" y="105"/>
                </a:lnTo>
                <a:lnTo>
                  <a:pt x="1920" y="105"/>
                </a:lnTo>
                <a:lnTo>
                  <a:pt x="1920" y="96"/>
                </a:lnTo>
                <a:lnTo>
                  <a:pt x="1919" y="81"/>
                </a:lnTo>
                <a:lnTo>
                  <a:pt x="1919" y="11"/>
                </a:lnTo>
                <a:lnTo>
                  <a:pt x="1935" y="11"/>
                </a:lnTo>
                <a:lnTo>
                  <a:pt x="1935" y="125"/>
                </a:lnTo>
                <a:lnTo>
                  <a:pt x="1918" y="125"/>
                </a:lnTo>
                <a:lnTo>
                  <a:pt x="1872" y="54"/>
                </a:lnTo>
                <a:lnTo>
                  <a:pt x="1864" y="39"/>
                </a:lnTo>
                <a:lnTo>
                  <a:pt x="1859" y="31"/>
                </a:lnTo>
                <a:lnTo>
                  <a:pt x="1859" y="31"/>
                </a:lnTo>
                <a:lnTo>
                  <a:pt x="1859" y="39"/>
                </a:lnTo>
                <a:lnTo>
                  <a:pt x="1859" y="55"/>
                </a:lnTo>
                <a:lnTo>
                  <a:pt x="1859" y="125"/>
                </a:lnTo>
                <a:lnTo>
                  <a:pt x="1845" y="125"/>
                </a:lnTo>
                <a:lnTo>
                  <a:pt x="1845" y="11"/>
                </a:lnTo>
                <a:close/>
                <a:moveTo>
                  <a:pt x="1955" y="84"/>
                </a:moveTo>
                <a:lnTo>
                  <a:pt x="1955" y="84"/>
                </a:lnTo>
                <a:lnTo>
                  <a:pt x="1955" y="75"/>
                </a:lnTo>
                <a:lnTo>
                  <a:pt x="1957" y="67"/>
                </a:lnTo>
                <a:lnTo>
                  <a:pt x="1961" y="59"/>
                </a:lnTo>
                <a:lnTo>
                  <a:pt x="1965" y="54"/>
                </a:lnTo>
                <a:lnTo>
                  <a:pt x="1971" y="48"/>
                </a:lnTo>
                <a:lnTo>
                  <a:pt x="1979" y="44"/>
                </a:lnTo>
                <a:lnTo>
                  <a:pt x="1986" y="42"/>
                </a:lnTo>
                <a:lnTo>
                  <a:pt x="1995" y="41"/>
                </a:lnTo>
                <a:lnTo>
                  <a:pt x="2003" y="42"/>
                </a:lnTo>
                <a:lnTo>
                  <a:pt x="2012" y="44"/>
                </a:lnTo>
                <a:lnTo>
                  <a:pt x="2018" y="48"/>
                </a:lnTo>
                <a:lnTo>
                  <a:pt x="2024" y="54"/>
                </a:lnTo>
                <a:lnTo>
                  <a:pt x="2028" y="59"/>
                </a:lnTo>
                <a:lnTo>
                  <a:pt x="2032" y="67"/>
                </a:lnTo>
                <a:lnTo>
                  <a:pt x="2034" y="75"/>
                </a:lnTo>
                <a:lnTo>
                  <a:pt x="2034" y="84"/>
                </a:lnTo>
                <a:lnTo>
                  <a:pt x="2034" y="93"/>
                </a:lnTo>
                <a:lnTo>
                  <a:pt x="2032" y="101"/>
                </a:lnTo>
                <a:lnTo>
                  <a:pt x="2028" y="108"/>
                </a:lnTo>
                <a:lnTo>
                  <a:pt x="2024" y="114"/>
                </a:lnTo>
                <a:lnTo>
                  <a:pt x="2018" y="120"/>
                </a:lnTo>
                <a:lnTo>
                  <a:pt x="2012" y="123"/>
                </a:lnTo>
                <a:lnTo>
                  <a:pt x="2003" y="126"/>
                </a:lnTo>
                <a:lnTo>
                  <a:pt x="1995" y="127"/>
                </a:lnTo>
                <a:lnTo>
                  <a:pt x="1986" y="126"/>
                </a:lnTo>
                <a:lnTo>
                  <a:pt x="1979" y="123"/>
                </a:lnTo>
                <a:lnTo>
                  <a:pt x="1971" y="120"/>
                </a:lnTo>
                <a:lnTo>
                  <a:pt x="1965" y="114"/>
                </a:lnTo>
                <a:lnTo>
                  <a:pt x="1961" y="108"/>
                </a:lnTo>
                <a:lnTo>
                  <a:pt x="1957" y="101"/>
                </a:lnTo>
                <a:lnTo>
                  <a:pt x="1955" y="93"/>
                </a:lnTo>
                <a:lnTo>
                  <a:pt x="1955" y="84"/>
                </a:lnTo>
                <a:close/>
                <a:moveTo>
                  <a:pt x="2020" y="84"/>
                </a:moveTo>
                <a:lnTo>
                  <a:pt x="2020" y="84"/>
                </a:lnTo>
                <a:lnTo>
                  <a:pt x="2020" y="77"/>
                </a:lnTo>
                <a:lnTo>
                  <a:pt x="2019" y="71"/>
                </a:lnTo>
                <a:lnTo>
                  <a:pt x="2016" y="65"/>
                </a:lnTo>
                <a:lnTo>
                  <a:pt x="2014" y="62"/>
                </a:lnTo>
                <a:lnTo>
                  <a:pt x="2010" y="57"/>
                </a:lnTo>
                <a:lnTo>
                  <a:pt x="2006" y="55"/>
                </a:lnTo>
                <a:lnTo>
                  <a:pt x="2000" y="52"/>
                </a:lnTo>
                <a:lnTo>
                  <a:pt x="1994" y="52"/>
                </a:lnTo>
                <a:lnTo>
                  <a:pt x="1988" y="52"/>
                </a:lnTo>
                <a:lnTo>
                  <a:pt x="1983" y="55"/>
                </a:lnTo>
                <a:lnTo>
                  <a:pt x="1979" y="57"/>
                </a:lnTo>
                <a:lnTo>
                  <a:pt x="1975" y="62"/>
                </a:lnTo>
                <a:lnTo>
                  <a:pt x="1973" y="65"/>
                </a:lnTo>
                <a:lnTo>
                  <a:pt x="1970" y="71"/>
                </a:lnTo>
                <a:lnTo>
                  <a:pt x="1969" y="77"/>
                </a:lnTo>
                <a:lnTo>
                  <a:pt x="1969" y="84"/>
                </a:lnTo>
                <a:lnTo>
                  <a:pt x="1969" y="90"/>
                </a:lnTo>
                <a:lnTo>
                  <a:pt x="1970" y="96"/>
                </a:lnTo>
                <a:lnTo>
                  <a:pt x="1973" y="102"/>
                </a:lnTo>
                <a:lnTo>
                  <a:pt x="1975" y="106"/>
                </a:lnTo>
                <a:lnTo>
                  <a:pt x="1979" y="110"/>
                </a:lnTo>
                <a:lnTo>
                  <a:pt x="1983" y="113"/>
                </a:lnTo>
                <a:lnTo>
                  <a:pt x="1988" y="115"/>
                </a:lnTo>
                <a:lnTo>
                  <a:pt x="1994" y="115"/>
                </a:lnTo>
                <a:lnTo>
                  <a:pt x="2000" y="115"/>
                </a:lnTo>
                <a:lnTo>
                  <a:pt x="2006" y="113"/>
                </a:lnTo>
                <a:lnTo>
                  <a:pt x="2010" y="110"/>
                </a:lnTo>
                <a:lnTo>
                  <a:pt x="2014" y="106"/>
                </a:lnTo>
                <a:lnTo>
                  <a:pt x="2016" y="102"/>
                </a:lnTo>
                <a:lnTo>
                  <a:pt x="2019" y="96"/>
                </a:lnTo>
                <a:lnTo>
                  <a:pt x="2020" y="90"/>
                </a:lnTo>
                <a:lnTo>
                  <a:pt x="2020" y="84"/>
                </a:lnTo>
                <a:close/>
                <a:moveTo>
                  <a:pt x="2042" y="43"/>
                </a:moveTo>
                <a:lnTo>
                  <a:pt x="2042" y="43"/>
                </a:lnTo>
                <a:lnTo>
                  <a:pt x="2057" y="43"/>
                </a:lnTo>
                <a:lnTo>
                  <a:pt x="2072" y="87"/>
                </a:lnTo>
                <a:lnTo>
                  <a:pt x="2077" y="105"/>
                </a:lnTo>
                <a:lnTo>
                  <a:pt x="2079" y="113"/>
                </a:lnTo>
                <a:lnTo>
                  <a:pt x="2079" y="113"/>
                </a:lnTo>
                <a:lnTo>
                  <a:pt x="2082" y="105"/>
                </a:lnTo>
                <a:lnTo>
                  <a:pt x="2086" y="87"/>
                </a:lnTo>
                <a:lnTo>
                  <a:pt x="2102" y="43"/>
                </a:lnTo>
                <a:lnTo>
                  <a:pt x="2116" y="43"/>
                </a:lnTo>
                <a:lnTo>
                  <a:pt x="2086" y="125"/>
                </a:lnTo>
                <a:lnTo>
                  <a:pt x="2071" y="125"/>
                </a:lnTo>
                <a:lnTo>
                  <a:pt x="2042" y="43"/>
                </a:lnTo>
                <a:close/>
                <a:moveTo>
                  <a:pt x="2124" y="103"/>
                </a:moveTo>
                <a:lnTo>
                  <a:pt x="2124" y="103"/>
                </a:lnTo>
                <a:lnTo>
                  <a:pt x="2124" y="96"/>
                </a:lnTo>
                <a:lnTo>
                  <a:pt x="2127" y="91"/>
                </a:lnTo>
                <a:lnTo>
                  <a:pt x="2129" y="87"/>
                </a:lnTo>
                <a:lnTo>
                  <a:pt x="2134" y="84"/>
                </a:lnTo>
                <a:lnTo>
                  <a:pt x="2138" y="82"/>
                </a:lnTo>
                <a:lnTo>
                  <a:pt x="2144" y="80"/>
                </a:lnTo>
                <a:lnTo>
                  <a:pt x="2151" y="78"/>
                </a:lnTo>
                <a:lnTo>
                  <a:pt x="2159" y="77"/>
                </a:lnTo>
                <a:lnTo>
                  <a:pt x="2167" y="76"/>
                </a:lnTo>
                <a:lnTo>
                  <a:pt x="2174" y="74"/>
                </a:lnTo>
                <a:lnTo>
                  <a:pt x="2176" y="73"/>
                </a:lnTo>
                <a:lnTo>
                  <a:pt x="2177" y="70"/>
                </a:lnTo>
                <a:lnTo>
                  <a:pt x="2179" y="68"/>
                </a:lnTo>
                <a:lnTo>
                  <a:pt x="2179" y="65"/>
                </a:lnTo>
                <a:lnTo>
                  <a:pt x="2179" y="62"/>
                </a:lnTo>
                <a:lnTo>
                  <a:pt x="2177" y="59"/>
                </a:lnTo>
                <a:lnTo>
                  <a:pt x="2176" y="57"/>
                </a:lnTo>
                <a:lnTo>
                  <a:pt x="2174" y="55"/>
                </a:lnTo>
                <a:lnTo>
                  <a:pt x="2169" y="52"/>
                </a:lnTo>
                <a:lnTo>
                  <a:pt x="2161" y="51"/>
                </a:lnTo>
                <a:lnTo>
                  <a:pt x="2157" y="51"/>
                </a:lnTo>
                <a:lnTo>
                  <a:pt x="2153" y="52"/>
                </a:lnTo>
                <a:lnTo>
                  <a:pt x="2149" y="54"/>
                </a:lnTo>
                <a:lnTo>
                  <a:pt x="2147" y="56"/>
                </a:lnTo>
                <a:lnTo>
                  <a:pt x="2144" y="57"/>
                </a:lnTo>
                <a:lnTo>
                  <a:pt x="2143" y="61"/>
                </a:lnTo>
                <a:lnTo>
                  <a:pt x="2142" y="63"/>
                </a:lnTo>
                <a:lnTo>
                  <a:pt x="2142" y="67"/>
                </a:lnTo>
                <a:lnTo>
                  <a:pt x="2128" y="67"/>
                </a:lnTo>
                <a:lnTo>
                  <a:pt x="2129" y="62"/>
                </a:lnTo>
                <a:lnTo>
                  <a:pt x="2130" y="57"/>
                </a:lnTo>
                <a:lnTo>
                  <a:pt x="2132" y="52"/>
                </a:lnTo>
                <a:lnTo>
                  <a:pt x="2136" y="49"/>
                </a:lnTo>
                <a:lnTo>
                  <a:pt x="2141" y="45"/>
                </a:lnTo>
                <a:lnTo>
                  <a:pt x="2147" y="43"/>
                </a:lnTo>
                <a:lnTo>
                  <a:pt x="2154" y="42"/>
                </a:lnTo>
                <a:lnTo>
                  <a:pt x="2161" y="41"/>
                </a:lnTo>
                <a:lnTo>
                  <a:pt x="2167" y="41"/>
                </a:lnTo>
                <a:lnTo>
                  <a:pt x="2172" y="42"/>
                </a:lnTo>
                <a:lnTo>
                  <a:pt x="2176" y="43"/>
                </a:lnTo>
                <a:lnTo>
                  <a:pt x="2181" y="45"/>
                </a:lnTo>
                <a:lnTo>
                  <a:pt x="2186" y="49"/>
                </a:lnTo>
                <a:lnTo>
                  <a:pt x="2189" y="54"/>
                </a:lnTo>
                <a:lnTo>
                  <a:pt x="2192" y="59"/>
                </a:lnTo>
                <a:lnTo>
                  <a:pt x="2192" y="68"/>
                </a:lnTo>
                <a:lnTo>
                  <a:pt x="2192" y="106"/>
                </a:lnTo>
                <a:lnTo>
                  <a:pt x="2193" y="110"/>
                </a:lnTo>
                <a:lnTo>
                  <a:pt x="2194" y="113"/>
                </a:lnTo>
                <a:lnTo>
                  <a:pt x="2196" y="114"/>
                </a:lnTo>
                <a:lnTo>
                  <a:pt x="2201" y="114"/>
                </a:lnTo>
                <a:lnTo>
                  <a:pt x="2201" y="114"/>
                </a:lnTo>
                <a:lnTo>
                  <a:pt x="2201" y="125"/>
                </a:lnTo>
                <a:lnTo>
                  <a:pt x="2198" y="125"/>
                </a:lnTo>
                <a:lnTo>
                  <a:pt x="2194" y="126"/>
                </a:lnTo>
                <a:lnTo>
                  <a:pt x="2188" y="125"/>
                </a:lnTo>
                <a:lnTo>
                  <a:pt x="2183" y="122"/>
                </a:lnTo>
                <a:lnTo>
                  <a:pt x="2181" y="119"/>
                </a:lnTo>
                <a:lnTo>
                  <a:pt x="2179" y="113"/>
                </a:lnTo>
                <a:lnTo>
                  <a:pt x="2179" y="113"/>
                </a:lnTo>
                <a:lnTo>
                  <a:pt x="2174" y="118"/>
                </a:lnTo>
                <a:lnTo>
                  <a:pt x="2168" y="122"/>
                </a:lnTo>
                <a:lnTo>
                  <a:pt x="2161" y="126"/>
                </a:lnTo>
                <a:lnTo>
                  <a:pt x="2151" y="126"/>
                </a:lnTo>
                <a:lnTo>
                  <a:pt x="2145" y="126"/>
                </a:lnTo>
                <a:lnTo>
                  <a:pt x="2141" y="125"/>
                </a:lnTo>
                <a:lnTo>
                  <a:pt x="2136" y="123"/>
                </a:lnTo>
                <a:lnTo>
                  <a:pt x="2131" y="121"/>
                </a:lnTo>
                <a:lnTo>
                  <a:pt x="2129" y="118"/>
                </a:lnTo>
                <a:lnTo>
                  <a:pt x="2125" y="113"/>
                </a:lnTo>
                <a:lnTo>
                  <a:pt x="2124" y="108"/>
                </a:lnTo>
                <a:lnTo>
                  <a:pt x="2124" y="103"/>
                </a:lnTo>
                <a:close/>
                <a:moveTo>
                  <a:pt x="2179" y="95"/>
                </a:moveTo>
                <a:lnTo>
                  <a:pt x="2179" y="95"/>
                </a:lnTo>
                <a:lnTo>
                  <a:pt x="2179" y="81"/>
                </a:lnTo>
                <a:lnTo>
                  <a:pt x="2172" y="84"/>
                </a:lnTo>
                <a:lnTo>
                  <a:pt x="2161" y="87"/>
                </a:lnTo>
                <a:lnTo>
                  <a:pt x="2151" y="89"/>
                </a:lnTo>
                <a:lnTo>
                  <a:pt x="2144" y="91"/>
                </a:lnTo>
                <a:lnTo>
                  <a:pt x="2142" y="94"/>
                </a:lnTo>
                <a:lnTo>
                  <a:pt x="2141" y="96"/>
                </a:lnTo>
                <a:lnTo>
                  <a:pt x="2140" y="99"/>
                </a:lnTo>
                <a:lnTo>
                  <a:pt x="2138" y="103"/>
                </a:lnTo>
                <a:lnTo>
                  <a:pt x="2140" y="107"/>
                </a:lnTo>
                <a:lnTo>
                  <a:pt x="2140" y="109"/>
                </a:lnTo>
                <a:lnTo>
                  <a:pt x="2142" y="112"/>
                </a:lnTo>
                <a:lnTo>
                  <a:pt x="2144" y="113"/>
                </a:lnTo>
                <a:lnTo>
                  <a:pt x="2149" y="115"/>
                </a:lnTo>
                <a:lnTo>
                  <a:pt x="2155" y="116"/>
                </a:lnTo>
                <a:lnTo>
                  <a:pt x="2161" y="115"/>
                </a:lnTo>
                <a:lnTo>
                  <a:pt x="2166" y="114"/>
                </a:lnTo>
                <a:lnTo>
                  <a:pt x="2170" y="112"/>
                </a:lnTo>
                <a:lnTo>
                  <a:pt x="2173" y="109"/>
                </a:lnTo>
                <a:lnTo>
                  <a:pt x="2176" y="106"/>
                </a:lnTo>
                <a:lnTo>
                  <a:pt x="2177" y="102"/>
                </a:lnTo>
                <a:lnTo>
                  <a:pt x="2179" y="99"/>
                </a:lnTo>
                <a:lnTo>
                  <a:pt x="2179" y="95"/>
                </a:lnTo>
                <a:close/>
                <a:moveTo>
                  <a:pt x="2215" y="125"/>
                </a:moveTo>
                <a:lnTo>
                  <a:pt x="2215" y="125"/>
                </a:lnTo>
                <a:lnTo>
                  <a:pt x="2215" y="43"/>
                </a:lnTo>
                <a:lnTo>
                  <a:pt x="2230" y="43"/>
                </a:lnTo>
                <a:lnTo>
                  <a:pt x="2230" y="57"/>
                </a:lnTo>
                <a:lnTo>
                  <a:pt x="2231" y="57"/>
                </a:lnTo>
                <a:lnTo>
                  <a:pt x="2234" y="51"/>
                </a:lnTo>
                <a:lnTo>
                  <a:pt x="2240" y="46"/>
                </a:lnTo>
                <a:lnTo>
                  <a:pt x="2247" y="43"/>
                </a:lnTo>
                <a:lnTo>
                  <a:pt x="2254" y="42"/>
                </a:lnTo>
                <a:lnTo>
                  <a:pt x="2258" y="42"/>
                </a:lnTo>
                <a:lnTo>
                  <a:pt x="2260" y="43"/>
                </a:lnTo>
                <a:lnTo>
                  <a:pt x="2260" y="56"/>
                </a:lnTo>
                <a:lnTo>
                  <a:pt x="2259" y="56"/>
                </a:lnTo>
                <a:lnTo>
                  <a:pt x="2257" y="56"/>
                </a:lnTo>
                <a:lnTo>
                  <a:pt x="2253" y="55"/>
                </a:lnTo>
                <a:lnTo>
                  <a:pt x="2249" y="56"/>
                </a:lnTo>
                <a:lnTo>
                  <a:pt x="2245" y="57"/>
                </a:lnTo>
                <a:lnTo>
                  <a:pt x="2240" y="59"/>
                </a:lnTo>
                <a:lnTo>
                  <a:pt x="2237" y="62"/>
                </a:lnTo>
                <a:lnTo>
                  <a:pt x="2234" y="65"/>
                </a:lnTo>
                <a:lnTo>
                  <a:pt x="2232" y="70"/>
                </a:lnTo>
                <a:lnTo>
                  <a:pt x="2231" y="75"/>
                </a:lnTo>
                <a:lnTo>
                  <a:pt x="2230" y="80"/>
                </a:lnTo>
                <a:lnTo>
                  <a:pt x="2230" y="125"/>
                </a:lnTo>
                <a:lnTo>
                  <a:pt x="2215" y="125"/>
                </a:lnTo>
                <a:close/>
                <a:moveTo>
                  <a:pt x="2303" y="126"/>
                </a:moveTo>
                <a:lnTo>
                  <a:pt x="2303" y="126"/>
                </a:lnTo>
                <a:lnTo>
                  <a:pt x="2296" y="125"/>
                </a:lnTo>
                <a:lnTo>
                  <a:pt x="2290" y="121"/>
                </a:lnTo>
                <a:lnTo>
                  <a:pt x="2288" y="119"/>
                </a:lnTo>
                <a:lnTo>
                  <a:pt x="2286" y="116"/>
                </a:lnTo>
                <a:lnTo>
                  <a:pt x="2285" y="113"/>
                </a:lnTo>
                <a:lnTo>
                  <a:pt x="2284" y="109"/>
                </a:lnTo>
                <a:lnTo>
                  <a:pt x="2284" y="54"/>
                </a:lnTo>
                <a:lnTo>
                  <a:pt x="2272" y="54"/>
                </a:lnTo>
                <a:lnTo>
                  <a:pt x="2272" y="43"/>
                </a:lnTo>
                <a:lnTo>
                  <a:pt x="2284" y="43"/>
                </a:lnTo>
                <a:lnTo>
                  <a:pt x="2284" y="17"/>
                </a:lnTo>
                <a:lnTo>
                  <a:pt x="2298" y="17"/>
                </a:lnTo>
                <a:lnTo>
                  <a:pt x="2298" y="43"/>
                </a:lnTo>
                <a:lnTo>
                  <a:pt x="2316" y="43"/>
                </a:lnTo>
                <a:lnTo>
                  <a:pt x="2316" y="54"/>
                </a:lnTo>
                <a:lnTo>
                  <a:pt x="2298" y="54"/>
                </a:lnTo>
                <a:lnTo>
                  <a:pt x="2298" y="106"/>
                </a:lnTo>
                <a:lnTo>
                  <a:pt x="2299" y="109"/>
                </a:lnTo>
                <a:lnTo>
                  <a:pt x="2301" y="112"/>
                </a:lnTo>
                <a:lnTo>
                  <a:pt x="2303" y="113"/>
                </a:lnTo>
                <a:lnTo>
                  <a:pt x="2307" y="113"/>
                </a:lnTo>
                <a:lnTo>
                  <a:pt x="2311" y="113"/>
                </a:lnTo>
                <a:lnTo>
                  <a:pt x="2314" y="112"/>
                </a:lnTo>
                <a:lnTo>
                  <a:pt x="2315" y="112"/>
                </a:lnTo>
                <a:lnTo>
                  <a:pt x="2315" y="123"/>
                </a:lnTo>
                <a:lnTo>
                  <a:pt x="2309" y="125"/>
                </a:lnTo>
                <a:lnTo>
                  <a:pt x="2303" y="126"/>
                </a:lnTo>
                <a:close/>
                <a:moveTo>
                  <a:pt x="2349" y="19"/>
                </a:moveTo>
                <a:lnTo>
                  <a:pt x="2349" y="19"/>
                </a:lnTo>
                <a:lnTo>
                  <a:pt x="2348" y="23"/>
                </a:lnTo>
                <a:lnTo>
                  <a:pt x="2347" y="26"/>
                </a:lnTo>
                <a:lnTo>
                  <a:pt x="2344" y="28"/>
                </a:lnTo>
                <a:lnTo>
                  <a:pt x="2341" y="29"/>
                </a:lnTo>
                <a:lnTo>
                  <a:pt x="2337" y="28"/>
                </a:lnTo>
                <a:lnTo>
                  <a:pt x="2334" y="26"/>
                </a:lnTo>
                <a:lnTo>
                  <a:pt x="2333" y="23"/>
                </a:lnTo>
                <a:lnTo>
                  <a:pt x="2331" y="19"/>
                </a:lnTo>
                <a:lnTo>
                  <a:pt x="2333" y="16"/>
                </a:lnTo>
                <a:lnTo>
                  <a:pt x="2334" y="13"/>
                </a:lnTo>
                <a:lnTo>
                  <a:pt x="2337" y="12"/>
                </a:lnTo>
                <a:lnTo>
                  <a:pt x="2341" y="11"/>
                </a:lnTo>
                <a:lnTo>
                  <a:pt x="2344" y="12"/>
                </a:lnTo>
                <a:lnTo>
                  <a:pt x="2347" y="13"/>
                </a:lnTo>
                <a:lnTo>
                  <a:pt x="2348" y="16"/>
                </a:lnTo>
                <a:lnTo>
                  <a:pt x="2349" y="19"/>
                </a:lnTo>
                <a:close/>
                <a:moveTo>
                  <a:pt x="2334" y="43"/>
                </a:moveTo>
                <a:lnTo>
                  <a:pt x="2334" y="43"/>
                </a:lnTo>
                <a:lnTo>
                  <a:pt x="2348" y="43"/>
                </a:lnTo>
                <a:lnTo>
                  <a:pt x="2348" y="125"/>
                </a:lnTo>
                <a:lnTo>
                  <a:pt x="2334" y="125"/>
                </a:lnTo>
                <a:lnTo>
                  <a:pt x="2334" y="43"/>
                </a:lnTo>
                <a:close/>
                <a:moveTo>
                  <a:pt x="2365" y="100"/>
                </a:moveTo>
                <a:lnTo>
                  <a:pt x="2365" y="100"/>
                </a:lnTo>
                <a:lnTo>
                  <a:pt x="2379" y="100"/>
                </a:lnTo>
                <a:lnTo>
                  <a:pt x="2380" y="103"/>
                </a:lnTo>
                <a:lnTo>
                  <a:pt x="2382" y="107"/>
                </a:lnTo>
                <a:lnTo>
                  <a:pt x="2385" y="110"/>
                </a:lnTo>
                <a:lnTo>
                  <a:pt x="2387" y="113"/>
                </a:lnTo>
                <a:lnTo>
                  <a:pt x="2394" y="115"/>
                </a:lnTo>
                <a:lnTo>
                  <a:pt x="2402" y="115"/>
                </a:lnTo>
                <a:lnTo>
                  <a:pt x="2411" y="115"/>
                </a:lnTo>
                <a:lnTo>
                  <a:pt x="2415" y="112"/>
                </a:lnTo>
                <a:lnTo>
                  <a:pt x="2418" y="110"/>
                </a:lnTo>
                <a:lnTo>
                  <a:pt x="2419" y="108"/>
                </a:lnTo>
                <a:lnTo>
                  <a:pt x="2420" y="106"/>
                </a:lnTo>
                <a:lnTo>
                  <a:pt x="2420" y="102"/>
                </a:lnTo>
                <a:lnTo>
                  <a:pt x="2420" y="100"/>
                </a:lnTo>
                <a:lnTo>
                  <a:pt x="2419" y="97"/>
                </a:lnTo>
                <a:lnTo>
                  <a:pt x="2418" y="95"/>
                </a:lnTo>
                <a:lnTo>
                  <a:pt x="2415" y="94"/>
                </a:lnTo>
                <a:lnTo>
                  <a:pt x="2408" y="90"/>
                </a:lnTo>
                <a:lnTo>
                  <a:pt x="2399" y="88"/>
                </a:lnTo>
                <a:lnTo>
                  <a:pt x="2387" y="86"/>
                </a:lnTo>
                <a:lnTo>
                  <a:pt x="2378" y="82"/>
                </a:lnTo>
                <a:lnTo>
                  <a:pt x="2374" y="78"/>
                </a:lnTo>
                <a:lnTo>
                  <a:pt x="2370" y="75"/>
                </a:lnTo>
                <a:lnTo>
                  <a:pt x="2369" y="70"/>
                </a:lnTo>
                <a:lnTo>
                  <a:pt x="2368" y="64"/>
                </a:lnTo>
                <a:lnTo>
                  <a:pt x="2369" y="58"/>
                </a:lnTo>
                <a:lnTo>
                  <a:pt x="2370" y="55"/>
                </a:lnTo>
                <a:lnTo>
                  <a:pt x="2373" y="50"/>
                </a:lnTo>
                <a:lnTo>
                  <a:pt x="2376" y="48"/>
                </a:lnTo>
                <a:lnTo>
                  <a:pt x="2381" y="44"/>
                </a:lnTo>
                <a:lnTo>
                  <a:pt x="2386" y="43"/>
                </a:lnTo>
                <a:lnTo>
                  <a:pt x="2392" y="42"/>
                </a:lnTo>
                <a:lnTo>
                  <a:pt x="2399" y="41"/>
                </a:lnTo>
                <a:lnTo>
                  <a:pt x="2406" y="42"/>
                </a:lnTo>
                <a:lnTo>
                  <a:pt x="2412" y="43"/>
                </a:lnTo>
                <a:lnTo>
                  <a:pt x="2418" y="44"/>
                </a:lnTo>
                <a:lnTo>
                  <a:pt x="2421" y="48"/>
                </a:lnTo>
                <a:lnTo>
                  <a:pt x="2425" y="51"/>
                </a:lnTo>
                <a:lnTo>
                  <a:pt x="2429" y="55"/>
                </a:lnTo>
                <a:lnTo>
                  <a:pt x="2430" y="59"/>
                </a:lnTo>
                <a:lnTo>
                  <a:pt x="2431" y="64"/>
                </a:lnTo>
                <a:lnTo>
                  <a:pt x="2417" y="64"/>
                </a:lnTo>
                <a:lnTo>
                  <a:pt x="2415" y="59"/>
                </a:lnTo>
                <a:lnTo>
                  <a:pt x="2412" y="55"/>
                </a:lnTo>
                <a:lnTo>
                  <a:pt x="2406" y="52"/>
                </a:lnTo>
                <a:lnTo>
                  <a:pt x="2398" y="51"/>
                </a:lnTo>
                <a:lnTo>
                  <a:pt x="2391" y="52"/>
                </a:lnTo>
                <a:lnTo>
                  <a:pt x="2386" y="55"/>
                </a:lnTo>
                <a:lnTo>
                  <a:pt x="2384" y="58"/>
                </a:lnTo>
                <a:lnTo>
                  <a:pt x="2382" y="63"/>
                </a:lnTo>
                <a:lnTo>
                  <a:pt x="2382" y="65"/>
                </a:lnTo>
                <a:lnTo>
                  <a:pt x="2384" y="68"/>
                </a:lnTo>
                <a:lnTo>
                  <a:pt x="2386" y="70"/>
                </a:lnTo>
                <a:lnTo>
                  <a:pt x="2388" y="71"/>
                </a:lnTo>
                <a:lnTo>
                  <a:pt x="2395" y="74"/>
                </a:lnTo>
                <a:lnTo>
                  <a:pt x="2404" y="76"/>
                </a:lnTo>
                <a:lnTo>
                  <a:pt x="2415" y="78"/>
                </a:lnTo>
                <a:lnTo>
                  <a:pt x="2425" y="83"/>
                </a:lnTo>
                <a:lnTo>
                  <a:pt x="2430" y="87"/>
                </a:lnTo>
                <a:lnTo>
                  <a:pt x="2432" y="90"/>
                </a:lnTo>
                <a:lnTo>
                  <a:pt x="2434" y="95"/>
                </a:lnTo>
                <a:lnTo>
                  <a:pt x="2434" y="102"/>
                </a:lnTo>
                <a:lnTo>
                  <a:pt x="2434" y="108"/>
                </a:lnTo>
                <a:lnTo>
                  <a:pt x="2432" y="113"/>
                </a:lnTo>
                <a:lnTo>
                  <a:pt x="2430" y="118"/>
                </a:lnTo>
                <a:lnTo>
                  <a:pt x="2425" y="121"/>
                </a:lnTo>
                <a:lnTo>
                  <a:pt x="2420" y="123"/>
                </a:lnTo>
                <a:lnTo>
                  <a:pt x="2415" y="126"/>
                </a:lnTo>
                <a:lnTo>
                  <a:pt x="2408" y="127"/>
                </a:lnTo>
                <a:lnTo>
                  <a:pt x="2401" y="127"/>
                </a:lnTo>
                <a:lnTo>
                  <a:pt x="2394" y="127"/>
                </a:lnTo>
                <a:lnTo>
                  <a:pt x="2387" y="125"/>
                </a:lnTo>
                <a:lnTo>
                  <a:pt x="2380" y="123"/>
                </a:lnTo>
                <a:lnTo>
                  <a:pt x="2375" y="120"/>
                </a:lnTo>
                <a:lnTo>
                  <a:pt x="2372" y="116"/>
                </a:lnTo>
                <a:lnTo>
                  <a:pt x="2368" y="112"/>
                </a:lnTo>
                <a:lnTo>
                  <a:pt x="2366" y="106"/>
                </a:lnTo>
                <a:lnTo>
                  <a:pt x="2365" y="100"/>
                </a:lnTo>
                <a:close/>
                <a:moveTo>
                  <a:pt x="1692" y="164"/>
                </a:moveTo>
                <a:lnTo>
                  <a:pt x="1692" y="164"/>
                </a:lnTo>
                <a:lnTo>
                  <a:pt x="1733" y="164"/>
                </a:lnTo>
                <a:lnTo>
                  <a:pt x="1745" y="165"/>
                </a:lnTo>
                <a:lnTo>
                  <a:pt x="1756" y="168"/>
                </a:lnTo>
                <a:lnTo>
                  <a:pt x="1764" y="173"/>
                </a:lnTo>
                <a:lnTo>
                  <a:pt x="1771" y="179"/>
                </a:lnTo>
                <a:lnTo>
                  <a:pt x="1777" y="187"/>
                </a:lnTo>
                <a:lnTo>
                  <a:pt x="1781" y="198"/>
                </a:lnTo>
                <a:lnTo>
                  <a:pt x="1783" y="209"/>
                </a:lnTo>
                <a:lnTo>
                  <a:pt x="1784" y="221"/>
                </a:lnTo>
                <a:lnTo>
                  <a:pt x="1783" y="234"/>
                </a:lnTo>
                <a:lnTo>
                  <a:pt x="1781" y="244"/>
                </a:lnTo>
                <a:lnTo>
                  <a:pt x="1777" y="254"/>
                </a:lnTo>
                <a:lnTo>
                  <a:pt x="1771" y="262"/>
                </a:lnTo>
                <a:lnTo>
                  <a:pt x="1764" y="268"/>
                </a:lnTo>
                <a:lnTo>
                  <a:pt x="1755" y="274"/>
                </a:lnTo>
                <a:lnTo>
                  <a:pt x="1744" y="276"/>
                </a:lnTo>
                <a:lnTo>
                  <a:pt x="1732" y="277"/>
                </a:lnTo>
                <a:lnTo>
                  <a:pt x="1692" y="277"/>
                </a:lnTo>
                <a:lnTo>
                  <a:pt x="1692" y="164"/>
                </a:lnTo>
                <a:close/>
                <a:moveTo>
                  <a:pt x="1732" y="263"/>
                </a:moveTo>
                <a:lnTo>
                  <a:pt x="1732" y="263"/>
                </a:lnTo>
                <a:lnTo>
                  <a:pt x="1740" y="263"/>
                </a:lnTo>
                <a:lnTo>
                  <a:pt x="1749" y="261"/>
                </a:lnTo>
                <a:lnTo>
                  <a:pt x="1755" y="257"/>
                </a:lnTo>
                <a:lnTo>
                  <a:pt x="1759" y="253"/>
                </a:lnTo>
                <a:lnTo>
                  <a:pt x="1763" y="245"/>
                </a:lnTo>
                <a:lnTo>
                  <a:pt x="1767" y="238"/>
                </a:lnTo>
                <a:lnTo>
                  <a:pt x="1768" y="230"/>
                </a:lnTo>
                <a:lnTo>
                  <a:pt x="1768" y="221"/>
                </a:lnTo>
                <a:lnTo>
                  <a:pt x="1768" y="211"/>
                </a:lnTo>
                <a:lnTo>
                  <a:pt x="1767" y="203"/>
                </a:lnTo>
                <a:lnTo>
                  <a:pt x="1764" y="196"/>
                </a:lnTo>
                <a:lnTo>
                  <a:pt x="1761" y="190"/>
                </a:lnTo>
                <a:lnTo>
                  <a:pt x="1755" y="184"/>
                </a:lnTo>
                <a:lnTo>
                  <a:pt x="1749" y="180"/>
                </a:lnTo>
                <a:lnTo>
                  <a:pt x="1742" y="178"/>
                </a:lnTo>
                <a:lnTo>
                  <a:pt x="1732" y="177"/>
                </a:lnTo>
                <a:lnTo>
                  <a:pt x="1707" y="177"/>
                </a:lnTo>
                <a:lnTo>
                  <a:pt x="1707" y="263"/>
                </a:lnTo>
                <a:lnTo>
                  <a:pt x="1732" y="263"/>
                </a:lnTo>
                <a:close/>
                <a:moveTo>
                  <a:pt x="1820" y="172"/>
                </a:moveTo>
                <a:lnTo>
                  <a:pt x="1820" y="172"/>
                </a:lnTo>
                <a:lnTo>
                  <a:pt x="1820" y="176"/>
                </a:lnTo>
                <a:lnTo>
                  <a:pt x="1817" y="179"/>
                </a:lnTo>
                <a:lnTo>
                  <a:pt x="1815" y="180"/>
                </a:lnTo>
                <a:lnTo>
                  <a:pt x="1812" y="181"/>
                </a:lnTo>
                <a:lnTo>
                  <a:pt x="1808" y="180"/>
                </a:lnTo>
                <a:lnTo>
                  <a:pt x="1806" y="179"/>
                </a:lnTo>
                <a:lnTo>
                  <a:pt x="1803" y="176"/>
                </a:lnTo>
                <a:lnTo>
                  <a:pt x="1803" y="172"/>
                </a:lnTo>
                <a:lnTo>
                  <a:pt x="1803" y="168"/>
                </a:lnTo>
                <a:lnTo>
                  <a:pt x="1806" y="166"/>
                </a:lnTo>
                <a:lnTo>
                  <a:pt x="1808" y="164"/>
                </a:lnTo>
                <a:lnTo>
                  <a:pt x="1812" y="164"/>
                </a:lnTo>
                <a:lnTo>
                  <a:pt x="1815" y="164"/>
                </a:lnTo>
                <a:lnTo>
                  <a:pt x="1817" y="166"/>
                </a:lnTo>
                <a:lnTo>
                  <a:pt x="1820" y="168"/>
                </a:lnTo>
                <a:lnTo>
                  <a:pt x="1820" y="172"/>
                </a:lnTo>
                <a:close/>
                <a:moveTo>
                  <a:pt x="1804" y="196"/>
                </a:moveTo>
                <a:lnTo>
                  <a:pt x="1804" y="196"/>
                </a:lnTo>
                <a:lnTo>
                  <a:pt x="1819" y="196"/>
                </a:lnTo>
                <a:lnTo>
                  <a:pt x="1819" y="277"/>
                </a:lnTo>
                <a:lnTo>
                  <a:pt x="1804" y="277"/>
                </a:lnTo>
                <a:lnTo>
                  <a:pt x="1804" y="196"/>
                </a:lnTo>
                <a:close/>
                <a:moveTo>
                  <a:pt x="1832" y="196"/>
                </a:moveTo>
                <a:lnTo>
                  <a:pt x="1832" y="196"/>
                </a:lnTo>
                <a:lnTo>
                  <a:pt x="1847" y="196"/>
                </a:lnTo>
                <a:lnTo>
                  <a:pt x="1861" y="240"/>
                </a:lnTo>
                <a:lnTo>
                  <a:pt x="1867" y="257"/>
                </a:lnTo>
                <a:lnTo>
                  <a:pt x="1870" y="266"/>
                </a:lnTo>
                <a:lnTo>
                  <a:pt x="1870" y="266"/>
                </a:lnTo>
                <a:lnTo>
                  <a:pt x="1872" y="257"/>
                </a:lnTo>
                <a:lnTo>
                  <a:pt x="1877" y="240"/>
                </a:lnTo>
                <a:lnTo>
                  <a:pt x="1891" y="196"/>
                </a:lnTo>
                <a:lnTo>
                  <a:pt x="1906" y="196"/>
                </a:lnTo>
                <a:lnTo>
                  <a:pt x="1877" y="277"/>
                </a:lnTo>
                <a:lnTo>
                  <a:pt x="1860" y="277"/>
                </a:lnTo>
                <a:lnTo>
                  <a:pt x="1832" y="196"/>
                </a:lnTo>
                <a:close/>
                <a:moveTo>
                  <a:pt x="1935" y="172"/>
                </a:moveTo>
                <a:lnTo>
                  <a:pt x="1935" y="172"/>
                </a:lnTo>
                <a:lnTo>
                  <a:pt x="1935" y="176"/>
                </a:lnTo>
                <a:lnTo>
                  <a:pt x="1932" y="179"/>
                </a:lnTo>
                <a:lnTo>
                  <a:pt x="1930" y="180"/>
                </a:lnTo>
                <a:lnTo>
                  <a:pt x="1926" y="181"/>
                </a:lnTo>
                <a:lnTo>
                  <a:pt x="1923" y="180"/>
                </a:lnTo>
                <a:lnTo>
                  <a:pt x="1920" y="179"/>
                </a:lnTo>
                <a:lnTo>
                  <a:pt x="1918" y="176"/>
                </a:lnTo>
                <a:lnTo>
                  <a:pt x="1918" y="172"/>
                </a:lnTo>
                <a:lnTo>
                  <a:pt x="1918" y="168"/>
                </a:lnTo>
                <a:lnTo>
                  <a:pt x="1920" y="166"/>
                </a:lnTo>
                <a:lnTo>
                  <a:pt x="1923" y="164"/>
                </a:lnTo>
                <a:lnTo>
                  <a:pt x="1926" y="164"/>
                </a:lnTo>
                <a:lnTo>
                  <a:pt x="1930" y="164"/>
                </a:lnTo>
                <a:lnTo>
                  <a:pt x="1932" y="166"/>
                </a:lnTo>
                <a:lnTo>
                  <a:pt x="1935" y="168"/>
                </a:lnTo>
                <a:lnTo>
                  <a:pt x="1935" y="172"/>
                </a:lnTo>
                <a:close/>
                <a:moveTo>
                  <a:pt x="1919" y="196"/>
                </a:moveTo>
                <a:lnTo>
                  <a:pt x="1919" y="196"/>
                </a:lnTo>
                <a:lnTo>
                  <a:pt x="1934" y="196"/>
                </a:lnTo>
                <a:lnTo>
                  <a:pt x="1934" y="277"/>
                </a:lnTo>
                <a:lnTo>
                  <a:pt x="1919" y="277"/>
                </a:lnTo>
                <a:lnTo>
                  <a:pt x="1919" y="196"/>
                </a:lnTo>
                <a:close/>
                <a:moveTo>
                  <a:pt x="1951" y="253"/>
                </a:moveTo>
                <a:lnTo>
                  <a:pt x="1951" y="253"/>
                </a:lnTo>
                <a:lnTo>
                  <a:pt x="1965" y="253"/>
                </a:lnTo>
                <a:lnTo>
                  <a:pt x="1967" y="256"/>
                </a:lnTo>
                <a:lnTo>
                  <a:pt x="1968" y="260"/>
                </a:lnTo>
                <a:lnTo>
                  <a:pt x="1970" y="263"/>
                </a:lnTo>
                <a:lnTo>
                  <a:pt x="1973" y="264"/>
                </a:lnTo>
                <a:lnTo>
                  <a:pt x="1980" y="268"/>
                </a:lnTo>
                <a:lnTo>
                  <a:pt x="1988" y="268"/>
                </a:lnTo>
                <a:lnTo>
                  <a:pt x="1996" y="267"/>
                </a:lnTo>
                <a:lnTo>
                  <a:pt x="2002" y="264"/>
                </a:lnTo>
                <a:lnTo>
                  <a:pt x="2003" y="263"/>
                </a:lnTo>
                <a:lnTo>
                  <a:pt x="2006" y="261"/>
                </a:lnTo>
                <a:lnTo>
                  <a:pt x="2006" y="258"/>
                </a:lnTo>
                <a:lnTo>
                  <a:pt x="2007" y="255"/>
                </a:lnTo>
                <a:lnTo>
                  <a:pt x="2006" y="253"/>
                </a:lnTo>
                <a:lnTo>
                  <a:pt x="2005" y="250"/>
                </a:lnTo>
                <a:lnTo>
                  <a:pt x="2003" y="248"/>
                </a:lnTo>
                <a:lnTo>
                  <a:pt x="2001" y="245"/>
                </a:lnTo>
                <a:lnTo>
                  <a:pt x="1994" y="243"/>
                </a:lnTo>
                <a:lnTo>
                  <a:pt x="1984" y="241"/>
                </a:lnTo>
                <a:lnTo>
                  <a:pt x="1974" y="238"/>
                </a:lnTo>
                <a:lnTo>
                  <a:pt x="1964" y="235"/>
                </a:lnTo>
                <a:lnTo>
                  <a:pt x="1960" y="231"/>
                </a:lnTo>
                <a:lnTo>
                  <a:pt x="1957" y="228"/>
                </a:lnTo>
                <a:lnTo>
                  <a:pt x="1955" y="223"/>
                </a:lnTo>
                <a:lnTo>
                  <a:pt x="1955" y="216"/>
                </a:lnTo>
                <a:lnTo>
                  <a:pt x="1955" y="211"/>
                </a:lnTo>
                <a:lnTo>
                  <a:pt x="1956" y="206"/>
                </a:lnTo>
                <a:lnTo>
                  <a:pt x="1960" y="203"/>
                </a:lnTo>
                <a:lnTo>
                  <a:pt x="1962" y="199"/>
                </a:lnTo>
                <a:lnTo>
                  <a:pt x="1967" y="197"/>
                </a:lnTo>
                <a:lnTo>
                  <a:pt x="1971" y="196"/>
                </a:lnTo>
                <a:lnTo>
                  <a:pt x="1977" y="193"/>
                </a:lnTo>
                <a:lnTo>
                  <a:pt x="1984" y="193"/>
                </a:lnTo>
                <a:lnTo>
                  <a:pt x="1992" y="195"/>
                </a:lnTo>
                <a:lnTo>
                  <a:pt x="1999" y="196"/>
                </a:lnTo>
                <a:lnTo>
                  <a:pt x="2003" y="197"/>
                </a:lnTo>
                <a:lnTo>
                  <a:pt x="2008" y="200"/>
                </a:lnTo>
                <a:lnTo>
                  <a:pt x="2012" y="204"/>
                </a:lnTo>
                <a:lnTo>
                  <a:pt x="2014" y="208"/>
                </a:lnTo>
                <a:lnTo>
                  <a:pt x="2016" y="212"/>
                </a:lnTo>
                <a:lnTo>
                  <a:pt x="2018" y="217"/>
                </a:lnTo>
                <a:lnTo>
                  <a:pt x="2003" y="217"/>
                </a:lnTo>
                <a:lnTo>
                  <a:pt x="2001" y="212"/>
                </a:lnTo>
                <a:lnTo>
                  <a:pt x="1997" y="208"/>
                </a:lnTo>
                <a:lnTo>
                  <a:pt x="1992" y="205"/>
                </a:lnTo>
                <a:lnTo>
                  <a:pt x="1984" y="204"/>
                </a:lnTo>
                <a:lnTo>
                  <a:pt x="1977" y="205"/>
                </a:lnTo>
                <a:lnTo>
                  <a:pt x="1973" y="208"/>
                </a:lnTo>
                <a:lnTo>
                  <a:pt x="1969" y="211"/>
                </a:lnTo>
                <a:lnTo>
                  <a:pt x="1968" y="216"/>
                </a:lnTo>
                <a:lnTo>
                  <a:pt x="1969" y="218"/>
                </a:lnTo>
                <a:lnTo>
                  <a:pt x="1970" y="221"/>
                </a:lnTo>
                <a:lnTo>
                  <a:pt x="1971" y="223"/>
                </a:lnTo>
                <a:lnTo>
                  <a:pt x="1974" y="224"/>
                </a:lnTo>
                <a:lnTo>
                  <a:pt x="1981" y="227"/>
                </a:lnTo>
                <a:lnTo>
                  <a:pt x="1990" y="229"/>
                </a:lnTo>
                <a:lnTo>
                  <a:pt x="2002" y="231"/>
                </a:lnTo>
                <a:lnTo>
                  <a:pt x="2012" y="236"/>
                </a:lnTo>
                <a:lnTo>
                  <a:pt x="2015" y="238"/>
                </a:lnTo>
                <a:lnTo>
                  <a:pt x="2018" y="243"/>
                </a:lnTo>
                <a:lnTo>
                  <a:pt x="2020" y="248"/>
                </a:lnTo>
                <a:lnTo>
                  <a:pt x="2021" y="255"/>
                </a:lnTo>
                <a:lnTo>
                  <a:pt x="2020" y="261"/>
                </a:lnTo>
                <a:lnTo>
                  <a:pt x="2018" y="266"/>
                </a:lnTo>
                <a:lnTo>
                  <a:pt x="2015" y="270"/>
                </a:lnTo>
                <a:lnTo>
                  <a:pt x="2012" y="274"/>
                </a:lnTo>
                <a:lnTo>
                  <a:pt x="2007" y="276"/>
                </a:lnTo>
                <a:lnTo>
                  <a:pt x="2001" y="279"/>
                </a:lnTo>
                <a:lnTo>
                  <a:pt x="1995" y="280"/>
                </a:lnTo>
                <a:lnTo>
                  <a:pt x="1988" y="280"/>
                </a:lnTo>
                <a:lnTo>
                  <a:pt x="1980" y="280"/>
                </a:lnTo>
                <a:lnTo>
                  <a:pt x="1973" y="277"/>
                </a:lnTo>
                <a:lnTo>
                  <a:pt x="1967" y="275"/>
                </a:lnTo>
                <a:lnTo>
                  <a:pt x="1961" y="273"/>
                </a:lnTo>
                <a:lnTo>
                  <a:pt x="1957" y="268"/>
                </a:lnTo>
                <a:lnTo>
                  <a:pt x="1954" y="263"/>
                </a:lnTo>
                <a:lnTo>
                  <a:pt x="1952" y="258"/>
                </a:lnTo>
                <a:lnTo>
                  <a:pt x="1951" y="253"/>
                </a:lnTo>
                <a:close/>
                <a:moveTo>
                  <a:pt x="2054" y="172"/>
                </a:moveTo>
                <a:lnTo>
                  <a:pt x="2054" y="172"/>
                </a:lnTo>
                <a:lnTo>
                  <a:pt x="2054" y="176"/>
                </a:lnTo>
                <a:lnTo>
                  <a:pt x="2052" y="179"/>
                </a:lnTo>
                <a:lnTo>
                  <a:pt x="2050" y="180"/>
                </a:lnTo>
                <a:lnTo>
                  <a:pt x="2046" y="181"/>
                </a:lnTo>
                <a:lnTo>
                  <a:pt x="2042" y="180"/>
                </a:lnTo>
                <a:lnTo>
                  <a:pt x="2040" y="179"/>
                </a:lnTo>
                <a:lnTo>
                  <a:pt x="2038" y="176"/>
                </a:lnTo>
                <a:lnTo>
                  <a:pt x="2038" y="172"/>
                </a:lnTo>
                <a:lnTo>
                  <a:pt x="2038" y="168"/>
                </a:lnTo>
                <a:lnTo>
                  <a:pt x="2040" y="166"/>
                </a:lnTo>
                <a:lnTo>
                  <a:pt x="2042" y="164"/>
                </a:lnTo>
                <a:lnTo>
                  <a:pt x="2046" y="164"/>
                </a:lnTo>
                <a:lnTo>
                  <a:pt x="2050" y="164"/>
                </a:lnTo>
                <a:lnTo>
                  <a:pt x="2052" y="166"/>
                </a:lnTo>
                <a:lnTo>
                  <a:pt x="2054" y="168"/>
                </a:lnTo>
                <a:lnTo>
                  <a:pt x="2054" y="172"/>
                </a:lnTo>
                <a:close/>
                <a:moveTo>
                  <a:pt x="2039" y="196"/>
                </a:moveTo>
                <a:lnTo>
                  <a:pt x="2039" y="196"/>
                </a:lnTo>
                <a:lnTo>
                  <a:pt x="2053" y="196"/>
                </a:lnTo>
                <a:lnTo>
                  <a:pt x="2053" y="277"/>
                </a:lnTo>
                <a:lnTo>
                  <a:pt x="2039" y="277"/>
                </a:lnTo>
                <a:lnTo>
                  <a:pt x="2039" y="196"/>
                </a:lnTo>
                <a:close/>
                <a:moveTo>
                  <a:pt x="2071" y="236"/>
                </a:moveTo>
                <a:lnTo>
                  <a:pt x="2071" y="236"/>
                </a:lnTo>
                <a:lnTo>
                  <a:pt x="2072" y="228"/>
                </a:lnTo>
                <a:lnTo>
                  <a:pt x="2074" y="219"/>
                </a:lnTo>
                <a:lnTo>
                  <a:pt x="2078" y="212"/>
                </a:lnTo>
                <a:lnTo>
                  <a:pt x="2082" y="206"/>
                </a:lnTo>
                <a:lnTo>
                  <a:pt x="2087" y="200"/>
                </a:lnTo>
                <a:lnTo>
                  <a:pt x="2095" y="197"/>
                </a:lnTo>
                <a:lnTo>
                  <a:pt x="2103" y="195"/>
                </a:lnTo>
                <a:lnTo>
                  <a:pt x="2111" y="193"/>
                </a:lnTo>
                <a:lnTo>
                  <a:pt x="2121" y="195"/>
                </a:lnTo>
                <a:lnTo>
                  <a:pt x="2128" y="197"/>
                </a:lnTo>
                <a:lnTo>
                  <a:pt x="2135" y="200"/>
                </a:lnTo>
                <a:lnTo>
                  <a:pt x="2141" y="206"/>
                </a:lnTo>
                <a:lnTo>
                  <a:pt x="2145" y="212"/>
                </a:lnTo>
                <a:lnTo>
                  <a:pt x="2149" y="219"/>
                </a:lnTo>
                <a:lnTo>
                  <a:pt x="2150" y="228"/>
                </a:lnTo>
                <a:lnTo>
                  <a:pt x="2151" y="236"/>
                </a:lnTo>
                <a:lnTo>
                  <a:pt x="2150" y="245"/>
                </a:lnTo>
                <a:lnTo>
                  <a:pt x="2149" y="254"/>
                </a:lnTo>
                <a:lnTo>
                  <a:pt x="2145" y="261"/>
                </a:lnTo>
                <a:lnTo>
                  <a:pt x="2141" y="267"/>
                </a:lnTo>
                <a:lnTo>
                  <a:pt x="2135" y="273"/>
                </a:lnTo>
                <a:lnTo>
                  <a:pt x="2128" y="276"/>
                </a:lnTo>
                <a:lnTo>
                  <a:pt x="2121" y="279"/>
                </a:lnTo>
                <a:lnTo>
                  <a:pt x="2111" y="280"/>
                </a:lnTo>
                <a:lnTo>
                  <a:pt x="2103" y="279"/>
                </a:lnTo>
                <a:lnTo>
                  <a:pt x="2095" y="276"/>
                </a:lnTo>
                <a:lnTo>
                  <a:pt x="2087" y="273"/>
                </a:lnTo>
                <a:lnTo>
                  <a:pt x="2082" y="267"/>
                </a:lnTo>
                <a:lnTo>
                  <a:pt x="2078" y="261"/>
                </a:lnTo>
                <a:lnTo>
                  <a:pt x="2074" y="254"/>
                </a:lnTo>
                <a:lnTo>
                  <a:pt x="2072" y="245"/>
                </a:lnTo>
                <a:lnTo>
                  <a:pt x="2071" y="236"/>
                </a:lnTo>
                <a:close/>
                <a:moveTo>
                  <a:pt x="2137" y="236"/>
                </a:moveTo>
                <a:lnTo>
                  <a:pt x="2137" y="236"/>
                </a:lnTo>
                <a:lnTo>
                  <a:pt x="2136" y="230"/>
                </a:lnTo>
                <a:lnTo>
                  <a:pt x="2135" y="224"/>
                </a:lnTo>
                <a:lnTo>
                  <a:pt x="2134" y="218"/>
                </a:lnTo>
                <a:lnTo>
                  <a:pt x="2130" y="213"/>
                </a:lnTo>
                <a:lnTo>
                  <a:pt x="2127" y="210"/>
                </a:lnTo>
                <a:lnTo>
                  <a:pt x="2122" y="208"/>
                </a:lnTo>
                <a:lnTo>
                  <a:pt x="2117" y="205"/>
                </a:lnTo>
                <a:lnTo>
                  <a:pt x="2111" y="205"/>
                </a:lnTo>
                <a:lnTo>
                  <a:pt x="2105" y="205"/>
                </a:lnTo>
                <a:lnTo>
                  <a:pt x="2100" y="208"/>
                </a:lnTo>
                <a:lnTo>
                  <a:pt x="2096" y="210"/>
                </a:lnTo>
                <a:lnTo>
                  <a:pt x="2092" y="213"/>
                </a:lnTo>
                <a:lnTo>
                  <a:pt x="2090" y="218"/>
                </a:lnTo>
                <a:lnTo>
                  <a:pt x="2087" y="224"/>
                </a:lnTo>
                <a:lnTo>
                  <a:pt x="2086" y="230"/>
                </a:lnTo>
                <a:lnTo>
                  <a:pt x="2086" y="236"/>
                </a:lnTo>
                <a:lnTo>
                  <a:pt x="2086" y="243"/>
                </a:lnTo>
                <a:lnTo>
                  <a:pt x="2087" y="249"/>
                </a:lnTo>
                <a:lnTo>
                  <a:pt x="2090" y="254"/>
                </a:lnTo>
                <a:lnTo>
                  <a:pt x="2092" y="258"/>
                </a:lnTo>
                <a:lnTo>
                  <a:pt x="2096" y="263"/>
                </a:lnTo>
                <a:lnTo>
                  <a:pt x="2100" y="266"/>
                </a:lnTo>
                <a:lnTo>
                  <a:pt x="2105" y="268"/>
                </a:lnTo>
                <a:lnTo>
                  <a:pt x="2111" y="268"/>
                </a:lnTo>
                <a:lnTo>
                  <a:pt x="2117" y="268"/>
                </a:lnTo>
                <a:lnTo>
                  <a:pt x="2122" y="266"/>
                </a:lnTo>
                <a:lnTo>
                  <a:pt x="2127" y="263"/>
                </a:lnTo>
                <a:lnTo>
                  <a:pt x="2130" y="258"/>
                </a:lnTo>
                <a:lnTo>
                  <a:pt x="2134" y="254"/>
                </a:lnTo>
                <a:lnTo>
                  <a:pt x="2135" y="249"/>
                </a:lnTo>
                <a:lnTo>
                  <a:pt x="2136" y="243"/>
                </a:lnTo>
                <a:lnTo>
                  <a:pt x="2137" y="236"/>
                </a:lnTo>
                <a:close/>
                <a:moveTo>
                  <a:pt x="2183" y="277"/>
                </a:moveTo>
                <a:lnTo>
                  <a:pt x="2183" y="277"/>
                </a:lnTo>
                <a:lnTo>
                  <a:pt x="2169" y="277"/>
                </a:lnTo>
                <a:lnTo>
                  <a:pt x="2169" y="196"/>
                </a:lnTo>
                <a:lnTo>
                  <a:pt x="2183" y="196"/>
                </a:lnTo>
                <a:lnTo>
                  <a:pt x="2183" y="206"/>
                </a:lnTo>
                <a:lnTo>
                  <a:pt x="2183" y="206"/>
                </a:lnTo>
                <a:lnTo>
                  <a:pt x="2189" y="202"/>
                </a:lnTo>
                <a:lnTo>
                  <a:pt x="2194" y="197"/>
                </a:lnTo>
                <a:lnTo>
                  <a:pt x="2201" y="195"/>
                </a:lnTo>
                <a:lnTo>
                  <a:pt x="2209" y="193"/>
                </a:lnTo>
                <a:lnTo>
                  <a:pt x="2215" y="193"/>
                </a:lnTo>
                <a:lnTo>
                  <a:pt x="2221" y="196"/>
                </a:lnTo>
                <a:lnTo>
                  <a:pt x="2226" y="197"/>
                </a:lnTo>
                <a:lnTo>
                  <a:pt x="2230" y="200"/>
                </a:lnTo>
                <a:lnTo>
                  <a:pt x="2233" y="204"/>
                </a:lnTo>
                <a:lnTo>
                  <a:pt x="2235" y="209"/>
                </a:lnTo>
                <a:lnTo>
                  <a:pt x="2237" y="213"/>
                </a:lnTo>
                <a:lnTo>
                  <a:pt x="2238" y="221"/>
                </a:lnTo>
                <a:lnTo>
                  <a:pt x="2238" y="277"/>
                </a:lnTo>
                <a:lnTo>
                  <a:pt x="2224" y="277"/>
                </a:lnTo>
                <a:lnTo>
                  <a:pt x="2224" y="222"/>
                </a:lnTo>
                <a:lnTo>
                  <a:pt x="2224" y="218"/>
                </a:lnTo>
                <a:lnTo>
                  <a:pt x="2222" y="215"/>
                </a:lnTo>
                <a:lnTo>
                  <a:pt x="2220" y="212"/>
                </a:lnTo>
                <a:lnTo>
                  <a:pt x="2219" y="210"/>
                </a:lnTo>
                <a:lnTo>
                  <a:pt x="2217" y="208"/>
                </a:lnTo>
                <a:lnTo>
                  <a:pt x="2213" y="206"/>
                </a:lnTo>
                <a:lnTo>
                  <a:pt x="2209" y="205"/>
                </a:lnTo>
                <a:lnTo>
                  <a:pt x="2206" y="205"/>
                </a:lnTo>
                <a:lnTo>
                  <a:pt x="2201" y="205"/>
                </a:lnTo>
                <a:lnTo>
                  <a:pt x="2196" y="206"/>
                </a:lnTo>
                <a:lnTo>
                  <a:pt x="2193" y="209"/>
                </a:lnTo>
                <a:lnTo>
                  <a:pt x="2189" y="211"/>
                </a:lnTo>
                <a:lnTo>
                  <a:pt x="2187" y="215"/>
                </a:lnTo>
                <a:lnTo>
                  <a:pt x="2186" y="218"/>
                </a:lnTo>
                <a:lnTo>
                  <a:pt x="2185" y="223"/>
                </a:lnTo>
                <a:lnTo>
                  <a:pt x="2183" y="228"/>
                </a:lnTo>
                <a:lnTo>
                  <a:pt x="2183" y="277"/>
                </a:lnTo>
                <a:close/>
              </a:path>
            </a:pathLst>
          </a:custGeom>
          <a:solidFill>
            <a:srgbClr val="FEFEFE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64206" tIns="82103" rIns="164206" bIns="82103" numCol="1" anchor="t" anchorCtr="0" compatLnSpc="1">
            <a:prstTxWarp prst="textNoShape">
              <a:avLst/>
            </a:prstTxWarp>
          </a:bodyPr>
          <a:lstStyle/>
          <a:p>
            <a:pPr defTabSz="1322458"/>
            <a:endParaRPr lang="ru-RU" sz="2514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8" name="Заголовок 17">
            <a:extLst>
              <a:ext uri="{FF2B5EF4-FFF2-40B4-BE49-F238E27FC236}">
                <a16:creationId xmlns:a16="http://schemas.microsoft.com/office/drawing/2014/main" id="{EF5526C4-FA94-C54C-BB48-3FE5E24AD09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294" y="167621"/>
            <a:ext cx="3578715" cy="799269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dirty="0"/>
              <a:t>Образец заголовка</a:t>
            </a:r>
          </a:p>
        </p:txBody>
      </p:sp>
      <p:pic>
        <p:nvPicPr>
          <p:cNvPr id="20" name="Рисунок 19">
            <a:extLst>
              <a:ext uri="{FF2B5EF4-FFF2-40B4-BE49-F238E27FC236}">
                <a16:creationId xmlns:a16="http://schemas.microsoft.com/office/drawing/2014/main" id="{080BD6C9-11C1-9F43-AD33-A41D4DF585C5}"/>
              </a:ext>
            </a:extLst>
          </p:cNvPr>
          <p:cNvPicPr>
            <a:picLocks noChangeAspect="1"/>
          </p:cNvPicPr>
          <p:nvPr userDrawn="1"/>
        </p:nvPicPr>
        <p:blipFill>
          <a:blip r:embed="rId19"/>
          <a:stretch>
            <a:fillRect/>
          </a:stretch>
        </p:blipFill>
        <p:spPr>
          <a:xfrm>
            <a:off x="9647588" y="167622"/>
            <a:ext cx="2177026" cy="8589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1932209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9" r:id="rId1"/>
    <p:sldLayoutId id="2147483680" r:id="rId2"/>
    <p:sldLayoutId id="2147483681" r:id="rId3"/>
    <p:sldLayoutId id="2147483682" r:id="rId4"/>
    <p:sldLayoutId id="2147483683" r:id="rId5"/>
    <p:sldLayoutId id="2147483684" r:id="rId6"/>
    <p:sldLayoutId id="2147483685" r:id="rId7"/>
    <p:sldLayoutId id="2147483686" r:id="rId8"/>
    <p:sldLayoutId id="2147483687" r:id="rId9"/>
    <p:sldLayoutId id="2147483688" r:id="rId10"/>
    <p:sldLayoutId id="2147483689" r:id="rId11"/>
  </p:sldLayoutIdLst>
  <p:txStyles>
    <p:titleStyle>
      <a:lvl1pPr algn="l" defTabSz="914408" rtl="0" eaLnBrk="1" latinLnBrk="0" hangingPunct="1">
        <a:lnSpc>
          <a:spcPct val="90000"/>
        </a:lnSpc>
        <a:spcBef>
          <a:spcPct val="0"/>
        </a:spcBef>
        <a:buNone/>
        <a:defRPr sz="2507" b="1" kern="120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228602" indent="-228602" algn="l" defTabSz="914408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755" kern="1200">
          <a:solidFill>
            <a:schemeClr val="tx1"/>
          </a:solidFill>
          <a:latin typeface="+mn-lt"/>
          <a:ea typeface="+mn-ea"/>
          <a:cs typeface="+mn-cs"/>
        </a:defRPr>
      </a:lvl1pPr>
      <a:lvl2pPr marL="685806" indent="-228602" algn="l" defTabSz="91440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10" indent="-228602" algn="l" defTabSz="91440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13" indent="-228602" algn="l" defTabSz="91440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16" indent="-228602" algn="l" defTabSz="91440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20" indent="-228602" algn="l" defTabSz="91440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24" indent="-228602" algn="l" defTabSz="91440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28" indent="-228602" algn="l" defTabSz="91440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31" indent="-228602" algn="l" defTabSz="91440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4" algn="l" defTabSz="91440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8" algn="l" defTabSz="91440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12" algn="l" defTabSz="91440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15" algn="l" defTabSz="91440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18" algn="l" defTabSz="91440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22" algn="l" defTabSz="91440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26" algn="l" defTabSz="91440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29" algn="l" defTabSz="91440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402">
          <p15:clr>
            <a:srgbClr val="F26B43"/>
          </p15:clr>
        </p15:guide>
        <p15:guide id="2" orient="horz" pos="45">
          <p15:clr>
            <a:srgbClr val="F26B43"/>
          </p15:clr>
        </p15:guide>
        <p15:guide id="3" orient="horz" pos="3062">
          <p15:clr>
            <a:srgbClr val="F26B43"/>
          </p15:clr>
        </p15:guide>
        <p15:guide id="4" orient="horz" pos="544">
          <p15:clr>
            <a:srgbClr val="F26B43"/>
          </p15:clr>
        </p15:guide>
        <p15:guide id="5" pos="45">
          <p15:clr>
            <a:srgbClr val="F26B43"/>
          </p15:clr>
        </p15:guide>
        <p15:guide id="6" pos="4808">
          <p15:clr>
            <a:srgbClr val="F26B43"/>
          </p15:clr>
        </p15:guide>
        <p15:guide id="7" pos="2426">
          <p15:clr>
            <a:srgbClr val="F26B43"/>
          </p15:clr>
        </p15:guide>
        <p15:guide id="8" pos="4694">
          <p15:clr>
            <a:srgbClr val="F26B43"/>
          </p15:clr>
        </p15:guide>
        <p15:guide id="9" pos="2517">
          <p15:clr>
            <a:srgbClr val="F26B43"/>
          </p15:clr>
        </p15:guide>
        <p15:guide id="10" pos="4581">
          <p15:clr>
            <a:srgbClr val="F26B43"/>
          </p15:clr>
        </p15:guide>
        <p15:guide id="11" pos="159">
          <p15:clr>
            <a:srgbClr val="F26B43"/>
          </p15:clr>
        </p15:guide>
        <p15:guide id="12" pos="272">
          <p15:clr>
            <a:srgbClr val="F26B43"/>
          </p15:clr>
        </p15:guide>
        <p15:guide id="13" pos="2336">
          <p15:clr>
            <a:srgbClr val="F26B43"/>
          </p15:clr>
        </p15:guide>
        <p15:guide id="15" orient="horz" pos="159">
          <p15:clr>
            <a:srgbClr val="F26B43"/>
          </p15:clr>
        </p15:guide>
        <p15:guide id="16" orient="horz" pos="431">
          <p15:clr>
            <a:srgbClr val="F26B43"/>
          </p15:clr>
        </p15:guide>
        <p15:guide id="17" orient="horz" pos="3311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603376B5-9F89-4F15-828C-D3DBD266404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0B0AEF4-B2FD-4144-982D-CCC70A88BC7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62716C7-C645-4D3D-B8C4-F26101E005D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AF172B7-09AB-4FF1-91AB-0A938626D081}" type="datetimeFigureOut">
              <a:rPr lang="en-US" smtClean="0"/>
              <a:t>5/5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364BF16-CBD0-465F-9367-8F382DD8FED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C3ADB97-B2D9-42EB-9FAA-C7CA1D3AC8E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F0C9E07-A494-419E-921C-53103A3E2D0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491390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1" r:id="rId1"/>
    <p:sldLayoutId id="2147483692" r:id="rId2"/>
    <p:sldLayoutId id="2147483693" r:id="rId3"/>
    <p:sldLayoutId id="2147483694" r:id="rId4"/>
    <p:sldLayoutId id="2147483695" r:id="rId5"/>
    <p:sldLayoutId id="2147483696" r:id="rId6"/>
    <p:sldLayoutId id="2147483697" r:id="rId7"/>
    <p:sldLayoutId id="2147483698" r:id="rId8"/>
    <p:sldLayoutId id="2147483699" r:id="rId9"/>
    <p:sldLayoutId id="2147483700" r:id="rId10"/>
    <p:sldLayoutId id="2147483701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601" y="274640"/>
            <a:ext cx="10972801" cy="1143000"/>
          </a:xfrm>
          <a:prstGeom prst="rect">
            <a:avLst/>
          </a:prstGeom>
        </p:spPr>
        <p:txBody>
          <a:bodyPr vert="horz" lIns="73655" tIns="36827" rIns="73655" bIns="36827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09601" y="1600201"/>
            <a:ext cx="10972801" cy="4525963"/>
          </a:xfrm>
          <a:prstGeom prst="rect">
            <a:avLst/>
          </a:prstGeom>
        </p:spPr>
        <p:txBody>
          <a:bodyPr vert="horz" lIns="73655" tIns="36827" rIns="73655" bIns="36827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609601" y="6356351"/>
            <a:ext cx="2844801" cy="365126"/>
          </a:xfrm>
          <a:prstGeom prst="rect">
            <a:avLst/>
          </a:prstGeom>
        </p:spPr>
        <p:txBody>
          <a:bodyPr vert="horz" lIns="73655" tIns="36827" rIns="73655" bIns="36827" rtlCol="0" anchor="ctr"/>
          <a:lstStyle>
            <a:lvl1pPr algn="l">
              <a:defRPr sz="1276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A64C7A3-041E-4AA7-98AE-2E3237B061DB}" type="datetimeFigureOut">
              <a:rPr lang="ru-RU" smtClean="0"/>
              <a:pPr/>
              <a:t>05.05.202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165602" y="6356351"/>
            <a:ext cx="3860800" cy="365126"/>
          </a:xfrm>
          <a:prstGeom prst="rect">
            <a:avLst/>
          </a:prstGeom>
        </p:spPr>
        <p:txBody>
          <a:bodyPr vert="horz" lIns="73655" tIns="36827" rIns="73655" bIns="36827" rtlCol="0" anchor="ctr"/>
          <a:lstStyle>
            <a:lvl1pPr algn="ctr">
              <a:defRPr sz="1276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737601" y="6356351"/>
            <a:ext cx="2844801" cy="365126"/>
          </a:xfrm>
          <a:prstGeom prst="rect">
            <a:avLst/>
          </a:prstGeom>
        </p:spPr>
        <p:txBody>
          <a:bodyPr vert="horz" lIns="73655" tIns="36827" rIns="73655" bIns="36827" rtlCol="0" anchor="ctr"/>
          <a:lstStyle>
            <a:lvl1pPr algn="r">
              <a:defRPr sz="1276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BA6D803-ADFA-4953-B6EF-9BE1B9331B8C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1097413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3" r:id="rId1"/>
    <p:sldLayoutId id="2147483704" r:id="rId2"/>
    <p:sldLayoutId id="2147483705" r:id="rId3"/>
    <p:sldLayoutId id="2147483706" r:id="rId4"/>
    <p:sldLayoutId id="2147483707" r:id="rId5"/>
    <p:sldLayoutId id="2147483708" r:id="rId6"/>
    <p:sldLayoutId id="2147483709" r:id="rId7"/>
    <p:sldLayoutId id="2147483710" r:id="rId8"/>
    <p:sldLayoutId id="2147483711" r:id="rId9"/>
    <p:sldLayoutId id="2147483712" r:id="rId10"/>
    <p:sldLayoutId id="2147483713" r:id="rId11"/>
  </p:sldLayoutIdLst>
  <p:txStyles>
    <p:titleStyle>
      <a:lvl1pPr algn="ctr" defTabSz="939669" rtl="0" eaLnBrk="1" latinLnBrk="0" hangingPunct="1">
        <a:spcBef>
          <a:spcPct val="0"/>
        </a:spcBef>
        <a:buNone/>
        <a:defRPr sz="4466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52377" indent="-352377" algn="l" defTabSz="939669" rtl="0" eaLnBrk="1" latinLnBrk="0" hangingPunct="1">
        <a:spcBef>
          <a:spcPct val="20000"/>
        </a:spcBef>
        <a:buFont typeface="Arial" pitchFamily="34" charset="0"/>
        <a:buChar char="•"/>
        <a:defRPr sz="3317" kern="1200">
          <a:solidFill>
            <a:schemeClr val="tx1"/>
          </a:solidFill>
          <a:latin typeface="+mn-lt"/>
          <a:ea typeface="+mn-ea"/>
          <a:cs typeface="+mn-cs"/>
        </a:defRPr>
      </a:lvl1pPr>
      <a:lvl2pPr marL="763482" indent="-293647" algn="l" defTabSz="939669" rtl="0" eaLnBrk="1" latinLnBrk="0" hangingPunct="1">
        <a:spcBef>
          <a:spcPct val="20000"/>
        </a:spcBef>
        <a:buFont typeface="Arial" pitchFamily="34" charset="0"/>
        <a:buChar char="–"/>
        <a:defRPr sz="2934" kern="1200">
          <a:solidFill>
            <a:schemeClr val="tx1"/>
          </a:solidFill>
          <a:latin typeface="+mn-lt"/>
          <a:ea typeface="+mn-ea"/>
          <a:cs typeface="+mn-cs"/>
        </a:defRPr>
      </a:lvl2pPr>
      <a:lvl3pPr marL="1174588" indent="-234917" algn="l" defTabSz="939669" rtl="0" eaLnBrk="1" latinLnBrk="0" hangingPunct="1">
        <a:spcBef>
          <a:spcPct val="20000"/>
        </a:spcBef>
        <a:buFont typeface="Arial" pitchFamily="34" charset="0"/>
        <a:buChar char="•"/>
        <a:defRPr sz="2424" kern="1200">
          <a:solidFill>
            <a:schemeClr val="tx1"/>
          </a:solidFill>
          <a:latin typeface="+mn-lt"/>
          <a:ea typeface="+mn-ea"/>
          <a:cs typeface="+mn-cs"/>
        </a:defRPr>
      </a:lvl3pPr>
      <a:lvl4pPr marL="1644421" indent="-234917" algn="l" defTabSz="939669" rtl="0" eaLnBrk="1" latinLnBrk="0" hangingPunct="1">
        <a:spcBef>
          <a:spcPct val="20000"/>
        </a:spcBef>
        <a:buFont typeface="Arial" pitchFamily="34" charset="0"/>
        <a:buChar char="–"/>
        <a:defRPr sz="2042" kern="1200">
          <a:solidFill>
            <a:schemeClr val="tx1"/>
          </a:solidFill>
          <a:latin typeface="+mn-lt"/>
          <a:ea typeface="+mn-ea"/>
          <a:cs typeface="+mn-cs"/>
        </a:defRPr>
      </a:lvl4pPr>
      <a:lvl5pPr marL="2114257" indent="-234917" algn="l" defTabSz="939669" rtl="0" eaLnBrk="1" latinLnBrk="0" hangingPunct="1">
        <a:spcBef>
          <a:spcPct val="20000"/>
        </a:spcBef>
        <a:buFont typeface="Arial" pitchFamily="34" charset="0"/>
        <a:buChar char="»"/>
        <a:defRPr sz="2042" kern="1200">
          <a:solidFill>
            <a:schemeClr val="tx1"/>
          </a:solidFill>
          <a:latin typeface="+mn-lt"/>
          <a:ea typeface="+mn-ea"/>
          <a:cs typeface="+mn-cs"/>
        </a:defRPr>
      </a:lvl5pPr>
      <a:lvl6pPr marL="2584090" indent="-234917" algn="l" defTabSz="939669" rtl="0" eaLnBrk="1" latinLnBrk="0" hangingPunct="1">
        <a:spcBef>
          <a:spcPct val="20000"/>
        </a:spcBef>
        <a:buFont typeface="Arial" pitchFamily="34" charset="0"/>
        <a:buChar char="•"/>
        <a:defRPr sz="2042" kern="1200">
          <a:solidFill>
            <a:schemeClr val="tx1"/>
          </a:solidFill>
          <a:latin typeface="+mn-lt"/>
          <a:ea typeface="+mn-ea"/>
          <a:cs typeface="+mn-cs"/>
        </a:defRPr>
      </a:lvl6pPr>
      <a:lvl7pPr marL="3053926" indent="-234917" algn="l" defTabSz="939669" rtl="0" eaLnBrk="1" latinLnBrk="0" hangingPunct="1">
        <a:spcBef>
          <a:spcPct val="20000"/>
        </a:spcBef>
        <a:buFont typeface="Arial" pitchFamily="34" charset="0"/>
        <a:buChar char="•"/>
        <a:defRPr sz="2042" kern="1200">
          <a:solidFill>
            <a:schemeClr val="tx1"/>
          </a:solidFill>
          <a:latin typeface="+mn-lt"/>
          <a:ea typeface="+mn-ea"/>
          <a:cs typeface="+mn-cs"/>
        </a:defRPr>
      </a:lvl7pPr>
      <a:lvl8pPr marL="3523761" indent="-234917" algn="l" defTabSz="939669" rtl="0" eaLnBrk="1" latinLnBrk="0" hangingPunct="1">
        <a:spcBef>
          <a:spcPct val="20000"/>
        </a:spcBef>
        <a:buFont typeface="Arial" pitchFamily="34" charset="0"/>
        <a:buChar char="•"/>
        <a:defRPr sz="2042" kern="1200">
          <a:solidFill>
            <a:schemeClr val="tx1"/>
          </a:solidFill>
          <a:latin typeface="+mn-lt"/>
          <a:ea typeface="+mn-ea"/>
          <a:cs typeface="+mn-cs"/>
        </a:defRPr>
      </a:lvl8pPr>
      <a:lvl9pPr marL="3993595" indent="-234917" algn="l" defTabSz="939669" rtl="0" eaLnBrk="1" latinLnBrk="0" hangingPunct="1">
        <a:spcBef>
          <a:spcPct val="20000"/>
        </a:spcBef>
        <a:buFont typeface="Arial" pitchFamily="34" charset="0"/>
        <a:buChar char="•"/>
        <a:defRPr sz="2042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39669" rtl="0" eaLnBrk="1" latinLnBrk="0" hangingPunct="1">
        <a:defRPr sz="1786" kern="1200">
          <a:solidFill>
            <a:schemeClr val="tx1"/>
          </a:solidFill>
          <a:latin typeface="+mn-lt"/>
          <a:ea typeface="+mn-ea"/>
          <a:cs typeface="+mn-cs"/>
        </a:defRPr>
      </a:lvl1pPr>
      <a:lvl2pPr marL="469836" algn="l" defTabSz="939669" rtl="0" eaLnBrk="1" latinLnBrk="0" hangingPunct="1">
        <a:defRPr sz="1786" kern="1200">
          <a:solidFill>
            <a:schemeClr val="tx1"/>
          </a:solidFill>
          <a:latin typeface="+mn-lt"/>
          <a:ea typeface="+mn-ea"/>
          <a:cs typeface="+mn-cs"/>
        </a:defRPr>
      </a:lvl2pPr>
      <a:lvl3pPr marL="939669" algn="l" defTabSz="939669" rtl="0" eaLnBrk="1" latinLnBrk="0" hangingPunct="1">
        <a:defRPr sz="1786" kern="1200">
          <a:solidFill>
            <a:schemeClr val="tx1"/>
          </a:solidFill>
          <a:latin typeface="+mn-lt"/>
          <a:ea typeface="+mn-ea"/>
          <a:cs typeface="+mn-cs"/>
        </a:defRPr>
      </a:lvl3pPr>
      <a:lvl4pPr marL="1409504" algn="l" defTabSz="939669" rtl="0" eaLnBrk="1" latinLnBrk="0" hangingPunct="1">
        <a:defRPr sz="1786" kern="1200">
          <a:solidFill>
            <a:schemeClr val="tx1"/>
          </a:solidFill>
          <a:latin typeface="+mn-lt"/>
          <a:ea typeface="+mn-ea"/>
          <a:cs typeface="+mn-cs"/>
        </a:defRPr>
      </a:lvl4pPr>
      <a:lvl5pPr marL="1879338" algn="l" defTabSz="939669" rtl="0" eaLnBrk="1" latinLnBrk="0" hangingPunct="1">
        <a:defRPr sz="1786" kern="1200">
          <a:solidFill>
            <a:schemeClr val="tx1"/>
          </a:solidFill>
          <a:latin typeface="+mn-lt"/>
          <a:ea typeface="+mn-ea"/>
          <a:cs typeface="+mn-cs"/>
        </a:defRPr>
      </a:lvl5pPr>
      <a:lvl6pPr marL="2349174" algn="l" defTabSz="939669" rtl="0" eaLnBrk="1" latinLnBrk="0" hangingPunct="1">
        <a:defRPr sz="1786" kern="1200">
          <a:solidFill>
            <a:schemeClr val="tx1"/>
          </a:solidFill>
          <a:latin typeface="+mn-lt"/>
          <a:ea typeface="+mn-ea"/>
          <a:cs typeface="+mn-cs"/>
        </a:defRPr>
      </a:lvl6pPr>
      <a:lvl7pPr marL="2819009" algn="l" defTabSz="939669" rtl="0" eaLnBrk="1" latinLnBrk="0" hangingPunct="1">
        <a:defRPr sz="1786" kern="1200">
          <a:solidFill>
            <a:schemeClr val="tx1"/>
          </a:solidFill>
          <a:latin typeface="+mn-lt"/>
          <a:ea typeface="+mn-ea"/>
          <a:cs typeface="+mn-cs"/>
        </a:defRPr>
      </a:lvl7pPr>
      <a:lvl8pPr marL="3288843" algn="l" defTabSz="939669" rtl="0" eaLnBrk="1" latinLnBrk="0" hangingPunct="1">
        <a:defRPr sz="1786" kern="1200">
          <a:solidFill>
            <a:schemeClr val="tx1"/>
          </a:solidFill>
          <a:latin typeface="+mn-lt"/>
          <a:ea typeface="+mn-ea"/>
          <a:cs typeface="+mn-cs"/>
        </a:defRPr>
      </a:lvl8pPr>
      <a:lvl9pPr marL="3758678" algn="l" defTabSz="939669" rtl="0" eaLnBrk="1" latinLnBrk="0" hangingPunct="1">
        <a:defRPr sz="1786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2373760156"/>
              </p:ext>
            </p:extLst>
          </p:nvPr>
        </p:nvGraphicFramePr>
        <p:xfrm>
          <a:off x="2513" y="1990"/>
          <a:ext cx="2513" cy="19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5" name="Слайд think-cell" r:id="rId15" imgW="415" imgH="416" progId="TCLayout.ActiveDocument.1">
                  <p:embed/>
                </p:oleObj>
              </mc:Choice>
              <mc:Fallback>
                <p:oleObj name="Слайд think-cell" r:id="rId15" imgW="415" imgH="416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2513" y="1990"/>
                        <a:ext cx="2513" cy="19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Прямоугольник 12">
            <a:extLst>
              <a:ext uri="{FF2B5EF4-FFF2-40B4-BE49-F238E27FC236}">
                <a16:creationId xmlns:a16="http://schemas.microsoft.com/office/drawing/2014/main" id="{9B447808-F61A-104A-93E6-C6D410A7DFF4}"/>
              </a:ext>
            </a:extLst>
          </p:cNvPr>
          <p:cNvSpPr/>
          <p:nvPr userDrawn="1"/>
        </p:nvSpPr>
        <p:spPr>
          <a:xfrm>
            <a:off x="0" y="-885"/>
            <a:ext cx="12192000" cy="1083204"/>
          </a:xfrm>
          <a:prstGeom prst="rect">
            <a:avLst/>
          </a:prstGeom>
          <a:gradFill flip="none" rotWithShape="1">
            <a:gsLst>
              <a:gs pos="0">
                <a:srgbClr val="14447A"/>
              </a:gs>
              <a:gs pos="100000">
                <a:srgbClr val="002060"/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256"/>
          </a:p>
        </p:txBody>
      </p:sp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64121064-02F5-F941-8DDB-C09657293FB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1715" r="65515" b="53745"/>
          <a:stretch/>
        </p:blipFill>
        <p:spPr>
          <a:xfrm>
            <a:off x="8913726" y="2694"/>
            <a:ext cx="3277019" cy="1079625"/>
          </a:xfrm>
          <a:prstGeom prst="rect">
            <a:avLst/>
          </a:prstGeom>
        </p:spPr>
      </p:pic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DE6EC647-4596-084A-B39B-A344037939F1}"/>
              </a:ext>
            </a:extLst>
          </p:cNvPr>
          <p:cNvPicPr>
            <a:picLocks noChangeAspect="1"/>
          </p:cNvPicPr>
          <p:nvPr userDrawn="1"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257" y="1136799"/>
            <a:ext cx="12192000" cy="5721201"/>
          </a:xfrm>
          <a:prstGeom prst="rect">
            <a:avLst/>
          </a:prstGeom>
        </p:spPr>
      </p:pic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2" y="1825626"/>
            <a:ext cx="10515600" cy="435133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dirty="0"/>
              <a:t>Образец текста
Второй уровень
Третий уровень
Четвертый уровень
Пятый уровень</a:t>
            </a:r>
            <a:endParaRPr lang="en-US" dirty="0"/>
          </a:p>
        </p:txBody>
      </p:sp>
      <p:sp>
        <p:nvSpPr>
          <p:cNvPr id="8" name="Freeform 11">
            <a:extLst>
              <a:ext uri="{FF2B5EF4-FFF2-40B4-BE49-F238E27FC236}">
                <a16:creationId xmlns:a16="http://schemas.microsoft.com/office/drawing/2014/main" id="{4A772FAB-E056-2F48-A032-8D5FA4F9C76C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9589680" y="6386663"/>
            <a:ext cx="2192641" cy="202442"/>
          </a:xfrm>
          <a:custGeom>
            <a:avLst/>
            <a:gdLst>
              <a:gd name="T0" fmla="*/ 113 w 2434"/>
              <a:gd name="T1" fmla="*/ 208 h 285"/>
              <a:gd name="T2" fmla="*/ 33 w 2434"/>
              <a:gd name="T3" fmla="*/ 147 h 285"/>
              <a:gd name="T4" fmla="*/ 66 w 2434"/>
              <a:gd name="T5" fmla="*/ 12 h 285"/>
              <a:gd name="T6" fmla="*/ 183 w 2434"/>
              <a:gd name="T7" fmla="*/ 93 h 285"/>
              <a:gd name="T8" fmla="*/ 130 w 2434"/>
              <a:gd name="T9" fmla="*/ 102 h 285"/>
              <a:gd name="T10" fmla="*/ 215 w 2434"/>
              <a:gd name="T11" fmla="*/ 225 h 285"/>
              <a:gd name="T12" fmla="*/ 395 w 2434"/>
              <a:gd name="T13" fmla="*/ 243 h 285"/>
              <a:gd name="T14" fmla="*/ 606 w 2434"/>
              <a:gd name="T15" fmla="*/ 277 h 285"/>
              <a:gd name="T16" fmla="*/ 926 w 2434"/>
              <a:gd name="T17" fmla="*/ 10 h 285"/>
              <a:gd name="T18" fmla="*/ 1063 w 2434"/>
              <a:gd name="T19" fmla="*/ 161 h 285"/>
              <a:gd name="T20" fmla="*/ 916 w 2434"/>
              <a:gd name="T21" fmla="*/ 89 h 285"/>
              <a:gd name="T22" fmla="*/ 954 w 2434"/>
              <a:gd name="T23" fmla="*/ 105 h 285"/>
              <a:gd name="T24" fmla="*/ 1099 w 2434"/>
              <a:gd name="T25" fmla="*/ 225 h 285"/>
              <a:gd name="T26" fmla="*/ 1137 w 2434"/>
              <a:gd name="T27" fmla="*/ 24 h 285"/>
              <a:gd name="T28" fmla="*/ 1343 w 2434"/>
              <a:gd name="T29" fmla="*/ 61 h 285"/>
              <a:gd name="T30" fmla="*/ 1307 w 2434"/>
              <a:gd name="T31" fmla="*/ 262 h 285"/>
              <a:gd name="T32" fmla="*/ 1172 w 2434"/>
              <a:gd name="T33" fmla="*/ 142 h 285"/>
              <a:gd name="T34" fmla="*/ 1270 w 2434"/>
              <a:gd name="T35" fmla="*/ 142 h 285"/>
              <a:gd name="T36" fmla="*/ 1379 w 2434"/>
              <a:gd name="T37" fmla="*/ 9 h 285"/>
              <a:gd name="T38" fmla="*/ 1740 w 2434"/>
              <a:gd name="T39" fmla="*/ 48 h 285"/>
              <a:gd name="T40" fmla="*/ 1919 w 2434"/>
              <a:gd name="T41" fmla="*/ 11 h 285"/>
              <a:gd name="T42" fmla="*/ 1957 w 2434"/>
              <a:gd name="T43" fmla="*/ 67 h 285"/>
              <a:gd name="T44" fmla="*/ 2032 w 2434"/>
              <a:gd name="T45" fmla="*/ 101 h 285"/>
              <a:gd name="T46" fmla="*/ 2020 w 2434"/>
              <a:gd name="T47" fmla="*/ 84 h 285"/>
              <a:gd name="T48" fmla="*/ 1969 w 2434"/>
              <a:gd name="T49" fmla="*/ 84 h 285"/>
              <a:gd name="T50" fmla="*/ 2020 w 2434"/>
              <a:gd name="T51" fmla="*/ 84 h 285"/>
              <a:gd name="T52" fmla="*/ 2124 w 2434"/>
              <a:gd name="T53" fmla="*/ 103 h 285"/>
              <a:gd name="T54" fmla="*/ 2177 w 2434"/>
              <a:gd name="T55" fmla="*/ 59 h 285"/>
              <a:gd name="T56" fmla="*/ 2132 w 2434"/>
              <a:gd name="T57" fmla="*/ 52 h 285"/>
              <a:gd name="T58" fmla="*/ 2194 w 2434"/>
              <a:gd name="T59" fmla="*/ 113 h 285"/>
              <a:gd name="T60" fmla="*/ 2145 w 2434"/>
              <a:gd name="T61" fmla="*/ 126 h 285"/>
              <a:gd name="T62" fmla="*/ 2141 w 2434"/>
              <a:gd name="T63" fmla="*/ 96 h 285"/>
              <a:gd name="T64" fmla="*/ 2179 w 2434"/>
              <a:gd name="T65" fmla="*/ 95 h 285"/>
              <a:gd name="T66" fmla="*/ 2253 w 2434"/>
              <a:gd name="T67" fmla="*/ 55 h 285"/>
              <a:gd name="T68" fmla="*/ 2286 w 2434"/>
              <a:gd name="T69" fmla="*/ 116 h 285"/>
              <a:gd name="T70" fmla="*/ 2303 w 2434"/>
              <a:gd name="T71" fmla="*/ 113 h 285"/>
              <a:gd name="T72" fmla="*/ 2333 w 2434"/>
              <a:gd name="T73" fmla="*/ 23 h 285"/>
              <a:gd name="T74" fmla="*/ 2365 w 2434"/>
              <a:gd name="T75" fmla="*/ 100 h 285"/>
              <a:gd name="T76" fmla="*/ 2419 w 2434"/>
              <a:gd name="T77" fmla="*/ 97 h 285"/>
              <a:gd name="T78" fmla="*/ 2386 w 2434"/>
              <a:gd name="T79" fmla="*/ 43 h 285"/>
              <a:gd name="T80" fmla="*/ 2391 w 2434"/>
              <a:gd name="T81" fmla="*/ 52 h 285"/>
              <a:gd name="T82" fmla="*/ 2434 w 2434"/>
              <a:gd name="T83" fmla="*/ 108 h 285"/>
              <a:gd name="T84" fmla="*/ 1692 w 2434"/>
              <a:gd name="T85" fmla="*/ 164 h 285"/>
              <a:gd name="T86" fmla="*/ 1755 w 2434"/>
              <a:gd name="T87" fmla="*/ 274 h 285"/>
              <a:gd name="T88" fmla="*/ 1767 w 2434"/>
              <a:gd name="T89" fmla="*/ 203 h 285"/>
              <a:gd name="T90" fmla="*/ 1808 w 2434"/>
              <a:gd name="T91" fmla="*/ 180 h 285"/>
              <a:gd name="T92" fmla="*/ 1804 w 2434"/>
              <a:gd name="T93" fmla="*/ 277 h 285"/>
              <a:gd name="T94" fmla="*/ 1935 w 2434"/>
              <a:gd name="T95" fmla="*/ 172 h 285"/>
              <a:gd name="T96" fmla="*/ 1935 w 2434"/>
              <a:gd name="T97" fmla="*/ 168 h 285"/>
              <a:gd name="T98" fmla="*/ 1988 w 2434"/>
              <a:gd name="T99" fmla="*/ 268 h 285"/>
              <a:gd name="T100" fmla="*/ 1957 w 2434"/>
              <a:gd name="T101" fmla="*/ 228 h 285"/>
              <a:gd name="T102" fmla="*/ 2014 w 2434"/>
              <a:gd name="T103" fmla="*/ 208 h 285"/>
              <a:gd name="T104" fmla="*/ 1981 w 2434"/>
              <a:gd name="T105" fmla="*/ 227 h 285"/>
              <a:gd name="T106" fmla="*/ 1980 w 2434"/>
              <a:gd name="T107" fmla="*/ 280 h 285"/>
              <a:gd name="T108" fmla="*/ 2038 w 2434"/>
              <a:gd name="T109" fmla="*/ 176 h 285"/>
              <a:gd name="T110" fmla="*/ 2071 w 2434"/>
              <a:gd name="T111" fmla="*/ 236 h 285"/>
              <a:gd name="T112" fmla="*/ 2150 w 2434"/>
              <a:gd name="T113" fmla="*/ 228 h 285"/>
              <a:gd name="T114" fmla="*/ 2072 w 2434"/>
              <a:gd name="T115" fmla="*/ 245 h 285"/>
              <a:gd name="T116" fmla="*/ 2090 w 2434"/>
              <a:gd name="T117" fmla="*/ 218 h 285"/>
              <a:gd name="T118" fmla="*/ 2134 w 2434"/>
              <a:gd name="T119" fmla="*/ 254 h 285"/>
              <a:gd name="T120" fmla="*/ 2221 w 2434"/>
              <a:gd name="T121" fmla="*/ 196 h 285"/>
              <a:gd name="T122" fmla="*/ 2209 w 2434"/>
              <a:gd name="T123" fmla="*/ 205 h 28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2434" h="285">
                <a:moveTo>
                  <a:pt x="109" y="285"/>
                </a:moveTo>
                <a:lnTo>
                  <a:pt x="94" y="285"/>
                </a:lnTo>
                <a:lnTo>
                  <a:pt x="80" y="282"/>
                </a:lnTo>
                <a:lnTo>
                  <a:pt x="66" y="280"/>
                </a:lnTo>
                <a:lnTo>
                  <a:pt x="53" y="276"/>
                </a:lnTo>
                <a:lnTo>
                  <a:pt x="26" y="267"/>
                </a:lnTo>
                <a:lnTo>
                  <a:pt x="0" y="256"/>
                </a:lnTo>
                <a:lnTo>
                  <a:pt x="34" y="180"/>
                </a:lnTo>
                <a:lnTo>
                  <a:pt x="48" y="191"/>
                </a:lnTo>
                <a:lnTo>
                  <a:pt x="65" y="200"/>
                </a:lnTo>
                <a:lnTo>
                  <a:pt x="73" y="204"/>
                </a:lnTo>
                <a:lnTo>
                  <a:pt x="81" y="206"/>
                </a:lnTo>
                <a:lnTo>
                  <a:pt x="91" y="209"/>
                </a:lnTo>
                <a:lnTo>
                  <a:pt x="100" y="210"/>
                </a:lnTo>
                <a:lnTo>
                  <a:pt x="106" y="209"/>
                </a:lnTo>
                <a:lnTo>
                  <a:pt x="113" y="208"/>
                </a:lnTo>
                <a:lnTo>
                  <a:pt x="117" y="205"/>
                </a:lnTo>
                <a:lnTo>
                  <a:pt x="119" y="204"/>
                </a:lnTo>
                <a:lnTo>
                  <a:pt x="120" y="200"/>
                </a:lnTo>
                <a:lnTo>
                  <a:pt x="122" y="197"/>
                </a:lnTo>
                <a:lnTo>
                  <a:pt x="122" y="193"/>
                </a:lnTo>
                <a:lnTo>
                  <a:pt x="119" y="190"/>
                </a:lnTo>
                <a:lnTo>
                  <a:pt x="118" y="187"/>
                </a:lnTo>
                <a:lnTo>
                  <a:pt x="114" y="185"/>
                </a:lnTo>
                <a:lnTo>
                  <a:pt x="106" y="181"/>
                </a:lnTo>
                <a:lnTo>
                  <a:pt x="97" y="179"/>
                </a:lnTo>
                <a:lnTo>
                  <a:pt x="85" y="176"/>
                </a:lnTo>
                <a:lnTo>
                  <a:pt x="71" y="171"/>
                </a:lnTo>
                <a:lnTo>
                  <a:pt x="58" y="165"/>
                </a:lnTo>
                <a:lnTo>
                  <a:pt x="45" y="158"/>
                </a:lnTo>
                <a:lnTo>
                  <a:pt x="39" y="153"/>
                </a:lnTo>
                <a:lnTo>
                  <a:pt x="33" y="147"/>
                </a:lnTo>
                <a:lnTo>
                  <a:pt x="28" y="141"/>
                </a:lnTo>
                <a:lnTo>
                  <a:pt x="23" y="134"/>
                </a:lnTo>
                <a:lnTo>
                  <a:pt x="20" y="126"/>
                </a:lnTo>
                <a:lnTo>
                  <a:pt x="17" y="116"/>
                </a:lnTo>
                <a:lnTo>
                  <a:pt x="16" y="106"/>
                </a:lnTo>
                <a:lnTo>
                  <a:pt x="15" y="94"/>
                </a:lnTo>
                <a:lnTo>
                  <a:pt x="16" y="82"/>
                </a:lnTo>
                <a:lnTo>
                  <a:pt x="17" y="70"/>
                </a:lnTo>
                <a:lnTo>
                  <a:pt x="21" y="61"/>
                </a:lnTo>
                <a:lnTo>
                  <a:pt x="24" y="51"/>
                </a:lnTo>
                <a:lnTo>
                  <a:pt x="29" y="43"/>
                </a:lnTo>
                <a:lnTo>
                  <a:pt x="35" y="35"/>
                </a:lnTo>
                <a:lnTo>
                  <a:pt x="42" y="29"/>
                </a:lnTo>
                <a:lnTo>
                  <a:pt x="49" y="22"/>
                </a:lnTo>
                <a:lnTo>
                  <a:pt x="56" y="17"/>
                </a:lnTo>
                <a:lnTo>
                  <a:pt x="66" y="12"/>
                </a:lnTo>
                <a:lnTo>
                  <a:pt x="75" y="9"/>
                </a:lnTo>
                <a:lnTo>
                  <a:pt x="85" y="6"/>
                </a:lnTo>
                <a:lnTo>
                  <a:pt x="94" y="4"/>
                </a:lnTo>
                <a:lnTo>
                  <a:pt x="105" y="3"/>
                </a:lnTo>
                <a:lnTo>
                  <a:pt x="117" y="1"/>
                </a:lnTo>
                <a:lnTo>
                  <a:pt x="128" y="1"/>
                </a:lnTo>
                <a:lnTo>
                  <a:pt x="139" y="1"/>
                </a:lnTo>
                <a:lnTo>
                  <a:pt x="151" y="3"/>
                </a:lnTo>
                <a:lnTo>
                  <a:pt x="163" y="5"/>
                </a:lnTo>
                <a:lnTo>
                  <a:pt x="175" y="9"/>
                </a:lnTo>
                <a:lnTo>
                  <a:pt x="187" y="12"/>
                </a:lnTo>
                <a:lnTo>
                  <a:pt x="197" y="17"/>
                </a:lnTo>
                <a:lnTo>
                  <a:pt x="208" y="23"/>
                </a:lnTo>
                <a:lnTo>
                  <a:pt x="218" y="29"/>
                </a:lnTo>
                <a:lnTo>
                  <a:pt x="188" y="96"/>
                </a:lnTo>
                <a:lnTo>
                  <a:pt x="183" y="93"/>
                </a:lnTo>
                <a:lnTo>
                  <a:pt x="173" y="86"/>
                </a:lnTo>
                <a:lnTo>
                  <a:pt x="165" y="82"/>
                </a:lnTo>
                <a:lnTo>
                  <a:pt x="156" y="78"/>
                </a:lnTo>
                <a:lnTo>
                  <a:pt x="148" y="76"/>
                </a:lnTo>
                <a:lnTo>
                  <a:pt x="137" y="75"/>
                </a:lnTo>
                <a:lnTo>
                  <a:pt x="128" y="76"/>
                </a:lnTo>
                <a:lnTo>
                  <a:pt x="119" y="78"/>
                </a:lnTo>
                <a:lnTo>
                  <a:pt x="117" y="81"/>
                </a:lnTo>
                <a:lnTo>
                  <a:pt x="114" y="83"/>
                </a:lnTo>
                <a:lnTo>
                  <a:pt x="113" y="86"/>
                </a:lnTo>
                <a:lnTo>
                  <a:pt x="113" y="89"/>
                </a:lnTo>
                <a:lnTo>
                  <a:pt x="113" y="91"/>
                </a:lnTo>
                <a:lnTo>
                  <a:pt x="116" y="95"/>
                </a:lnTo>
                <a:lnTo>
                  <a:pt x="118" y="97"/>
                </a:lnTo>
                <a:lnTo>
                  <a:pt x="122" y="100"/>
                </a:lnTo>
                <a:lnTo>
                  <a:pt x="130" y="102"/>
                </a:lnTo>
                <a:lnTo>
                  <a:pt x="137" y="105"/>
                </a:lnTo>
                <a:lnTo>
                  <a:pt x="150" y="108"/>
                </a:lnTo>
                <a:lnTo>
                  <a:pt x="163" y="113"/>
                </a:lnTo>
                <a:lnTo>
                  <a:pt x="177" y="119"/>
                </a:lnTo>
                <a:lnTo>
                  <a:pt x="190" y="127"/>
                </a:lnTo>
                <a:lnTo>
                  <a:pt x="196" y="132"/>
                </a:lnTo>
                <a:lnTo>
                  <a:pt x="202" y="138"/>
                </a:lnTo>
                <a:lnTo>
                  <a:pt x="207" y="144"/>
                </a:lnTo>
                <a:lnTo>
                  <a:pt x="212" y="151"/>
                </a:lnTo>
                <a:lnTo>
                  <a:pt x="215" y="159"/>
                </a:lnTo>
                <a:lnTo>
                  <a:pt x="218" y="168"/>
                </a:lnTo>
                <a:lnTo>
                  <a:pt x="219" y="179"/>
                </a:lnTo>
                <a:lnTo>
                  <a:pt x="220" y="191"/>
                </a:lnTo>
                <a:lnTo>
                  <a:pt x="219" y="203"/>
                </a:lnTo>
                <a:lnTo>
                  <a:pt x="218" y="215"/>
                </a:lnTo>
                <a:lnTo>
                  <a:pt x="215" y="225"/>
                </a:lnTo>
                <a:lnTo>
                  <a:pt x="212" y="235"/>
                </a:lnTo>
                <a:lnTo>
                  <a:pt x="207" y="243"/>
                </a:lnTo>
                <a:lnTo>
                  <a:pt x="201" y="250"/>
                </a:lnTo>
                <a:lnTo>
                  <a:pt x="194" y="257"/>
                </a:lnTo>
                <a:lnTo>
                  <a:pt x="187" y="263"/>
                </a:lnTo>
                <a:lnTo>
                  <a:pt x="180" y="269"/>
                </a:lnTo>
                <a:lnTo>
                  <a:pt x="170" y="273"/>
                </a:lnTo>
                <a:lnTo>
                  <a:pt x="161" y="276"/>
                </a:lnTo>
                <a:lnTo>
                  <a:pt x="151" y="280"/>
                </a:lnTo>
                <a:lnTo>
                  <a:pt x="142" y="282"/>
                </a:lnTo>
                <a:lnTo>
                  <a:pt x="131" y="283"/>
                </a:lnTo>
                <a:lnTo>
                  <a:pt x="119" y="285"/>
                </a:lnTo>
                <a:lnTo>
                  <a:pt x="109" y="285"/>
                </a:lnTo>
                <a:close/>
                <a:moveTo>
                  <a:pt x="402" y="277"/>
                </a:moveTo>
                <a:lnTo>
                  <a:pt x="402" y="277"/>
                </a:lnTo>
                <a:lnTo>
                  <a:pt x="395" y="243"/>
                </a:lnTo>
                <a:lnTo>
                  <a:pt x="323" y="243"/>
                </a:lnTo>
                <a:lnTo>
                  <a:pt x="312" y="277"/>
                </a:lnTo>
                <a:lnTo>
                  <a:pt x="212" y="277"/>
                </a:lnTo>
                <a:lnTo>
                  <a:pt x="305" y="9"/>
                </a:lnTo>
                <a:lnTo>
                  <a:pt x="415" y="9"/>
                </a:lnTo>
                <a:lnTo>
                  <a:pt x="504" y="277"/>
                </a:lnTo>
                <a:lnTo>
                  <a:pt x="402" y="277"/>
                </a:lnTo>
                <a:close/>
                <a:moveTo>
                  <a:pt x="358" y="95"/>
                </a:moveTo>
                <a:lnTo>
                  <a:pt x="358" y="95"/>
                </a:lnTo>
                <a:lnTo>
                  <a:pt x="335" y="179"/>
                </a:lnTo>
                <a:lnTo>
                  <a:pt x="382" y="179"/>
                </a:lnTo>
                <a:lnTo>
                  <a:pt x="358" y="95"/>
                </a:lnTo>
                <a:close/>
                <a:moveTo>
                  <a:pt x="686" y="277"/>
                </a:moveTo>
                <a:lnTo>
                  <a:pt x="686" y="277"/>
                </a:lnTo>
                <a:lnTo>
                  <a:pt x="606" y="146"/>
                </a:lnTo>
                <a:lnTo>
                  <a:pt x="606" y="277"/>
                </a:lnTo>
                <a:lnTo>
                  <a:pt x="512" y="277"/>
                </a:lnTo>
                <a:lnTo>
                  <a:pt x="512" y="9"/>
                </a:lnTo>
                <a:lnTo>
                  <a:pt x="606" y="9"/>
                </a:lnTo>
                <a:lnTo>
                  <a:pt x="686" y="140"/>
                </a:lnTo>
                <a:lnTo>
                  <a:pt x="686" y="9"/>
                </a:lnTo>
                <a:lnTo>
                  <a:pt x="778" y="9"/>
                </a:lnTo>
                <a:lnTo>
                  <a:pt x="778" y="277"/>
                </a:lnTo>
                <a:lnTo>
                  <a:pt x="686" y="277"/>
                </a:lnTo>
                <a:close/>
                <a:moveTo>
                  <a:pt x="914" y="276"/>
                </a:moveTo>
                <a:lnTo>
                  <a:pt x="914" y="276"/>
                </a:lnTo>
                <a:lnTo>
                  <a:pt x="883" y="277"/>
                </a:lnTo>
                <a:lnTo>
                  <a:pt x="808" y="277"/>
                </a:lnTo>
                <a:lnTo>
                  <a:pt x="808" y="9"/>
                </a:lnTo>
                <a:lnTo>
                  <a:pt x="880" y="9"/>
                </a:lnTo>
                <a:lnTo>
                  <a:pt x="909" y="9"/>
                </a:lnTo>
                <a:lnTo>
                  <a:pt x="926" y="10"/>
                </a:lnTo>
                <a:lnTo>
                  <a:pt x="941" y="11"/>
                </a:lnTo>
                <a:lnTo>
                  <a:pt x="957" y="12"/>
                </a:lnTo>
                <a:lnTo>
                  <a:pt x="971" y="16"/>
                </a:lnTo>
                <a:lnTo>
                  <a:pt x="984" y="19"/>
                </a:lnTo>
                <a:lnTo>
                  <a:pt x="997" y="24"/>
                </a:lnTo>
                <a:lnTo>
                  <a:pt x="1009" y="30"/>
                </a:lnTo>
                <a:lnTo>
                  <a:pt x="1019" y="37"/>
                </a:lnTo>
                <a:lnTo>
                  <a:pt x="1029" y="46"/>
                </a:lnTo>
                <a:lnTo>
                  <a:pt x="1038" y="56"/>
                </a:lnTo>
                <a:lnTo>
                  <a:pt x="1045" y="67"/>
                </a:lnTo>
                <a:lnTo>
                  <a:pt x="1052" y="78"/>
                </a:lnTo>
                <a:lnTo>
                  <a:pt x="1057" y="93"/>
                </a:lnTo>
                <a:lnTo>
                  <a:pt x="1061" y="108"/>
                </a:lnTo>
                <a:lnTo>
                  <a:pt x="1063" y="125"/>
                </a:lnTo>
                <a:lnTo>
                  <a:pt x="1064" y="144"/>
                </a:lnTo>
                <a:lnTo>
                  <a:pt x="1063" y="161"/>
                </a:lnTo>
                <a:lnTo>
                  <a:pt x="1061" y="177"/>
                </a:lnTo>
                <a:lnTo>
                  <a:pt x="1057" y="192"/>
                </a:lnTo>
                <a:lnTo>
                  <a:pt x="1052" y="205"/>
                </a:lnTo>
                <a:lnTo>
                  <a:pt x="1047" y="217"/>
                </a:lnTo>
                <a:lnTo>
                  <a:pt x="1039" y="229"/>
                </a:lnTo>
                <a:lnTo>
                  <a:pt x="1031" y="238"/>
                </a:lnTo>
                <a:lnTo>
                  <a:pt x="1022" y="247"/>
                </a:lnTo>
                <a:lnTo>
                  <a:pt x="1011" y="254"/>
                </a:lnTo>
                <a:lnTo>
                  <a:pt x="999" y="260"/>
                </a:lnTo>
                <a:lnTo>
                  <a:pt x="987" y="266"/>
                </a:lnTo>
                <a:lnTo>
                  <a:pt x="974" y="269"/>
                </a:lnTo>
                <a:lnTo>
                  <a:pt x="960" y="273"/>
                </a:lnTo>
                <a:lnTo>
                  <a:pt x="945" y="274"/>
                </a:lnTo>
                <a:lnTo>
                  <a:pt x="929" y="276"/>
                </a:lnTo>
                <a:lnTo>
                  <a:pt x="914" y="276"/>
                </a:lnTo>
                <a:close/>
                <a:moveTo>
                  <a:pt x="916" y="89"/>
                </a:moveTo>
                <a:lnTo>
                  <a:pt x="916" y="89"/>
                </a:lnTo>
                <a:lnTo>
                  <a:pt x="906" y="89"/>
                </a:lnTo>
                <a:lnTo>
                  <a:pt x="906" y="197"/>
                </a:lnTo>
                <a:lnTo>
                  <a:pt x="916" y="197"/>
                </a:lnTo>
                <a:lnTo>
                  <a:pt x="928" y="196"/>
                </a:lnTo>
                <a:lnTo>
                  <a:pt x="938" y="193"/>
                </a:lnTo>
                <a:lnTo>
                  <a:pt x="947" y="190"/>
                </a:lnTo>
                <a:lnTo>
                  <a:pt x="954" y="184"/>
                </a:lnTo>
                <a:lnTo>
                  <a:pt x="960" y="177"/>
                </a:lnTo>
                <a:lnTo>
                  <a:pt x="964" y="167"/>
                </a:lnTo>
                <a:lnTo>
                  <a:pt x="966" y="157"/>
                </a:lnTo>
                <a:lnTo>
                  <a:pt x="967" y="145"/>
                </a:lnTo>
                <a:lnTo>
                  <a:pt x="966" y="133"/>
                </a:lnTo>
                <a:lnTo>
                  <a:pt x="964" y="122"/>
                </a:lnTo>
                <a:lnTo>
                  <a:pt x="960" y="113"/>
                </a:lnTo>
                <a:lnTo>
                  <a:pt x="954" y="105"/>
                </a:lnTo>
                <a:lnTo>
                  <a:pt x="947" y="97"/>
                </a:lnTo>
                <a:lnTo>
                  <a:pt x="939" y="93"/>
                </a:lnTo>
                <a:lnTo>
                  <a:pt x="928" y="90"/>
                </a:lnTo>
                <a:lnTo>
                  <a:pt x="916" y="89"/>
                </a:lnTo>
                <a:close/>
                <a:moveTo>
                  <a:pt x="1219" y="285"/>
                </a:moveTo>
                <a:lnTo>
                  <a:pt x="1219" y="285"/>
                </a:lnTo>
                <a:lnTo>
                  <a:pt x="1204" y="285"/>
                </a:lnTo>
                <a:lnTo>
                  <a:pt x="1190" y="282"/>
                </a:lnTo>
                <a:lnTo>
                  <a:pt x="1176" y="279"/>
                </a:lnTo>
                <a:lnTo>
                  <a:pt x="1161" y="275"/>
                </a:lnTo>
                <a:lnTo>
                  <a:pt x="1150" y="269"/>
                </a:lnTo>
                <a:lnTo>
                  <a:pt x="1138" y="262"/>
                </a:lnTo>
                <a:lnTo>
                  <a:pt x="1126" y="255"/>
                </a:lnTo>
                <a:lnTo>
                  <a:pt x="1116" y="245"/>
                </a:lnTo>
                <a:lnTo>
                  <a:pt x="1107" y="236"/>
                </a:lnTo>
                <a:lnTo>
                  <a:pt x="1099" y="225"/>
                </a:lnTo>
                <a:lnTo>
                  <a:pt x="1092" y="213"/>
                </a:lnTo>
                <a:lnTo>
                  <a:pt x="1086" y="202"/>
                </a:lnTo>
                <a:lnTo>
                  <a:pt x="1081" y="187"/>
                </a:lnTo>
                <a:lnTo>
                  <a:pt x="1077" y="173"/>
                </a:lnTo>
                <a:lnTo>
                  <a:pt x="1075" y="159"/>
                </a:lnTo>
                <a:lnTo>
                  <a:pt x="1074" y="142"/>
                </a:lnTo>
                <a:lnTo>
                  <a:pt x="1075" y="127"/>
                </a:lnTo>
                <a:lnTo>
                  <a:pt x="1077" y="113"/>
                </a:lnTo>
                <a:lnTo>
                  <a:pt x="1081" y="99"/>
                </a:lnTo>
                <a:lnTo>
                  <a:pt x="1086" y="86"/>
                </a:lnTo>
                <a:lnTo>
                  <a:pt x="1090" y="73"/>
                </a:lnTo>
                <a:lnTo>
                  <a:pt x="1097" y="61"/>
                </a:lnTo>
                <a:lnTo>
                  <a:pt x="1106" y="50"/>
                </a:lnTo>
                <a:lnTo>
                  <a:pt x="1115" y="41"/>
                </a:lnTo>
                <a:lnTo>
                  <a:pt x="1126" y="31"/>
                </a:lnTo>
                <a:lnTo>
                  <a:pt x="1137" y="24"/>
                </a:lnTo>
                <a:lnTo>
                  <a:pt x="1148" y="17"/>
                </a:lnTo>
                <a:lnTo>
                  <a:pt x="1161" y="11"/>
                </a:lnTo>
                <a:lnTo>
                  <a:pt x="1174" y="6"/>
                </a:lnTo>
                <a:lnTo>
                  <a:pt x="1189" y="4"/>
                </a:lnTo>
                <a:lnTo>
                  <a:pt x="1204" y="1"/>
                </a:lnTo>
                <a:lnTo>
                  <a:pt x="1219" y="0"/>
                </a:lnTo>
                <a:lnTo>
                  <a:pt x="1235" y="1"/>
                </a:lnTo>
                <a:lnTo>
                  <a:pt x="1249" y="4"/>
                </a:lnTo>
                <a:lnTo>
                  <a:pt x="1264" y="6"/>
                </a:lnTo>
                <a:lnTo>
                  <a:pt x="1277" y="11"/>
                </a:lnTo>
                <a:lnTo>
                  <a:pt x="1290" y="17"/>
                </a:lnTo>
                <a:lnTo>
                  <a:pt x="1303" y="23"/>
                </a:lnTo>
                <a:lnTo>
                  <a:pt x="1314" y="31"/>
                </a:lnTo>
                <a:lnTo>
                  <a:pt x="1325" y="39"/>
                </a:lnTo>
                <a:lnTo>
                  <a:pt x="1334" y="50"/>
                </a:lnTo>
                <a:lnTo>
                  <a:pt x="1343" y="61"/>
                </a:lnTo>
                <a:lnTo>
                  <a:pt x="1350" y="73"/>
                </a:lnTo>
                <a:lnTo>
                  <a:pt x="1357" y="84"/>
                </a:lnTo>
                <a:lnTo>
                  <a:pt x="1362" y="99"/>
                </a:lnTo>
                <a:lnTo>
                  <a:pt x="1365" y="113"/>
                </a:lnTo>
                <a:lnTo>
                  <a:pt x="1367" y="127"/>
                </a:lnTo>
                <a:lnTo>
                  <a:pt x="1367" y="142"/>
                </a:lnTo>
                <a:lnTo>
                  <a:pt x="1367" y="159"/>
                </a:lnTo>
                <a:lnTo>
                  <a:pt x="1365" y="173"/>
                </a:lnTo>
                <a:lnTo>
                  <a:pt x="1362" y="187"/>
                </a:lnTo>
                <a:lnTo>
                  <a:pt x="1358" y="200"/>
                </a:lnTo>
                <a:lnTo>
                  <a:pt x="1352" y="213"/>
                </a:lnTo>
                <a:lnTo>
                  <a:pt x="1345" y="225"/>
                </a:lnTo>
                <a:lnTo>
                  <a:pt x="1338" y="236"/>
                </a:lnTo>
                <a:lnTo>
                  <a:pt x="1328" y="245"/>
                </a:lnTo>
                <a:lnTo>
                  <a:pt x="1319" y="255"/>
                </a:lnTo>
                <a:lnTo>
                  <a:pt x="1307" y="262"/>
                </a:lnTo>
                <a:lnTo>
                  <a:pt x="1295" y="269"/>
                </a:lnTo>
                <a:lnTo>
                  <a:pt x="1282" y="275"/>
                </a:lnTo>
                <a:lnTo>
                  <a:pt x="1268" y="279"/>
                </a:lnTo>
                <a:lnTo>
                  <a:pt x="1253" y="282"/>
                </a:lnTo>
                <a:lnTo>
                  <a:pt x="1236" y="285"/>
                </a:lnTo>
                <a:lnTo>
                  <a:pt x="1219" y="285"/>
                </a:lnTo>
                <a:close/>
                <a:moveTo>
                  <a:pt x="1221" y="90"/>
                </a:moveTo>
                <a:lnTo>
                  <a:pt x="1221" y="90"/>
                </a:lnTo>
                <a:lnTo>
                  <a:pt x="1210" y="91"/>
                </a:lnTo>
                <a:lnTo>
                  <a:pt x="1200" y="94"/>
                </a:lnTo>
                <a:lnTo>
                  <a:pt x="1192" y="99"/>
                </a:lnTo>
                <a:lnTo>
                  <a:pt x="1185" y="105"/>
                </a:lnTo>
                <a:lnTo>
                  <a:pt x="1179" y="113"/>
                </a:lnTo>
                <a:lnTo>
                  <a:pt x="1174" y="121"/>
                </a:lnTo>
                <a:lnTo>
                  <a:pt x="1172" y="132"/>
                </a:lnTo>
                <a:lnTo>
                  <a:pt x="1172" y="142"/>
                </a:lnTo>
                <a:lnTo>
                  <a:pt x="1172" y="154"/>
                </a:lnTo>
                <a:lnTo>
                  <a:pt x="1176" y="164"/>
                </a:lnTo>
                <a:lnTo>
                  <a:pt x="1179" y="173"/>
                </a:lnTo>
                <a:lnTo>
                  <a:pt x="1185" y="181"/>
                </a:lnTo>
                <a:lnTo>
                  <a:pt x="1192" y="187"/>
                </a:lnTo>
                <a:lnTo>
                  <a:pt x="1200" y="192"/>
                </a:lnTo>
                <a:lnTo>
                  <a:pt x="1210" y="195"/>
                </a:lnTo>
                <a:lnTo>
                  <a:pt x="1221" y="196"/>
                </a:lnTo>
                <a:lnTo>
                  <a:pt x="1231" y="195"/>
                </a:lnTo>
                <a:lnTo>
                  <a:pt x="1241" y="192"/>
                </a:lnTo>
                <a:lnTo>
                  <a:pt x="1249" y="187"/>
                </a:lnTo>
                <a:lnTo>
                  <a:pt x="1257" y="181"/>
                </a:lnTo>
                <a:lnTo>
                  <a:pt x="1262" y="173"/>
                </a:lnTo>
                <a:lnTo>
                  <a:pt x="1267" y="164"/>
                </a:lnTo>
                <a:lnTo>
                  <a:pt x="1269" y="154"/>
                </a:lnTo>
                <a:lnTo>
                  <a:pt x="1270" y="142"/>
                </a:lnTo>
                <a:lnTo>
                  <a:pt x="1269" y="132"/>
                </a:lnTo>
                <a:lnTo>
                  <a:pt x="1267" y="121"/>
                </a:lnTo>
                <a:lnTo>
                  <a:pt x="1262" y="112"/>
                </a:lnTo>
                <a:lnTo>
                  <a:pt x="1256" y="105"/>
                </a:lnTo>
                <a:lnTo>
                  <a:pt x="1249" y="99"/>
                </a:lnTo>
                <a:lnTo>
                  <a:pt x="1241" y="94"/>
                </a:lnTo>
                <a:lnTo>
                  <a:pt x="1231" y="91"/>
                </a:lnTo>
                <a:lnTo>
                  <a:pt x="1221" y="90"/>
                </a:lnTo>
                <a:close/>
                <a:moveTo>
                  <a:pt x="1513" y="197"/>
                </a:moveTo>
                <a:lnTo>
                  <a:pt x="1513" y="197"/>
                </a:lnTo>
                <a:lnTo>
                  <a:pt x="1613" y="197"/>
                </a:lnTo>
                <a:lnTo>
                  <a:pt x="1613" y="277"/>
                </a:lnTo>
                <a:lnTo>
                  <a:pt x="1356" y="277"/>
                </a:lnTo>
                <a:lnTo>
                  <a:pt x="1470" y="89"/>
                </a:lnTo>
                <a:lnTo>
                  <a:pt x="1379" y="89"/>
                </a:lnTo>
                <a:lnTo>
                  <a:pt x="1379" y="9"/>
                </a:lnTo>
                <a:lnTo>
                  <a:pt x="1626" y="9"/>
                </a:lnTo>
                <a:lnTo>
                  <a:pt x="1513" y="197"/>
                </a:lnTo>
                <a:close/>
                <a:moveTo>
                  <a:pt x="1755" y="91"/>
                </a:moveTo>
                <a:lnTo>
                  <a:pt x="1755" y="91"/>
                </a:lnTo>
                <a:lnTo>
                  <a:pt x="1711" y="91"/>
                </a:lnTo>
                <a:lnTo>
                  <a:pt x="1699" y="125"/>
                </a:lnTo>
                <a:lnTo>
                  <a:pt x="1682" y="125"/>
                </a:lnTo>
                <a:lnTo>
                  <a:pt x="1724" y="11"/>
                </a:lnTo>
                <a:lnTo>
                  <a:pt x="1742" y="11"/>
                </a:lnTo>
                <a:lnTo>
                  <a:pt x="1783" y="125"/>
                </a:lnTo>
                <a:lnTo>
                  <a:pt x="1767" y="125"/>
                </a:lnTo>
                <a:lnTo>
                  <a:pt x="1755" y="91"/>
                </a:lnTo>
                <a:close/>
                <a:moveTo>
                  <a:pt x="1714" y="80"/>
                </a:moveTo>
                <a:lnTo>
                  <a:pt x="1714" y="80"/>
                </a:lnTo>
                <a:lnTo>
                  <a:pt x="1751" y="80"/>
                </a:lnTo>
                <a:lnTo>
                  <a:pt x="1740" y="48"/>
                </a:lnTo>
                <a:lnTo>
                  <a:pt x="1736" y="31"/>
                </a:lnTo>
                <a:lnTo>
                  <a:pt x="1733" y="24"/>
                </a:lnTo>
                <a:lnTo>
                  <a:pt x="1732" y="24"/>
                </a:lnTo>
                <a:lnTo>
                  <a:pt x="1731" y="31"/>
                </a:lnTo>
                <a:lnTo>
                  <a:pt x="1726" y="48"/>
                </a:lnTo>
                <a:lnTo>
                  <a:pt x="1714" y="80"/>
                </a:lnTo>
                <a:close/>
                <a:moveTo>
                  <a:pt x="1845" y="11"/>
                </a:moveTo>
                <a:lnTo>
                  <a:pt x="1845" y="11"/>
                </a:lnTo>
                <a:lnTo>
                  <a:pt x="1861" y="11"/>
                </a:lnTo>
                <a:lnTo>
                  <a:pt x="1907" y="82"/>
                </a:lnTo>
                <a:lnTo>
                  <a:pt x="1916" y="96"/>
                </a:lnTo>
                <a:lnTo>
                  <a:pt x="1920" y="105"/>
                </a:lnTo>
                <a:lnTo>
                  <a:pt x="1920" y="105"/>
                </a:lnTo>
                <a:lnTo>
                  <a:pt x="1920" y="96"/>
                </a:lnTo>
                <a:lnTo>
                  <a:pt x="1919" y="81"/>
                </a:lnTo>
                <a:lnTo>
                  <a:pt x="1919" y="11"/>
                </a:lnTo>
                <a:lnTo>
                  <a:pt x="1935" y="11"/>
                </a:lnTo>
                <a:lnTo>
                  <a:pt x="1935" y="125"/>
                </a:lnTo>
                <a:lnTo>
                  <a:pt x="1918" y="125"/>
                </a:lnTo>
                <a:lnTo>
                  <a:pt x="1872" y="54"/>
                </a:lnTo>
                <a:lnTo>
                  <a:pt x="1864" y="39"/>
                </a:lnTo>
                <a:lnTo>
                  <a:pt x="1859" y="31"/>
                </a:lnTo>
                <a:lnTo>
                  <a:pt x="1859" y="31"/>
                </a:lnTo>
                <a:lnTo>
                  <a:pt x="1859" y="39"/>
                </a:lnTo>
                <a:lnTo>
                  <a:pt x="1859" y="55"/>
                </a:lnTo>
                <a:lnTo>
                  <a:pt x="1859" y="125"/>
                </a:lnTo>
                <a:lnTo>
                  <a:pt x="1845" y="125"/>
                </a:lnTo>
                <a:lnTo>
                  <a:pt x="1845" y="11"/>
                </a:lnTo>
                <a:close/>
                <a:moveTo>
                  <a:pt x="1955" y="84"/>
                </a:moveTo>
                <a:lnTo>
                  <a:pt x="1955" y="84"/>
                </a:lnTo>
                <a:lnTo>
                  <a:pt x="1955" y="75"/>
                </a:lnTo>
                <a:lnTo>
                  <a:pt x="1957" y="67"/>
                </a:lnTo>
                <a:lnTo>
                  <a:pt x="1961" y="59"/>
                </a:lnTo>
                <a:lnTo>
                  <a:pt x="1965" y="54"/>
                </a:lnTo>
                <a:lnTo>
                  <a:pt x="1971" y="48"/>
                </a:lnTo>
                <a:lnTo>
                  <a:pt x="1979" y="44"/>
                </a:lnTo>
                <a:lnTo>
                  <a:pt x="1986" y="42"/>
                </a:lnTo>
                <a:lnTo>
                  <a:pt x="1995" y="41"/>
                </a:lnTo>
                <a:lnTo>
                  <a:pt x="2003" y="42"/>
                </a:lnTo>
                <a:lnTo>
                  <a:pt x="2012" y="44"/>
                </a:lnTo>
                <a:lnTo>
                  <a:pt x="2018" y="48"/>
                </a:lnTo>
                <a:lnTo>
                  <a:pt x="2024" y="54"/>
                </a:lnTo>
                <a:lnTo>
                  <a:pt x="2028" y="59"/>
                </a:lnTo>
                <a:lnTo>
                  <a:pt x="2032" y="67"/>
                </a:lnTo>
                <a:lnTo>
                  <a:pt x="2034" y="75"/>
                </a:lnTo>
                <a:lnTo>
                  <a:pt x="2034" y="84"/>
                </a:lnTo>
                <a:lnTo>
                  <a:pt x="2034" y="93"/>
                </a:lnTo>
                <a:lnTo>
                  <a:pt x="2032" y="101"/>
                </a:lnTo>
                <a:lnTo>
                  <a:pt x="2028" y="108"/>
                </a:lnTo>
                <a:lnTo>
                  <a:pt x="2024" y="114"/>
                </a:lnTo>
                <a:lnTo>
                  <a:pt x="2018" y="120"/>
                </a:lnTo>
                <a:lnTo>
                  <a:pt x="2012" y="123"/>
                </a:lnTo>
                <a:lnTo>
                  <a:pt x="2003" y="126"/>
                </a:lnTo>
                <a:lnTo>
                  <a:pt x="1995" y="127"/>
                </a:lnTo>
                <a:lnTo>
                  <a:pt x="1986" y="126"/>
                </a:lnTo>
                <a:lnTo>
                  <a:pt x="1979" y="123"/>
                </a:lnTo>
                <a:lnTo>
                  <a:pt x="1971" y="120"/>
                </a:lnTo>
                <a:lnTo>
                  <a:pt x="1965" y="114"/>
                </a:lnTo>
                <a:lnTo>
                  <a:pt x="1961" y="108"/>
                </a:lnTo>
                <a:lnTo>
                  <a:pt x="1957" y="101"/>
                </a:lnTo>
                <a:lnTo>
                  <a:pt x="1955" y="93"/>
                </a:lnTo>
                <a:lnTo>
                  <a:pt x="1955" y="84"/>
                </a:lnTo>
                <a:close/>
                <a:moveTo>
                  <a:pt x="2020" y="84"/>
                </a:moveTo>
                <a:lnTo>
                  <a:pt x="2020" y="84"/>
                </a:lnTo>
                <a:lnTo>
                  <a:pt x="2020" y="77"/>
                </a:lnTo>
                <a:lnTo>
                  <a:pt x="2019" y="71"/>
                </a:lnTo>
                <a:lnTo>
                  <a:pt x="2016" y="65"/>
                </a:lnTo>
                <a:lnTo>
                  <a:pt x="2014" y="62"/>
                </a:lnTo>
                <a:lnTo>
                  <a:pt x="2010" y="57"/>
                </a:lnTo>
                <a:lnTo>
                  <a:pt x="2006" y="55"/>
                </a:lnTo>
                <a:lnTo>
                  <a:pt x="2000" y="52"/>
                </a:lnTo>
                <a:lnTo>
                  <a:pt x="1994" y="52"/>
                </a:lnTo>
                <a:lnTo>
                  <a:pt x="1988" y="52"/>
                </a:lnTo>
                <a:lnTo>
                  <a:pt x="1983" y="55"/>
                </a:lnTo>
                <a:lnTo>
                  <a:pt x="1979" y="57"/>
                </a:lnTo>
                <a:lnTo>
                  <a:pt x="1975" y="62"/>
                </a:lnTo>
                <a:lnTo>
                  <a:pt x="1973" y="65"/>
                </a:lnTo>
                <a:lnTo>
                  <a:pt x="1970" y="71"/>
                </a:lnTo>
                <a:lnTo>
                  <a:pt x="1969" y="77"/>
                </a:lnTo>
                <a:lnTo>
                  <a:pt x="1969" y="84"/>
                </a:lnTo>
                <a:lnTo>
                  <a:pt x="1969" y="90"/>
                </a:lnTo>
                <a:lnTo>
                  <a:pt x="1970" y="96"/>
                </a:lnTo>
                <a:lnTo>
                  <a:pt x="1973" y="102"/>
                </a:lnTo>
                <a:lnTo>
                  <a:pt x="1975" y="106"/>
                </a:lnTo>
                <a:lnTo>
                  <a:pt x="1979" y="110"/>
                </a:lnTo>
                <a:lnTo>
                  <a:pt x="1983" y="113"/>
                </a:lnTo>
                <a:lnTo>
                  <a:pt x="1988" y="115"/>
                </a:lnTo>
                <a:lnTo>
                  <a:pt x="1994" y="115"/>
                </a:lnTo>
                <a:lnTo>
                  <a:pt x="2000" y="115"/>
                </a:lnTo>
                <a:lnTo>
                  <a:pt x="2006" y="113"/>
                </a:lnTo>
                <a:lnTo>
                  <a:pt x="2010" y="110"/>
                </a:lnTo>
                <a:lnTo>
                  <a:pt x="2014" y="106"/>
                </a:lnTo>
                <a:lnTo>
                  <a:pt x="2016" y="102"/>
                </a:lnTo>
                <a:lnTo>
                  <a:pt x="2019" y="96"/>
                </a:lnTo>
                <a:lnTo>
                  <a:pt x="2020" y="90"/>
                </a:lnTo>
                <a:lnTo>
                  <a:pt x="2020" y="84"/>
                </a:lnTo>
                <a:close/>
                <a:moveTo>
                  <a:pt x="2042" y="43"/>
                </a:moveTo>
                <a:lnTo>
                  <a:pt x="2042" y="43"/>
                </a:lnTo>
                <a:lnTo>
                  <a:pt x="2057" y="43"/>
                </a:lnTo>
                <a:lnTo>
                  <a:pt x="2072" y="87"/>
                </a:lnTo>
                <a:lnTo>
                  <a:pt x="2077" y="105"/>
                </a:lnTo>
                <a:lnTo>
                  <a:pt x="2079" y="113"/>
                </a:lnTo>
                <a:lnTo>
                  <a:pt x="2079" y="113"/>
                </a:lnTo>
                <a:lnTo>
                  <a:pt x="2082" y="105"/>
                </a:lnTo>
                <a:lnTo>
                  <a:pt x="2086" y="87"/>
                </a:lnTo>
                <a:lnTo>
                  <a:pt x="2102" y="43"/>
                </a:lnTo>
                <a:lnTo>
                  <a:pt x="2116" y="43"/>
                </a:lnTo>
                <a:lnTo>
                  <a:pt x="2086" y="125"/>
                </a:lnTo>
                <a:lnTo>
                  <a:pt x="2071" y="125"/>
                </a:lnTo>
                <a:lnTo>
                  <a:pt x="2042" y="43"/>
                </a:lnTo>
                <a:close/>
                <a:moveTo>
                  <a:pt x="2124" y="103"/>
                </a:moveTo>
                <a:lnTo>
                  <a:pt x="2124" y="103"/>
                </a:lnTo>
                <a:lnTo>
                  <a:pt x="2124" y="96"/>
                </a:lnTo>
                <a:lnTo>
                  <a:pt x="2127" y="91"/>
                </a:lnTo>
                <a:lnTo>
                  <a:pt x="2129" y="87"/>
                </a:lnTo>
                <a:lnTo>
                  <a:pt x="2134" y="84"/>
                </a:lnTo>
                <a:lnTo>
                  <a:pt x="2138" y="82"/>
                </a:lnTo>
                <a:lnTo>
                  <a:pt x="2144" y="80"/>
                </a:lnTo>
                <a:lnTo>
                  <a:pt x="2151" y="78"/>
                </a:lnTo>
                <a:lnTo>
                  <a:pt x="2159" y="77"/>
                </a:lnTo>
                <a:lnTo>
                  <a:pt x="2167" y="76"/>
                </a:lnTo>
                <a:lnTo>
                  <a:pt x="2174" y="74"/>
                </a:lnTo>
                <a:lnTo>
                  <a:pt x="2176" y="73"/>
                </a:lnTo>
                <a:lnTo>
                  <a:pt x="2177" y="70"/>
                </a:lnTo>
                <a:lnTo>
                  <a:pt x="2179" y="68"/>
                </a:lnTo>
                <a:lnTo>
                  <a:pt x="2179" y="65"/>
                </a:lnTo>
                <a:lnTo>
                  <a:pt x="2179" y="62"/>
                </a:lnTo>
                <a:lnTo>
                  <a:pt x="2177" y="59"/>
                </a:lnTo>
                <a:lnTo>
                  <a:pt x="2176" y="57"/>
                </a:lnTo>
                <a:lnTo>
                  <a:pt x="2174" y="55"/>
                </a:lnTo>
                <a:lnTo>
                  <a:pt x="2169" y="52"/>
                </a:lnTo>
                <a:lnTo>
                  <a:pt x="2161" y="51"/>
                </a:lnTo>
                <a:lnTo>
                  <a:pt x="2157" y="51"/>
                </a:lnTo>
                <a:lnTo>
                  <a:pt x="2153" y="52"/>
                </a:lnTo>
                <a:lnTo>
                  <a:pt x="2149" y="54"/>
                </a:lnTo>
                <a:lnTo>
                  <a:pt x="2147" y="56"/>
                </a:lnTo>
                <a:lnTo>
                  <a:pt x="2144" y="57"/>
                </a:lnTo>
                <a:lnTo>
                  <a:pt x="2143" y="61"/>
                </a:lnTo>
                <a:lnTo>
                  <a:pt x="2142" y="63"/>
                </a:lnTo>
                <a:lnTo>
                  <a:pt x="2142" y="67"/>
                </a:lnTo>
                <a:lnTo>
                  <a:pt x="2128" y="67"/>
                </a:lnTo>
                <a:lnTo>
                  <a:pt x="2129" y="62"/>
                </a:lnTo>
                <a:lnTo>
                  <a:pt x="2130" y="57"/>
                </a:lnTo>
                <a:lnTo>
                  <a:pt x="2132" y="52"/>
                </a:lnTo>
                <a:lnTo>
                  <a:pt x="2136" y="49"/>
                </a:lnTo>
                <a:lnTo>
                  <a:pt x="2141" y="45"/>
                </a:lnTo>
                <a:lnTo>
                  <a:pt x="2147" y="43"/>
                </a:lnTo>
                <a:lnTo>
                  <a:pt x="2154" y="42"/>
                </a:lnTo>
                <a:lnTo>
                  <a:pt x="2161" y="41"/>
                </a:lnTo>
                <a:lnTo>
                  <a:pt x="2167" y="41"/>
                </a:lnTo>
                <a:lnTo>
                  <a:pt x="2172" y="42"/>
                </a:lnTo>
                <a:lnTo>
                  <a:pt x="2176" y="43"/>
                </a:lnTo>
                <a:lnTo>
                  <a:pt x="2181" y="45"/>
                </a:lnTo>
                <a:lnTo>
                  <a:pt x="2186" y="49"/>
                </a:lnTo>
                <a:lnTo>
                  <a:pt x="2189" y="54"/>
                </a:lnTo>
                <a:lnTo>
                  <a:pt x="2192" y="59"/>
                </a:lnTo>
                <a:lnTo>
                  <a:pt x="2192" y="68"/>
                </a:lnTo>
                <a:lnTo>
                  <a:pt x="2192" y="106"/>
                </a:lnTo>
                <a:lnTo>
                  <a:pt x="2193" y="110"/>
                </a:lnTo>
                <a:lnTo>
                  <a:pt x="2194" y="113"/>
                </a:lnTo>
                <a:lnTo>
                  <a:pt x="2196" y="114"/>
                </a:lnTo>
                <a:lnTo>
                  <a:pt x="2201" y="114"/>
                </a:lnTo>
                <a:lnTo>
                  <a:pt x="2201" y="114"/>
                </a:lnTo>
                <a:lnTo>
                  <a:pt x="2201" y="125"/>
                </a:lnTo>
                <a:lnTo>
                  <a:pt x="2198" y="125"/>
                </a:lnTo>
                <a:lnTo>
                  <a:pt x="2194" y="126"/>
                </a:lnTo>
                <a:lnTo>
                  <a:pt x="2188" y="125"/>
                </a:lnTo>
                <a:lnTo>
                  <a:pt x="2183" y="122"/>
                </a:lnTo>
                <a:lnTo>
                  <a:pt x="2181" y="119"/>
                </a:lnTo>
                <a:lnTo>
                  <a:pt x="2179" y="113"/>
                </a:lnTo>
                <a:lnTo>
                  <a:pt x="2179" y="113"/>
                </a:lnTo>
                <a:lnTo>
                  <a:pt x="2174" y="118"/>
                </a:lnTo>
                <a:lnTo>
                  <a:pt x="2168" y="122"/>
                </a:lnTo>
                <a:lnTo>
                  <a:pt x="2161" y="126"/>
                </a:lnTo>
                <a:lnTo>
                  <a:pt x="2151" y="126"/>
                </a:lnTo>
                <a:lnTo>
                  <a:pt x="2145" y="126"/>
                </a:lnTo>
                <a:lnTo>
                  <a:pt x="2141" y="125"/>
                </a:lnTo>
                <a:lnTo>
                  <a:pt x="2136" y="123"/>
                </a:lnTo>
                <a:lnTo>
                  <a:pt x="2131" y="121"/>
                </a:lnTo>
                <a:lnTo>
                  <a:pt x="2129" y="118"/>
                </a:lnTo>
                <a:lnTo>
                  <a:pt x="2125" y="113"/>
                </a:lnTo>
                <a:lnTo>
                  <a:pt x="2124" y="108"/>
                </a:lnTo>
                <a:lnTo>
                  <a:pt x="2124" y="103"/>
                </a:lnTo>
                <a:close/>
                <a:moveTo>
                  <a:pt x="2179" y="95"/>
                </a:moveTo>
                <a:lnTo>
                  <a:pt x="2179" y="95"/>
                </a:lnTo>
                <a:lnTo>
                  <a:pt x="2179" y="81"/>
                </a:lnTo>
                <a:lnTo>
                  <a:pt x="2172" y="84"/>
                </a:lnTo>
                <a:lnTo>
                  <a:pt x="2161" y="87"/>
                </a:lnTo>
                <a:lnTo>
                  <a:pt x="2151" y="89"/>
                </a:lnTo>
                <a:lnTo>
                  <a:pt x="2144" y="91"/>
                </a:lnTo>
                <a:lnTo>
                  <a:pt x="2142" y="94"/>
                </a:lnTo>
                <a:lnTo>
                  <a:pt x="2141" y="96"/>
                </a:lnTo>
                <a:lnTo>
                  <a:pt x="2140" y="99"/>
                </a:lnTo>
                <a:lnTo>
                  <a:pt x="2138" y="103"/>
                </a:lnTo>
                <a:lnTo>
                  <a:pt x="2140" y="107"/>
                </a:lnTo>
                <a:lnTo>
                  <a:pt x="2140" y="109"/>
                </a:lnTo>
                <a:lnTo>
                  <a:pt x="2142" y="112"/>
                </a:lnTo>
                <a:lnTo>
                  <a:pt x="2144" y="113"/>
                </a:lnTo>
                <a:lnTo>
                  <a:pt x="2149" y="115"/>
                </a:lnTo>
                <a:lnTo>
                  <a:pt x="2155" y="116"/>
                </a:lnTo>
                <a:lnTo>
                  <a:pt x="2161" y="115"/>
                </a:lnTo>
                <a:lnTo>
                  <a:pt x="2166" y="114"/>
                </a:lnTo>
                <a:lnTo>
                  <a:pt x="2170" y="112"/>
                </a:lnTo>
                <a:lnTo>
                  <a:pt x="2173" y="109"/>
                </a:lnTo>
                <a:lnTo>
                  <a:pt x="2176" y="106"/>
                </a:lnTo>
                <a:lnTo>
                  <a:pt x="2177" y="102"/>
                </a:lnTo>
                <a:lnTo>
                  <a:pt x="2179" y="99"/>
                </a:lnTo>
                <a:lnTo>
                  <a:pt x="2179" y="95"/>
                </a:lnTo>
                <a:close/>
                <a:moveTo>
                  <a:pt x="2215" y="125"/>
                </a:moveTo>
                <a:lnTo>
                  <a:pt x="2215" y="125"/>
                </a:lnTo>
                <a:lnTo>
                  <a:pt x="2215" y="43"/>
                </a:lnTo>
                <a:lnTo>
                  <a:pt x="2230" y="43"/>
                </a:lnTo>
                <a:lnTo>
                  <a:pt x="2230" y="57"/>
                </a:lnTo>
                <a:lnTo>
                  <a:pt x="2231" y="57"/>
                </a:lnTo>
                <a:lnTo>
                  <a:pt x="2234" y="51"/>
                </a:lnTo>
                <a:lnTo>
                  <a:pt x="2240" y="46"/>
                </a:lnTo>
                <a:lnTo>
                  <a:pt x="2247" y="43"/>
                </a:lnTo>
                <a:lnTo>
                  <a:pt x="2254" y="42"/>
                </a:lnTo>
                <a:lnTo>
                  <a:pt x="2258" y="42"/>
                </a:lnTo>
                <a:lnTo>
                  <a:pt x="2260" y="43"/>
                </a:lnTo>
                <a:lnTo>
                  <a:pt x="2260" y="56"/>
                </a:lnTo>
                <a:lnTo>
                  <a:pt x="2259" y="56"/>
                </a:lnTo>
                <a:lnTo>
                  <a:pt x="2257" y="56"/>
                </a:lnTo>
                <a:lnTo>
                  <a:pt x="2253" y="55"/>
                </a:lnTo>
                <a:lnTo>
                  <a:pt x="2249" y="56"/>
                </a:lnTo>
                <a:lnTo>
                  <a:pt x="2245" y="57"/>
                </a:lnTo>
                <a:lnTo>
                  <a:pt x="2240" y="59"/>
                </a:lnTo>
                <a:lnTo>
                  <a:pt x="2237" y="62"/>
                </a:lnTo>
                <a:lnTo>
                  <a:pt x="2234" y="65"/>
                </a:lnTo>
                <a:lnTo>
                  <a:pt x="2232" y="70"/>
                </a:lnTo>
                <a:lnTo>
                  <a:pt x="2231" y="75"/>
                </a:lnTo>
                <a:lnTo>
                  <a:pt x="2230" y="80"/>
                </a:lnTo>
                <a:lnTo>
                  <a:pt x="2230" y="125"/>
                </a:lnTo>
                <a:lnTo>
                  <a:pt x="2215" y="125"/>
                </a:lnTo>
                <a:close/>
                <a:moveTo>
                  <a:pt x="2303" y="126"/>
                </a:moveTo>
                <a:lnTo>
                  <a:pt x="2303" y="126"/>
                </a:lnTo>
                <a:lnTo>
                  <a:pt x="2296" y="125"/>
                </a:lnTo>
                <a:lnTo>
                  <a:pt x="2290" y="121"/>
                </a:lnTo>
                <a:lnTo>
                  <a:pt x="2288" y="119"/>
                </a:lnTo>
                <a:lnTo>
                  <a:pt x="2286" y="116"/>
                </a:lnTo>
                <a:lnTo>
                  <a:pt x="2285" y="113"/>
                </a:lnTo>
                <a:lnTo>
                  <a:pt x="2284" y="109"/>
                </a:lnTo>
                <a:lnTo>
                  <a:pt x="2284" y="54"/>
                </a:lnTo>
                <a:lnTo>
                  <a:pt x="2272" y="54"/>
                </a:lnTo>
                <a:lnTo>
                  <a:pt x="2272" y="43"/>
                </a:lnTo>
                <a:lnTo>
                  <a:pt x="2284" y="43"/>
                </a:lnTo>
                <a:lnTo>
                  <a:pt x="2284" y="17"/>
                </a:lnTo>
                <a:lnTo>
                  <a:pt x="2298" y="17"/>
                </a:lnTo>
                <a:lnTo>
                  <a:pt x="2298" y="43"/>
                </a:lnTo>
                <a:lnTo>
                  <a:pt x="2316" y="43"/>
                </a:lnTo>
                <a:lnTo>
                  <a:pt x="2316" y="54"/>
                </a:lnTo>
                <a:lnTo>
                  <a:pt x="2298" y="54"/>
                </a:lnTo>
                <a:lnTo>
                  <a:pt x="2298" y="106"/>
                </a:lnTo>
                <a:lnTo>
                  <a:pt x="2299" y="109"/>
                </a:lnTo>
                <a:lnTo>
                  <a:pt x="2301" y="112"/>
                </a:lnTo>
                <a:lnTo>
                  <a:pt x="2303" y="113"/>
                </a:lnTo>
                <a:lnTo>
                  <a:pt x="2307" y="113"/>
                </a:lnTo>
                <a:lnTo>
                  <a:pt x="2311" y="113"/>
                </a:lnTo>
                <a:lnTo>
                  <a:pt x="2314" y="112"/>
                </a:lnTo>
                <a:lnTo>
                  <a:pt x="2315" y="112"/>
                </a:lnTo>
                <a:lnTo>
                  <a:pt x="2315" y="123"/>
                </a:lnTo>
                <a:lnTo>
                  <a:pt x="2309" y="125"/>
                </a:lnTo>
                <a:lnTo>
                  <a:pt x="2303" y="126"/>
                </a:lnTo>
                <a:close/>
                <a:moveTo>
                  <a:pt x="2349" y="19"/>
                </a:moveTo>
                <a:lnTo>
                  <a:pt x="2349" y="19"/>
                </a:lnTo>
                <a:lnTo>
                  <a:pt x="2348" y="23"/>
                </a:lnTo>
                <a:lnTo>
                  <a:pt x="2347" y="26"/>
                </a:lnTo>
                <a:lnTo>
                  <a:pt x="2344" y="28"/>
                </a:lnTo>
                <a:lnTo>
                  <a:pt x="2341" y="29"/>
                </a:lnTo>
                <a:lnTo>
                  <a:pt x="2337" y="28"/>
                </a:lnTo>
                <a:lnTo>
                  <a:pt x="2334" y="26"/>
                </a:lnTo>
                <a:lnTo>
                  <a:pt x="2333" y="23"/>
                </a:lnTo>
                <a:lnTo>
                  <a:pt x="2331" y="19"/>
                </a:lnTo>
                <a:lnTo>
                  <a:pt x="2333" y="16"/>
                </a:lnTo>
                <a:lnTo>
                  <a:pt x="2334" y="13"/>
                </a:lnTo>
                <a:lnTo>
                  <a:pt x="2337" y="12"/>
                </a:lnTo>
                <a:lnTo>
                  <a:pt x="2341" y="11"/>
                </a:lnTo>
                <a:lnTo>
                  <a:pt x="2344" y="12"/>
                </a:lnTo>
                <a:lnTo>
                  <a:pt x="2347" y="13"/>
                </a:lnTo>
                <a:lnTo>
                  <a:pt x="2348" y="16"/>
                </a:lnTo>
                <a:lnTo>
                  <a:pt x="2349" y="19"/>
                </a:lnTo>
                <a:close/>
                <a:moveTo>
                  <a:pt x="2334" y="43"/>
                </a:moveTo>
                <a:lnTo>
                  <a:pt x="2334" y="43"/>
                </a:lnTo>
                <a:lnTo>
                  <a:pt x="2348" y="43"/>
                </a:lnTo>
                <a:lnTo>
                  <a:pt x="2348" y="125"/>
                </a:lnTo>
                <a:lnTo>
                  <a:pt x="2334" y="125"/>
                </a:lnTo>
                <a:lnTo>
                  <a:pt x="2334" y="43"/>
                </a:lnTo>
                <a:close/>
                <a:moveTo>
                  <a:pt x="2365" y="100"/>
                </a:moveTo>
                <a:lnTo>
                  <a:pt x="2365" y="100"/>
                </a:lnTo>
                <a:lnTo>
                  <a:pt x="2379" y="100"/>
                </a:lnTo>
                <a:lnTo>
                  <a:pt x="2380" y="103"/>
                </a:lnTo>
                <a:lnTo>
                  <a:pt x="2382" y="107"/>
                </a:lnTo>
                <a:lnTo>
                  <a:pt x="2385" y="110"/>
                </a:lnTo>
                <a:lnTo>
                  <a:pt x="2387" y="113"/>
                </a:lnTo>
                <a:lnTo>
                  <a:pt x="2394" y="115"/>
                </a:lnTo>
                <a:lnTo>
                  <a:pt x="2402" y="115"/>
                </a:lnTo>
                <a:lnTo>
                  <a:pt x="2411" y="115"/>
                </a:lnTo>
                <a:lnTo>
                  <a:pt x="2415" y="112"/>
                </a:lnTo>
                <a:lnTo>
                  <a:pt x="2418" y="110"/>
                </a:lnTo>
                <a:lnTo>
                  <a:pt x="2419" y="108"/>
                </a:lnTo>
                <a:lnTo>
                  <a:pt x="2420" y="106"/>
                </a:lnTo>
                <a:lnTo>
                  <a:pt x="2420" y="102"/>
                </a:lnTo>
                <a:lnTo>
                  <a:pt x="2420" y="100"/>
                </a:lnTo>
                <a:lnTo>
                  <a:pt x="2419" y="97"/>
                </a:lnTo>
                <a:lnTo>
                  <a:pt x="2418" y="95"/>
                </a:lnTo>
                <a:lnTo>
                  <a:pt x="2415" y="94"/>
                </a:lnTo>
                <a:lnTo>
                  <a:pt x="2408" y="90"/>
                </a:lnTo>
                <a:lnTo>
                  <a:pt x="2399" y="88"/>
                </a:lnTo>
                <a:lnTo>
                  <a:pt x="2387" y="86"/>
                </a:lnTo>
                <a:lnTo>
                  <a:pt x="2378" y="82"/>
                </a:lnTo>
                <a:lnTo>
                  <a:pt x="2374" y="78"/>
                </a:lnTo>
                <a:lnTo>
                  <a:pt x="2370" y="75"/>
                </a:lnTo>
                <a:lnTo>
                  <a:pt x="2369" y="70"/>
                </a:lnTo>
                <a:lnTo>
                  <a:pt x="2368" y="64"/>
                </a:lnTo>
                <a:lnTo>
                  <a:pt x="2369" y="58"/>
                </a:lnTo>
                <a:lnTo>
                  <a:pt x="2370" y="55"/>
                </a:lnTo>
                <a:lnTo>
                  <a:pt x="2373" y="50"/>
                </a:lnTo>
                <a:lnTo>
                  <a:pt x="2376" y="48"/>
                </a:lnTo>
                <a:lnTo>
                  <a:pt x="2381" y="44"/>
                </a:lnTo>
                <a:lnTo>
                  <a:pt x="2386" y="43"/>
                </a:lnTo>
                <a:lnTo>
                  <a:pt x="2392" y="42"/>
                </a:lnTo>
                <a:lnTo>
                  <a:pt x="2399" y="41"/>
                </a:lnTo>
                <a:lnTo>
                  <a:pt x="2406" y="42"/>
                </a:lnTo>
                <a:lnTo>
                  <a:pt x="2412" y="43"/>
                </a:lnTo>
                <a:lnTo>
                  <a:pt x="2418" y="44"/>
                </a:lnTo>
                <a:lnTo>
                  <a:pt x="2421" y="48"/>
                </a:lnTo>
                <a:lnTo>
                  <a:pt x="2425" y="51"/>
                </a:lnTo>
                <a:lnTo>
                  <a:pt x="2429" y="55"/>
                </a:lnTo>
                <a:lnTo>
                  <a:pt x="2430" y="59"/>
                </a:lnTo>
                <a:lnTo>
                  <a:pt x="2431" y="64"/>
                </a:lnTo>
                <a:lnTo>
                  <a:pt x="2417" y="64"/>
                </a:lnTo>
                <a:lnTo>
                  <a:pt x="2415" y="59"/>
                </a:lnTo>
                <a:lnTo>
                  <a:pt x="2412" y="55"/>
                </a:lnTo>
                <a:lnTo>
                  <a:pt x="2406" y="52"/>
                </a:lnTo>
                <a:lnTo>
                  <a:pt x="2398" y="51"/>
                </a:lnTo>
                <a:lnTo>
                  <a:pt x="2391" y="52"/>
                </a:lnTo>
                <a:lnTo>
                  <a:pt x="2386" y="55"/>
                </a:lnTo>
                <a:lnTo>
                  <a:pt x="2384" y="58"/>
                </a:lnTo>
                <a:lnTo>
                  <a:pt x="2382" y="63"/>
                </a:lnTo>
                <a:lnTo>
                  <a:pt x="2382" y="65"/>
                </a:lnTo>
                <a:lnTo>
                  <a:pt x="2384" y="68"/>
                </a:lnTo>
                <a:lnTo>
                  <a:pt x="2386" y="70"/>
                </a:lnTo>
                <a:lnTo>
                  <a:pt x="2388" y="71"/>
                </a:lnTo>
                <a:lnTo>
                  <a:pt x="2395" y="74"/>
                </a:lnTo>
                <a:lnTo>
                  <a:pt x="2404" y="76"/>
                </a:lnTo>
                <a:lnTo>
                  <a:pt x="2415" y="78"/>
                </a:lnTo>
                <a:lnTo>
                  <a:pt x="2425" y="83"/>
                </a:lnTo>
                <a:lnTo>
                  <a:pt x="2430" y="87"/>
                </a:lnTo>
                <a:lnTo>
                  <a:pt x="2432" y="90"/>
                </a:lnTo>
                <a:lnTo>
                  <a:pt x="2434" y="95"/>
                </a:lnTo>
                <a:lnTo>
                  <a:pt x="2434" y="102"/>
                </a:lnTo>
                <a:lnTo>
                  <a:pt x="2434" y="108"/>
                </a:lnTo>
                <a:lnTo>
                  <a:pt x="2432" y="113"/>
                </a:lnTo>
                <a:lnTo>
                  <a:pt x="2430" y="118"/>
                </a:lnTo>
                <a:lnTo>
                  <a:pt x="2425" y="121"/>
                </a:lnTo>
                <a:lnTo>
                  <a:pt x="2420" y="123"/>
                </a:lnTo>
                <a:lnTo>
                  <a:pt x="2415" y="126"/>
                </a:lnTo>
                <a:lnTo>
                  <a:pt x="2408" y="127"/>
                </a:lnTo>
                <a:lnTo>
                  <a:pt x="2401" y="127"/>
                </a:lnTo>
                <a:lnTo>
                  <a:pt x="2394" y="127"/>
                </a:lnTo>
                <a:lnTo>
                  <a:pt x="2387" y="125"/>
                </a:lnTo>
                <a:lnTo>
                  <a:pt x="2380" y="123"/>
                </a:lnTo>
                <a:lnTo>
                  <a:pt x="2375" y="120"/>
                </a:lnTo>
                <a:lnTo>
                  <a:pt x="2372" y="116"/>
                </a:lnTo>
                <a:lnTo>
                  <a:pt x="2368" y="112"/>
                </a:lnTo>
                <a:lnTo>
                  <a:pt x="2366" y="106"/>
                </a:lnTo>
                <a:lnTo>
                  <a:pt x="2365" y="100"/>
                </a:lnTo>
                <a:close/>
                <a:moveTo>
                  <a:pt x="1692" y="164"/>
                </a:moveTo>
                <a:lnTo>
                  <a:pt x="1692" y="164"/>
                </a:lnTo>
                <a:lnTo>
                  <a:pt x="1733" y="164"/>
                </a:lnTo>
                <a:lnTo>
                  <a:pt x="1745" y="165"/>
                </a:lnTo>
                <a:lnTo>
                  <a:pt x="1756" y="168"/>
                </a:lnTo>
                <a:lnTo>
                  <a:pt x="1764" y="173"/>
                </a:lnTo>
                <a:lnTo>
                  <a:pt x="1771" y="179"/>
                </a:lnTo>
                <a:lnTo>
                  <a:pt x="1777" y="187"/>
                </a:lnTo>
                <a:lnTo>
                  <a:pt x="1781" y="198"/>
                </a:lnTo>
                <a:lnTo>
                  <a:pt x="1783" y="209"/>
                </a:lnTo>
                <a:lnTo>
                  <a:pt x="1784" y="221"/>
                </a:lnTo>
                <a:lnTo>
                  <a:pt x="1783" y="234"/>
                </a:lnTo>
                <a:lnTo>
                  <a:pt x="1781" y="244"/>
                </a:lnTo>
                <a:lnTo>
                  <a:pt x="1777" y="254"/>
                </a:lnTo>
                <a:lnTo>
                  <a:pt x="1771" y="262"/>
                </a:lnTo>
                <a:lnTo>
                  <a:pt x="1764" y="268"/>
                </a:lnTo>
                <a:lnTo>
                  <a:pt x="1755" y="274"/>
                </a:lnTo>
                <a:lnTo>
                  <a:pt x="1744" y="276"/>
                </a:lnTo>
                <a:lnTo>
                  <a:pt x="1732" y="277"/>
                </a:lnTo>
                <a:lnTo>
                  <a:pt x="1692" y="277"/>
                </a:lnTo>
                <a:lnTo>
                  <a:pt x="1692" y="164"/>
                </a:lnTo>
                <a:close/>
                <a:moveTo>
                  <a:pt x="1732" y="263"/>
                </a:moveTo>
                <a:lnTo>
                  <a:pt x="1732" y="263"/>
                </a:lnTo>
                <a:lnTo>
                  <a:pt x="1740" y="263"/>
                </a:lnTo>
                <a:lnTo>
                  <a:pt x="1749" y="261"/>
                </a:lnTo>
                <a:lnTo>
                  <a:pt x="1755" y="257"/>
                </a:lnTo>
                <a:lnTo>
                  <a:pt x="1759" y="253"/>
                </a:lnTo>
                <a:lnTo>
                  <a:pt x="1763" y="245"/>
                </a:lnTo>
                <a:lnTo>
                  <a:pt x="1767" y="238"/>
                </a:lnTo>
                <a:lnTo>
                  <a:pt x="1768" y="230"/>
                </a:lnTo>
                <a:lnTo>
                  <a:pt x="1768" y="221"/>
                </a:lnTo>
                <a:lnTo>
                  <a:pt x="1768" y="211"/>
                </a:lnTo>
                <a:lnTo>
                  <a:pt x="1767" y="203"/>
                </a:lnTo>
                <a:lnTo>
                  <a:pt x="1764" y="196"/>
                </a:lnTo>
                <a:lnTo>
                  <a:pt x="1761" y="190"/>
                </a:lnTo>
                <a:lnTo>
                  <a:pt x="1755" y="184"/>
                </a:lnTo>
                <a:lnTo>
                  <a:pt x="1749" y="180"/>
                </a:lnTo>
                <a:lnTo>
                  <a:pt x="1742" y="178"/>
                </a:lnTo>
                <a:lnTo>
                  <a:pt x="1732" y="177"/>
                </a:lnTo>
                <a:lnTo>
                  <a:pt x="1707" y="177"/>
                </a:lnTo>
                <a:lnTo>
                  <a:pt x="1707" y="263"/>
                </a:lnTo>
                <a:lnTo>
                  <a:pt x="1732" y="263"/>
                </a:lnTo>
                <a:close/>
                <a:moveTo>
                  <a:pt x="1820" y="172"/>
                </a:moveTo>
                <a:lnTo>
                  <a:pt x="1820" y="172"/>
                </a:lnTo>
                <a:lnTo>
                  <a:pt x="1820" y="176"/>
                </a:lnTo>
                <a:lnTo>
                  <a:pt x="1817" y="179"/>
                </a:lnTo>
                <a:lnTo>
                  <a:pt x="1815" y="180"/>
                </a:lnTo>
                <a:lnTo>
                  <a:pt x="1812" y="181"/>
                </a:lnTo>
                <a:lnTo>
                  <a:pt x="1808" y="180"/>
                </a:lnTo>
                <a:lnTo>
                  <a:pt x="1806" y="179"/>
                </a:lnTo>
                <a:lnTo>
                  <a:pt x="1803" y="176"/>
                </a:lnTo>
                <a:lnTo>
                  <a:pt x="1803" y="172"/>
                </a:lnTo>
                <a:lnTo>
                  <a:pt x="1803" y="168"/>
                </a:lnTo>
                <a:lnTo>
                  <a:pt x="1806" y="166"/>
                </a:lnTo>
                <a:lnTo>
                  <a:pt x="1808" y="164"/>
                </a:lnTo>
                <a:lnTo>
                  <a:pt x="1812" y="164"/>
                </a:lnTo>
                <a:lnTo>
                  <a:pt x="1815" y="164"/>
                </a:lnTo>
                <a:lnTo>
                  <a:pt x="1817" y="166"/>
                </a:lnTo>
                <a:lnTo>
                  <a:pt x="1820" y="168"/>
                </a:lnTo>
                <a:lnTo>
                  <a:pt x="1820" y="172"/>
                </a:lnTo>
                <a:close/>
                <a:moveTo>
                  <a:pt x="1804" y="196"/>
                </a:moveTo>
                <a:lnTo>
                  <a:pt x="1804" y="196"/>
                </a:lnTo>
                <a:lnTo>
                  <a:pt x="1819" y="196"/>
                </a:lnTo>
                <a:lnTo>
                  <a:pt x="1819" y="277"/>
                </a:lnTo>
                <a:lnTo>
                  <a:pt x="1804" y="277"/>
                </a:lnTo>
                <a:lnTo>
                  <a:pt x="1804" y="196"/>
                </a:lnTo>
                <a:close/>
                <a:moveTo>
                  <a:pt x="1832" y="196"/>
                </a:moveTo>
                <a:lnTo>
                  <a:pt x="1832" y="196"/>
                </a:lnTo>
                <a:lnTo>
                  <a:pt x="1847" y="196"/>
                </a:lnTo>
                <a:lnTo>
                  <a:pt x="1861" y="240"/>
                </a:lnTo>
                <a:lnTo>
                  <a:pt x="1867" y="257"/>
                </a:lnTo>
                <a:lnTo>
                  <a:pt x="1870" y="266"/>
                </a:lnTo>
                <a:lnTo>
                  <a:pt x="1870" y="266"/>
                </a:lnTo>
                <a:lnTo>
                  <a:pt x="1872" y="257"/>
                </a:lnTo>
                <a:lnTo>
                  <a:pt x="1877" y="240"/>
                </a:lnTo>
                <a:lnTo>
                  <a:pt x="1891" y="196"/>
                </a:lnTo>
                <a:lnTo>
                  <a:pt x="1906" y="196"/>
                </a:lnTo>
                <a:lnTo>
                  <a:pt x="1877" y="277"/>
                </a:lnTo>
                <a:lnTo>
                  <a:pt x="1860" y="277"/>
                </a:lnTo>
                <a:lnTo>
                  <a:pt x="1832" y="196"/>
                </a:lnTo>
                <a:close/>
                <a:moveTo>
                  <a:pt x="1935" y="172"/>
                </a:moveTo>
                <a:lnTo>
                  <a:pt x="1935" y="172"/>
                </a:lnTo>
                <a:lnTo>
                  <a:pt x="1935" y="176"/>
                </a:lnTo>
                <a:lnTo>
                  <a:pt x="1932" y="179"/>
                </a:lnTo>
                <a:lnTo>
                  <a:pt x="1930" y="180"/>
                </a:lnTo>
                <a:lnTo>
                  <a:pt x="1926" y="181"/>
                </a:lnTo>
                <a:lnTo>
                  <a:pt x="1923" y="180"/>
                </a:lnTo>
                <a:lnTo>
                  <a:pt x="1920" y="179"/>
                </a:lnTo>
                <a:lnTo>
                  <a:pt x="1918" y="176"/>
                </a:lnTo>
                <a:lnTo>
                  <a:pt x="1918" y="172"/>
                </a:lnTo>
                <a:lnTo>
                  <a:pt x="1918" y="168"/>
                </a:lnTo>
                <a:lnTo>
                  <a:pt x="1920" y="166"/>
                </a:lnTo>
                <a:lnTo>
                  <a:pt x="1923" y="164"/>
                </a:lnTo>
                <a:lnTo>
                  <a:pt x="1926" y="164"/>
                </a:lnTo>
                <a:lnTo>
                  <a:pt x="1930" y="164"/>
                </a:lnTo>
                <a:lnTo>
                  <a:pt x="1932" y="166"/>
                </a:lnTo>
                <a:lnTo>
                  <a:pt x="1935" y="168"/>
                </a:lnTo>
                <a:lnTo>
                  <a:pt x="1935" y="172"/>
                </a:lnTo>
                <a:close/>
                <a:moveTo>
                  <a:pt x="1919" y="196"/>
                </a:moveTo>
                <a:lnTo>
                  <a:pt x="1919" y="196"/>
                </a:lnTo>
                <a:lnTo>
                  <a:pt x="1934" y="196"/>
                </a:lnTo>
                <a:lnTo>
                  <a:pt x="1934" y="277"/>
                </a:lnTo>
                <a:lnTo>
                  <a:pt x="1919" y="277"/>
                </a:lnTo>
                <a:lnTo>
                  <a:pt x="1919" y="196"/>
                </a:lnTo>
                <a:close/>
                <a:moveTo>
                  <a:pt x="1951" y="253"/>
                </a:moveTo>
                <a:lnTo>
                  <a:pt x="1951" y="253"/>
                </a:lnTo>
                <a:lnTo>
                  <a:pt x="1965" y="253"/>
                </a:lnTo>
                <a:lnTo>
                  <a:pt x="1967" y="256"/>
                </a:lnTo>
                <a:lnTo>
                  <a:pt x="1968" y="260"/>
                </a:lnTo>
                <a:lnTo>
                  <a:pt x="1970" y="263"/>
                </a:lnTo>
                <a:lnTo>
                  <a:pt x="1973" y="264"/>
                </a:lnTo>
                <a:lnTo>
                  <a:pt x="1980" y="268"/>
                </a:lnTo>
                <a:lnTo>
                  <a:pt x="1988" y="268"/>
                </a:lnTo>
                <a:lnTo>
                  <a:pt x="1996" y="267"/>
                </a:lnTo>
                <a:lnTo>
                  <a:pt x="2002" y="264"/>
                </a:lnTo>
                <a:lnTo>
                  <a:pt x="2003" y="263"/>
                </a:lnTo>
                <a:lnTo>
                  <a:pt x="2006" y="261"/>
                </a:lnTo>
                <a:lnTo>
                  <a:pt x="2006" y="258"/>
                </a:lnTo>
                <a:lnTo>
                  <a:pt x="2007" y="255"/>
                </a:lnTo>
                <a:lnTo>
                  <a:pt x="2006" y="253"/>
                </a:lnTo>
                <a:lnTo>
                  <a:pt x="2005" y="250"/>
                </a:lnTo>
                <a:lnTo>
                  <a:pt x="2003" y="248"/>
                </a:lnTo>
                <a:lnTo>
                  <a:pt x="2001" y="245"/>
                </a:lnTo>
                <a:lnTo>
                  <a:pt x="1994" y="243"/>
                </a:lnTo>
                <a:lnTo>
                  <a:pt x="1984" y="241"/>
                </a:lnTo>
                <a:lnTo>
                  <a:pt x="1974" y="238"/>
                </a:lnTo>
                <a:lnTo>
                  <a:pt x="1964" y="235"/>
                </a:lnTo>
                <a:lnTo>
                  <a:pt x="1960" y="231"/>
                </a:lnTo>
                <a:lnTo>
                  <a:pt x="1957" y="228"/>
                </a:lnTo>
                <a:lnTo>
                  <a:pt x="1955" y="223"/>
                </a:lnTo>
                <a:lnTo>
                  <a:pt x="1955" y="216"/>
                </a:lnTo>
                <a:lnTo>
                  <a:pt x="1955" y="211"/>
                </a:lnTo>
                <a:lnTo>
                  <a:pt x="1956" y="206"/>
                </a:lnTo>
                <a:lnTo>
                  <a:pt x="1960" y="203"/>
                </a:lnTo>
                <a:lnTo>
                  <a:pt x="1962" y="199"/>
                </a:lnTo>
                <a:lnTo>
                  <a:pt x="1967" y="197"/>
                </a:lnTo>
                <a:lnTo>
                  <a:pt x="1971" y="196"/>
                </a:lnTo>
                <a:lnTo>
                  <a:pt x="1977" y="193"/>
                </a:lnTo>
                <a:lnTo>
                  <a:pt x="1984" y="193"/>
                </a:lnTo>
                <a:lnTo>
                  <a:pt x="1992" y="195"/>
                </a:lnTo>
                <a:lnTo>
                  <a:pt x="1999" y="196"/>
                </a:lnTo>
                <a:lnTo>
                  <a:pt x="2003" y="197"/>
                </a:lnTo>
                <a:lnTo>
                  <a:pt x="2008" y="200"/>
                </a:lnTo>
                <a:lnTo>
                  <a:pt x="2012" y="204"/>
                </a:lnTo>
                <a:lnTo>
                  <a:pt x="2014" y="208"/>
                </a:lnTo>
                <a:lnTo>
                  <a:pt x="2016" y="212"/>
                </a:lnTo>
                <a:lnTo>
                  <a:pt x="2018" y="217"/>
                </a:lnTo>
                <a:lnTo>
                  <a:pt x="2003" y="217"/>
                </a:lnTo>
                <a:lnTo>
                  <a:pt x="2001" y="212"/>
                </a:lnTo>
                <a:lnTo>
                  <a:pt x="1997" y="208"/>
                </a:lnTo>
                <a:lnTo>
                  <a:pt x="1992" y="205"/>
                </a:lnTo>
                <a:lnTo>
                  <a:pt x="1984" y="204"/>
                </a:lnTo>
                <a:lnTo>
                  <a:pt x="1977" y="205"/>
                </a:lnTo>
                <a:lnTo>
                  <a:pt x="1973" y="208"/>
                </a:lnTo>
                <a:lnTo>
                  <a:pt x="1969" y="211"/>
                </a:lnTo>
                <a:lnTo>
                  <a:pt x="1968" y="216"/>
                </a:lnTo>
                <a:lnTo>
                  <a:pt x="1969" y="218"/>
                </a:lnTo>
                <a:lnTo>
                  <a:pt x="1970" y="221"/>
                </a:lnTo>
                <a:lnTo>
                  <a:pt x="1971" y="223"/>
                </a:lnTo>
                <a:lnTo>
                  <a:pt x="1974" y="224"/>
                </a:lnTo>
                <a:lnTo>
                  <a:pt x="1981" y="227"/>
                </a:lnTo>
                <a:lnTo>
                  <a:pt x="1990" y="229"/>
                </a:lnTo>
                <a:lnTo>
                  <a:pt x="2002" y="231"/>
                </a:lnTo>
                <a:lnTo>
                  <a:pt x="2012" y="236"/>
                </a:lnTo>
                <a:lnTo>
                  <a:pt x="2015" y="238"/>
                </a:lnTo>
                <a:lnTo>
                  <a:pt x="2018" y="243"/>
                </a:lnTo>
                <a:lnTo>
                  <a:pt x="2020" y="248"/>
                </a:lnTo>
                <a:lnTo>
                  <a:pt x="2021" y="255"/>
                </a:lnTo>
                <a:lnTo>
                  <a:pt x="2020" y="261"/>
                </a:lnTo>
                <a:lnTo>
                  <a:pt x="2018" y="266"/>
                </a:lnTo>
                <a:lnTo>
                  <a:pt x="2015" y="270"/>
                </a:lnTo>
                <a:lnTo>
                  <a:pt x="2012" y="274"/>
                </a:lnTo>
                <a:lnTo>
                  <a:pt x="2007" y="276"/>
                </a:lnTo>
                <a:lnTo>
                  <a:pt x="2001" y="279"/>
                </a:lnTo>
                <a:lnTo>
                  <a:pt x="1995" y="280"/>
                </a:lnTo>
                <a:lnTo>
                  <a:pt x="1988" y="280"/>
                </a:lnTo>
                <a:lnTo>
                  <a:pt x="1980" y="280"/>
                </a:lnTo>
                <a:lnTo>
                  <a:pt x="1973" y="277"/>
                </a:lnTo>
                <a:lnTo>
                  <a:pt x="1967" y="275"/>
                </a:lnTo>
                <a:lnTo>
                  <a:pt x="1961" y="273"/>
                </a:lnTo>
                <a:lnTo>
                  <a:pt x="1957" y="268"/>
                </a:lnTo>
                <a:lnTo>
                  <a:pt x="1954" y="263"/>
                </a:lnTo>
                <a:lnTo>
                  <a:pt x="1952" y="258"/>
                </a:lnTo>
                <a:lnTo>
                  <a:pt x="1951" y="253"/>
                </a:lnTo>
                <a:close/>
                <a:moveTo>
                  <a:pt x="2054" y="172"/>
                </a:moveTo>
                <a:lnTo>
                  <a:pt x="2054" y="172"/>
                </a:lnTo>
                <a:lnTo>
                  <a:pt x="2054" y="176"/>
                </a:lnTo>
                <a:lnTo>
                  <a:pt x="2052" y="179"/>
                </a:lnTo>
                <a:lnTo>
                  <a:pt x="2050" y="180"/>
                </a:lnTo>
                <a:lnTo>
                  <a:pt x="2046" y="181"/>
                </a:lnTo>
                <a:lnTo>
                  <a:pt x="2042" y="180"/>
                </a:lnTo>
                <a:lnTo>
                  <a:pt x="2040" y="179"/>
                </a:lnTo>
                <a:lnTo>
                  <a:pt x="2038" y="176"/>
                </a:lnTo>
                <a:lnTo>
                  <a:pt x="2038" y="172"/>
                </a:lnTo>
                <a:lnTo>
                  <a:pt x="2038" y="168"/>
                </a:lnTo>
                <a:lnTo>
                  <a:pt x="2040" y="166"/>
                </a:lnTo>
                <a:lnTo>
                  <a:pt x="2042" y="164"/>
                </a:lnTo>
                <a:lnTo>
                  <a:pt x="2046" y="164"/>
                </a:lnTo>
                <a:lnTo>
                  <a:pt x="2050" y="164"/>
                </a:lnTo>
                <a:lnTo>
                  <a:pt x="2052" y="166"/>
                </a:lnTo>
                <a:lnTo>
                  <a:pt x="2054" y="168"/>
                </a:lnTo>
                <a:lnTo>
                  <a:pt x="2054" y="172"/>
                </a:lnTo>
                <a:close/>
                <a:moveTo>
                  <a:pt x="2039" y="196"/>
                </a:moveTo>
                <a:lnTo>
                  <a:pt x="2039" y="196"/>
                </a:lnTo>
                <a:lnTo>
                  <a:pt x="2053" y="196"/>
                </a:lnTo>
                <a:lnTo>
                  <a:pt x="2053" y="277"/>
                </a:lnTo>
                <a:lnTo>
                  <a:pt x="2039" y="277"/>
                </a:lnTo>
                <a:lnTo>
                  <a:pt x="2039" y="196"/>
                </a:lnTo>
                <a:close/>
                <a:moveTo>
                  <a:pt x="2071" y="236"/>
                </a:moveTo>
                <a:lnTo>
                  <a:pt x="2071" y="236"/>
                </a:lnTo>
                <a:lnTo>
                  <a:pt x="2072" y="228"/>
                </a:lnTo>
                <a:lnTo>
                  <a:pt x="2074" y="219"/>
                </a:lnTo>
                <a:lnTo>
                  <a:pt x="2078" y="212"/>
                </a:lnTo>
                <a:lnTo>
                  <a:pt x="2082" y="206"/>
                </a:lnTo>
                <a:lnTo>
                  <a:pt x="2087" y="200"/>
                </a:lnTo>
                <a:lnTo>
                  <a:pt x="2095" y="197"/>
                </a:lnTo>
                <a:lnTo>
                  <a:pt x="2103" y="195"/>
                </a:lnTo>
                <a:lnTo>
                  <a:pt x="2111" y="193"/>
                </a:lnTo>
                <a:lnTo>
                  <a:pt x="2121" y="195"/>
                </a:lnTo>
                <a:lnTo>
                  <a:pt x="2128" y="197"/>
                </a:lnTo>
                <a:lnTo>
                  <a:pt x="2135" y="200"/>
                </a:lnTo>
                <a:lnTo>
                  <a:pt x="2141" y="206"/>
                </a:lnTo>
                <a:lnTo>
                  <a:pt x="2145" y="212"/>
                </a:lnTo>
                <a:lnTo>
                  <a:pt x="2149" y="219"/>
                </a:lnTo>
                <a:lnTo>
                  <a:pt x="2150" y="228"/>
                </a:lnTo>
                <a:lnTo>
                  <a:pt x="2151" y="236"/>
                </a:lnTo>
                <a:lnTo>
                  <a:pt x="2150" y="245"/>
                </a:lnTo>
                <a:lnTo>
                  <a:pt x="2149" y="254"/>
                </a:lnTo>
                <a:lnTo>
                  <a:pt x="2145" y="261"/>
                </a:lnTo>
                <a:lnTo>
                  <a:pt x="2141" y="267"/>
                </a:lnTo>
                <a:lnTo>
                  <a:pt x="2135" y="273"/>
                </a:lnTo>
                <a:lnTo>
                  <a:pt x="2128" y="276"/>
                </a:lnTo>
                <a:lnTo>
                  <a:pt x="2121" y="279"/>
                </a:lnTo>
                <a:lnTo>
                  <a:pt x="2111" y="280"/>
                </a:lnTo>
                <a:lnTo>
                  <a:pt x="2103" y="279"/>
                </a:lnTo>
                <a:lnTo>
                  <a:pt x="2095" y="276"/>
                </a:lnTo>
                <a:lnTo>
                  <a:pt x="2087" y="273"/>
                </a:lnTo>
                <a:lnTo>
                  <a:pt x="2082" y="267"/>
                </a:lnTo>
                <a:lnTo>
                  <a:pt x="2078" y="261"/>
                </a:lnTo>
                <a:lnTo>
                  <a:pt x="2074" y="254"/>
                </a:lnTo>
                <a:lnTo>
                  <a:pt x="2072" y="245"/>
                </a:lnTo>
                <a:lnTo>
                  <a:pt x="2071" y="236"/>
                </a:lnTo>
                <a:close/>
                <a:moveTo>
                  <a:pt x="2137" y="236"/>
                </a:moveTo>
                <a:lnTo>
                  <a:pt x="2137" y="236"/>
                </a:lnTo>
                <a:lnTo>
                  <a:pt x="2136" y="230"/>
                </a:lnTo>
                <a:lnTo>
                  <a:pt x="2135" y="224"/>
                </a:lnTo>
                <a:lnTo>
                  <a:pt x="2134" y="218"/>
                </a:lnTo>
                <a:lnTo>
                  <a:pt x="2130" y="213"/>
                </a:lnTo>
                <a:lnTo>
                  <a:pt x="2127" y="210"/>
                </a:lnTo>
                <a:lnTo>
                  <a:pt x="2122" y="208"/>
                </a:lnTo>
                <a:lnTo>
                  <a:pt x="2117" y="205"/>
                </a:lnTo>
                <a:lnTo>
                  <a:pt x="2111" y="205"/>
                </a:lnTo>
                <a:lnTo>
                  <a:pt x="2105" y="205"/>
                </a:lnTo>
                <a:lnTo>
                  <a:pt x="2100" y="208"/>
                </a:lnTo>
                <a:lnTo>
                  <a:pt x="2096" y="210"/>
                </a:lnTo>
                <a:lnTo>
                  <a:pt x="2092" y="213"/>
                </a:lnTo>
                <a:lnTo>
                  <a:pt x="2090" y="218"/>
                </a:lnTo>
                <a:lnTo>
                  <a:pt x="2087" y="224"/>
                </a:lnTo>
                <a:lnTo>
                  <a:pt x="2086" y="230"/>
                </a:lnTo>
                <a:lnTo>
                  <a:pt x="2086" y="236"/>
                </a:lnTo>
                <a:lnTo>
                  <a:pt x="2086" y="243"/>
                </a:lnTo>
                <a:lnTo>
                  <a:pt x="2087" y="249"/>
                </a:lnTo>
                <a:lnTo>
                  <a:pt x="2090" y="254"/>
                </a:lnTo>
                <a:lnTo>
                  <a:pt x="2092" y="258"/>
                </a:lnTo>
                <a:lnTo>
                  <a:pt x="2096" y="263"/>
                </a:lnTo>
                <a:lnTo>
                  <a:pt x="2100" y="266"/>
                </a:lnTo>
                <a:lnTo>
                  <a:pt x="2105" y="268"/>
                </a:lnTo>
                <a:lnTo>
                  <a:pt x="2111" y="268"/>
                </a:lnTo>
                <a:lnTo>
                  <a:pt x="2117" y="268"/>
                </a:lnTo>
                <a:lnTo>
                  <a:pt x="2122" y="266"/>
                </a:lnTo>
                <a:lnTo>
                  <a:pt x="2127" y="263"/>
                </a:lnTo>
                <a:lnTo>
                  <a:pt x="2130" y="258"/>
                </a:lnTo>
                <a:lnTo>
                  <a:pt x="2134" y="254"/>
                </a:lnTo>
                <a:lnTo>
                  <a:pt x="2135" y="249"/>
                </a:lnTo>
                <a:lnTo>
                  <a:pt x="2136" y="243"/>
                </a:lnTo>
                <a:lnTo>
                  <a:pt x="2137" y="236"/>
                </a:lnTo>
                <a:close/>
                <a:moveTo>
                  <a:pt x="2183" y="277"/>
                </a:moveTo>
                <a:lnTo>
                  <a:pt x="2183" y="277"/>
                </a:lnTo>
                <a:lnTo>
                  <a:pt x="2169" y="277"/>
                </a:lnTo>
                <a:lnTo>
                  <a:pt x="2169" y="196"/>
                </a:lnTo>
                <a:lnTo>
                  <a:pt x="2183" y="196"/>
                </a:lnTo>
                <a:lnTo>
                  <a:pt x="2183" y="206"/>
                </a:lnTo>
                <a:lnTo>
                  <a:pt x="2183" y="206"/>
                </a:lnTo>
                <a:lnTo>
                  <a:pt x="2189" y="202"/>
                </a:lnTo>
                <a:lnTo>
                  <a:pt x="2194" y="197"/>
                </a:lnTo>
                <a:lnTo>
                  <a:pt x="2201" y="195"/>
                </a:lnTo>
                <a:lnTo>
                  <a:pt x="2209" y="193"/>
                </a:lnTo>
                <a:lnTo>
                  <a:pt x="2215" y="193"/>
                </a:lnTo>
                <a:lnTo>
                  <a:pt x="2221" y="196"/>
                </a:lnTo>
                <a:lnTo>
                  <a:pt x="2226" y="197"/>
                </a:lnTo>
                <a:lnTo>
                  <a:pt x="2230" y="200"/>
                </a:lnTo>
                <a:lnTo>
                  <a:pt x="2233" y="204"/>
                </a:lnTo>
                <a:lnTo>
                  <a:pt x="2235" y="209"/>
                </a:lnTo>
                <a:lnTo>
                  <a:pt x="2237" y="213"/>
                </a:lnTo>
                <a:lnTo>
                  <a:pt x="2238" y="221"/>
                </a:lnTo>
                <a:lnTo>
                  <a:pt x="2238" y="277"/>
                </a:lnTo>
                <a:lnTo>
                  <a:pt x="2224" y="277"/>
                </a:lnTo>
                <a:lnTo>
                  <a:pt x="2224" y="222"/>
                </a:lnTo>
                <a:lnTo>
                  <a:pt x="2224" y="218"/>
                </a:lnTo>
                <a:lnTo>
                  <a:pt x="2222" y="215"/>
                </a:lnTo>
                <a:lnTo>
                  <a:pt x="2220" y="212"/>
                </a:lnTo>
                <a:lnTo>
                  <a:pt x="2219" y="210"/>
                </a:lnTo>
                <a:lnTo>
                  <a:pt x="2217" y="208"/>
                </a:lnTo>
                <a:lnTo>
                  <a:pt x="2213" y="206"/>
                </a:lnTo>
                <a:lnTo>
                  <a:pt x="2209" y="205"/>
                </a:lnTo>
                <a:lnTo>
                  <a:pt x="2206" y="205"/>
                </a:lnTo>
                <a:lnTo>
                  <a:pt x="2201" y="205"/>
                </a:lnTo>
                <a:lnTo>
                  <a:pt x="2196" y="206"/>
                </a:lnTo>
                <a:lnTo>
                  <a:pt x="2193" y="209"/>
                </a:lnTo>
                <a:lnTo>
                  <a:pt x="2189" y="211"/>
                </a:lnTo>
                <a:lnTo>
                  <a:pt x="2187" y="215"/>
                </a:lnTo>
                <a:lnTo>
                  <a:pt x="2186" y="218"/>
                </a:lnTo>
                <a:lnTo>
                  <a:pt x="2185" y="223"/>
                </a:lnTo>
                <a:lnTo>
                  <a:pt x="2183" y="228"/>
                </a:lnTo>
                <a:lnTo>
                  <a:pt x="2183" y="277"/>
                </a:lnTo>
                <a:close/>
              </a:path>
            </a:pathLst>
          </a:custGeom>
          <a:solidFill>
            <a:srgbClr val="FEFEFE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64206" tIns="82103" rIns="164206" bIns="82103" numCol="1" anchor="t" anchorCtr="0" compatLnSpc="1">
            <a:prstTxWarp prst="textNoShape">
              <a:avLst/>
            </a:prstTxWarp>
          </a:bodyPr>
          <a:lstStyle/>
          <a:p>
            <a:pPr defTabSz="1322458"/>
            <a:endParaRPr lang="ru-RU" sz="2514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8" name="Заголовок 17">
            <a:extLst>
              <a:ext uri="{FF2B5EF4-FFF2-40B4-BE49-F238E27FC236}">
                <a16:creationId xmlns:a16="http://schemas.microsoft.com/office/drawing/2014/main" id="{EF5526C4-FA94-C54C-BB48-3FE5E24AD09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294" y="167621"/>
            <a:ext cx="3578715" cy="799269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dirty="0"/>
              <a:t>Образец заголовка</a:t>
            </a:r>
          </a:p>
        </p:txBody>
      </p:sp>
      <p:pic>
        <p:nvPicPr>
          <p:cNvPr id="20" name="Рисунок 19">
            <a:extLst>
              <a:ext uri="{FF2B5EF4-FFF2-40B4-BE49-F238E27FC236}">
                <a16:creationId xmlns:a16="http://schemas.microsoft.com/office/drawing/2014/main" id="{080BD6C9-11C1-9F43-AD33-A41D4DF585C5}"/>
              </a:ext>
            </a:extLst>
          </p:cNvPr>
          <p:cNvPicPr>
            <a:picLocks noChangeAspect="1"/>
          </p:cNvPicPr>
          <p:nvPr userDrawn="1"/>
        </p:nvPicPr>
        <p:blipFill>
          <a:blip r:embed="rId19"/>
          <a:stretch>
            <a:fillRect/>
          </a:stretch>
        </p:blipFill>
        <p:spPr>
          <a:xfrm>
            <a:off x="9647588" y="167622"/>
            <a:ext cx="2177026" cy="8589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019925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7" r:id="rId1"/>
    <p:sldLayoutId id="2147483728" r:id="rId2"/>
    <p:sldLayoutId id="2147483729" r:id="rId3"/>
    <p:sldLayoutId id="2147483730" r:id="rId4"/>
    <p:sldLayoutId id="2147483731" r:id="rId5"/>
    <p:sldLayoutId id="2147483732" r:id="rId6"/>
    <p:sldLayoutId id="2147483733" r:id="rId7"/>
    <p:sldLayoutId id="2147483734" r:id="rId8"/>
    <p:sldLayoutId id="2147483735" r:id="rId9"/>
    <p:sldLayoutId id="2147483736" r:id="rId10"/>
    <p:sldLayoutId id="2147483737" r:id="rId11"/>
  </p:sldLayoutIdLst>
  <p:txStyles>
    <p:titleStyle>
      <a:lvl1pPr algn="l" defTabSz="914408" rtl="0" eaLnBrk="1" latinLnBrk="0" hangingPunct="1">
        <a:lnSpc>
          <a:spcPct val="90000"/>
        </a:lnSpc>
        <a:spcBef>
          <a:spcPct val="0"/>
        </a:spcBef>
        <a:buNone/>
        <a:defRPr sz="2507" b="1" kern="120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228602" indent="-228602" algn="l" defTabSz="914408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755" kern="1200">
          <a:solidFill>
            <a:schemeClr val="tx1"/>
          </a:solidFill>
          <a:latin typeface="+mn-lt"/>
          <a:ea typeface="+mn-ea"/>
          <a:cs typeface="+mn-cs"/>
        </a:defRPr>
      </a:lvl1pPr>
      <a:lvl2pPr marL="685806" indent="-228602" algn="l" defTabSz="91440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10" indent="-228602" algn="l" defTabSz="91440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13" indent="-228602" algn="l" defTabSz="91440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16" indent="-228602" algn="l" defTabSz="91440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20" indent="-228602" algn="l" defTabSz="91440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24" indent="-228602" algn="l" defTabSz="91440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28" indent="-228602" algn="l" defTabSz="91440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31" indent="-228602" algn="l" defTabSz="91440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4" algn="l" defTabSz="91440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8" algn="l" defTabSz="91440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12" algn="l" defTabSz="91440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15" algn="l" defTabSz="91440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18" algn="l" defTabSz="91440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22" algn="l" defTabSz="91440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26" algn="l" defTabSz="91440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29" algn="l" defTabSz="91440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402">
          <p15:clr>
            <a:srgbClr val="F26B43"/>
          </p15:clr>
        </p15:guide>
        <p15:guide id="2" orient="horz" pos="45">
          <p15:clr>
            <a:srgbClr val="F26B43"/>
          </p15:clr>
        </p15:guide>
        <p15:guide id="3" orient="horz" pos="3062">
          <p15:clr>
            <a:srgbClr val="F26B43"/>
          </p15:clr>
        </p15:guide>
        <p15:guide id="4" orient="horz" pos="544">
          <p15:clr>
            <a:srgbClr val="F26B43"/>
          </p15:clr>
        </p15:guide>
        <p15:guide id="5" pos="45">
          <p15:clr>
            <a:srgbClr val="F26B43"/>
          </p15:clr>
        </p15:guide>
        <p15:guide id="6" pos="4808">
          <p15:clr>
            <a:srgbClr val="F26B43"/>
          </p15:clr>
        </p15:guide>
        <p15:guide id="7" pos="2426">
          <p15:clr>
            <a:srgbClr val="F26B43"/>
          </p15:clr>
        </p15:guide>
        <p15:guide id="8" pos="4694">
          <p15:clr>
            <a:srgbClr val="F26B43"/>
          </p15:clr>
        </p15:guide>
        <p15:guide id="9" pos="2517">
          <p15:clr>
            <a:srgbClr val="F26B43"/>
          </p15:clr>
        </p15:guide>
        <p15:guide id="10" pos="4581">
          <p15:clr>
            <a:srgbClr val="F26B43"/>
          </p15:clr>
        </p15:guide>
        <p15:guide id="11" pos="159">
          <p15:clr>
            <a:srgbClr val="F26B43"/>
          </p15:clr>
        </p15:guide>
        <p15:guide id="12" pos="272">
          <p15:clr>
            <a:srgbClr val="F26B43"/>
          </p15:clr>
        </p15:guide>
        <p15:guide id="13" pos="2336">
          <p15:clr>
            <a:srgbClr val="F26B43"/>
          </p15:clr>
        </p15:guide>
        <p15:guide id="15" orient="horz" pos="159">
          <p15:clr>
            <a:srgbClr val="F26B43"/>
          </p15:clr>
        </p15:guide>
        <p15:guide id="16" orient="horz" pos="431">
          <p15:clr>
            <a:srgbClr val="F26B43"/>
          </p15:clr>
        </p15:guide>
        <p15:guide id="17" orient="horz" pos="331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8.xml"/><Relationship Id="rId4" Type="http://schemas.openxmlformats.org/officeDocument/2006/relationships/image" Target="../media/image7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56.xml"/><Relationship Id="rId6" Type="http://schemas.openxmlformats.org/officeDocument/2006/relationships/image" Target="../media/image10.png"/><Relationship Id="rId5" Type="http://schemas.openxmlformats.org/officeDocument/2006/relationships/image" Target="../media/image33.png"/><Relationship Id="rId4" Type="http://schemas.openxmlformats.org/officeDocument/2006/relationships/image" Target="../media/image3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image" Target="../media/image37.svg"/><Relationship Id="rId7" Type="http://schemas.openxmlformats.org/officeDocument/2006/relationships/image" Target="../media/image41.svg"/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29.xml"/><Relationship Id="rId6" Type="http://schemas.openxmlformats.org/officeDocument/2006/relationships/image" Target="../media/image40.png"/><Relationship Id="rId5" Type="http://schemas.openxmlformats.org/officeDocument/2006/relationships/image" Target="../media/image39.svg"/><Relationship Id="rId4" Type="http://schemas.openxmlformats.org/officeDocument/2006/relationships/image" Target="../media/image38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56.xml"/><Relationship Id="rId4" Type="http://schemas.openxmlformats.org/officeDocument/2006/relationships/image" Target="../media/image10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39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7" Type="http://schemas.openxmlformats.org/officeDocument/2006/relationships/image" Target="../media/image10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8.xml"/><Relationship Id="rId6" Type="http://schemas.openxmlformats.org/officeDocument/2006/relationships/image" Target="../media/image46.png"/><Relationship Id="rId5" Type="http://schemas.openxmlformats.org/officeDocument/2006/relationships/image" Target="../media/image45.png"/><Relationship Id="rId4" Type="http://schemas.openxmlformats.org/officeDocument/2006/relationships/image" Target="../media/image44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6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56.xml"/><Relationship Id="rId6" Type="http://schemas.openxmlformats.org/officeDocument/2006/relationships/image" Target="../media/image10.png"/><Relationship Id="rId5" Type="http://schemas.openxmlformats.org/officeDocument/2006/relationships/image" Target="../media/image7.png"/><Relationship Id="rId4" Type="http://schemas.microsoft.com/office/2007/relationships/hdphoto" Target="../media/hdphoto1.wdp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8.xml"/><Relationship Id="rId6" Type="http://schemas.openxmlformats.org/officeDocument/2006/relationships/image" Target="../media/image8.png"/><Relationship Id="rId5" Type="http://schemas.openxmlformats.org/officeDocument/2006/relationships/image" Target="../media/image7.png"/><Relationship Id="rId4" Type="http://schemas.openxmlformats.org/officeDocument/2006/relationships/image" Target="../media/image4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jpg"/><Relationship Id="rId3" Type="http://schemas.openxmlformats.org/officeDocument/2006/relationships/image" Target="../media/image12.jpg"/><Relationship Id="rId7" Type="http://schemas.openxmlformats.org/officeDocument/2006/relationships/image" Target="../media/image16.jp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0.xml"/><Relationship Id="rId6" Type="http://schemas.openxmlformats.org/officeDocument/2006/relationships/image" Target="../media/image15.jpg"/><Relationship Id="rId5" Type="http://schemas.openxmlformats.org/officeDocument/2006/relationships/image" Target="../media/image14.jpg"/><Relationship Id="rId4" Type="http://schemas.openxmlformats.org/officeDocument/2006/relationships/image" Target="../media/image13.jpg"/><Relationship Id="rId9" Type="http://schemas.openxmlformats.org/officeDocument/2006/relationships/image" Target="../media/image18.jp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png"/><Relationship Id="rId3" Type="http://schemas.openxmlformats.org/officeDocument/2006/relationships/image" Target="../media/image20.png"/><Relationship Id="rId7" Type="http://schemas.openxmlformats.org/officeDocument/2006/relationships/image" Target="../media/image24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24.xml"/><Relationship Id="rId6" Type="http://schemas.openxmlformats.org/officeDocument/2006/relationships/image" Target="../media/image23.png"/><Relationship Id="rId5" Type="http://schemas.openxmlformats.org/officeDocument/2006/relationships/image" Target="../media/image22.png"/><Relationship Id="rId10" Type="http://schemas.openxmlformats.org/officeDocument/2006/relationships/image" Target="../media/image10.png"/><Relationship Id="rId4" Type="http://schemas.openxmlformats.org/officeDocument/2006/relationships/image" Target="../media/image21.png"/><Relationship Id="rId9" Type="http://schemas.openxmlformats.org/officeDocument/2006/relationships/image" Target="../media/image26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png"/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56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10" Type="http://schemas.openxmlformats.org/officeDocument/2006/relationships/image" Target="../media/image10.png"/><Relationship Id="rId4" Type="http://schemas.openxmlformats.org/officeDocument/2006/relationships/diagramLayout" Target="../diagrams/layout1.xml"/><Relationship Id="rId9" Type="http://schemas.openxmlformats.org/officeDocument/2006/relationships/image" Target="../media/image7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62.xml"/><Relationship Id="rId5" Type="http://schemas.openxmlformats.org/officeDocument/2006/relationships/image" Target="../media/image10.png"/><Relationship Id="rId4" Type="http://schemas.openxmlformats.org/officeDocument/2006/relationships/image" Target="../media/image29.emf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3.png"/><Relationship Id="rId3" Type="http://schemas.openxmlformats.org/officeDocument/2006/relationships/image" Target="../media/image30.png"/><Relationship Id="rId7" Type="http://schemas.openxmlformats.org/officeDocument/2006/relationships/image" Target="../media/image3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8.xml"/><Relationship Id="rId6" Type="http://schemas.openxmlformats.org/officeDocument/2006/relationships/image" Target="../media/image32.png"/><Relationship Id="rId11" Type="http://schemas.openxmlformats.org/officeDocument/2006/relationships/image" Target="../media/image10.png"/><Relationship Id="rId5" Type="http://schemas.openxmlformats.org/officeDocument/2006/relationships/image" Target="../media/image31.jpeg"/><Relationship Id="rId10" Type="http://schemas.openxmlformats.org/officeDocument/2006/relationships/image" Target="../media/image35.png"/><Relationship Id="rId4" Type="http://schemas.openxmlformats.org/officeDocument/2006/relationships/image" Target="../media/image4.png"/><Relationship Id="rId9" Type="http://schemas.openxmlformats.org/officeDocument/2006/relationships/image" Target="../media/image34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2215464" y="107512"/>
            <a:ext cx="7594002" cy="56387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3064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Новая концепция 1 слайда + новая упаковка</a:t>
            </a:r>
            <a:endParaRPr kumimoji="0" lang="en-US" sz="3064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4020365" y="1930597"/>
            <a:ext cx="4159344" cy="43947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256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 </a:t>
            </a:r>
            <a:r>
              <a:rPr kumimoji="0" lang="ru-RU" sz="2256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антибиотиками Линекс Форте </a:t>
            </a:r>
            <a:endParaRPr kumimoji="0" lang="en-US" sz="2256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E5141188-E70F-1041-9558-0CD54A09A033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0DBD6154-830A-D86C-42EE-3C1DBCB4C90C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23592" t="20731" r="21636" b="15365"/>
          <a:stretch/>
        </p:blipFill>
        <p:spPr>
          <a:xfrm>
            <a:off x="6206149" y="3707934"/>
            <a:ext cx="4547969" cy="3282745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4B7BF182-395F-9A82-461D-2751B0526C68}"/>
              </a:ext>
            </a:extLst>
          </p:cNvPr>
          <p:cNvSpPr txBox="1"/>
          <p:nvPr/>
        </p:nvSpPr>
        <p:spPr>
          <a:xfrm rot="20847091">
            <a:off x="9335814" y="6328173"/>
            <a:ext cx="1391479" cy="383244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7331643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4"/>
          <p:cNvGrpSpPr>
            <a:grpSpLocks noChangeAspect="1"/>
          </p:cNvGrpSpPr>
          <p:nvPr/>
        </p:nvGrpSpPr>
        <p:grpSpPr bwMode="auto">
          <a:xfrm>
            <a:off x="1386345" y="-128041"/>
            <a:ext cx="9532726" cy="6396699"/>
            <a:chOff x="28" y="0"/>
            <a:chExt cx="4707" cy="3357"/>
          </a:xfrm>
        </p:grpSpPr>
        <p:sp>
          <p:nvSpPr>
            <p:cNvPr id="4" name="AutoShape 3"/>
            <p:cNvSpPr>
              <a:spLocks noChangeAspect="1" noChangeArrowheads="1" noTextEdit="1"/>
            </p:cNvSpPr>
            <p:nvPr/>
          </p:nvSpPr>
          <p:spPr bwMode="auto">
            <a:xfrm>
              <a:off x="28" y="0"/>
              <a:ext cx="4707" cy="335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16653" tIns="58327" rIns="116653" bIns="58327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4287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218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1" name="Rectangle 45"/>
            <p:cNvSpPr>
              <a:spLocks noChangeArrowheads="1"/>
            </p:cNvSpPr>
            <p:nvPr/>
          </p:nvSpPr>
          <p:spPr bwMode="auto">
            <a:xfrm>
              <a:off x="1835" y="2540"/>
              <a:ext cx="1419" cy="1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1166575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altLang="ru-RU" sz="1781" b="0" i="0" u="none" strike="noStrike" kern="1200" cap="none" spc="0" normalizeH="0" baseline="0" noProof="0" dirty="0">
                  <a:ln>
                    <a:noFill/>
                  </a:ln>
                  <a:solidFill>
                    <a:srgbClr val="FEFEFE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rPr>
                <a:t>По 1 капсуле 3 раза в день</a:t>
              </a:r>
              <a:endParaRPr kumimoji="0" lang="ru-RU" altLang="ru-RU" sz="1781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</p:grpSp>
      <p:pic>
        <p:nvPicPr>
          <p:cNvPr id="54" name="Рисунок 53">
            <a:extLst>
              <a:ext uri="{FF2B5EF4-FFF2-40B4-BE49-F238E27FC236}">
                <a16:creationId xmlns:a16="http://schemas.microsoft.com/office/drawing/2014/main" id="{89678B41-4175-C74F-B6A1-B17D14D63FA6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3769"/>
            <a:ext cx="12192000" cy="6823091"/>
          </a:xfrm>
          <a:prstGeom prst="rect">
            <a:avLst/>
          </a:prstGeom>
        </p:spPr>
      </p:pic>
      <p:sp>
        <p:nvSpPr>
          <p:cNvPr id="56" name="Rectangle 47">
            <a:extLst>
              <a:ext uri="{FF2B5EF4-FFF2-40B4-BE49-F238E27FC236}">
                <a16:creationId xmlns:a16="http://schemas.microsoft.com/office/drawing/2014/main" id="{47A39A13-C71A-C944-9EEF-A1C6F438AC21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72753" y="6506659"/>
            <a:ext cx="5705054" cy="13696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1166575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89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Инструкция препарата ЛИНЕКС</a:t>
            </a:r>
            <a:r>
              <a:rPr kumimoji="0" lang="ru-RU" altLang="ru-RU" sz="890" b="0" i="0" u="none" strike="noStrike" kern="1200" cap="none" spc="0" normalizeH="0" baseline="3000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®</a:t>
            </a:r>
            <a:r>
              <a:rPr kumimoji="0" lang="ru-RU" altLang="ru-RU" sz="89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ФОРТЕ</a:t>
            </a:r>
          </a:p>
        </p:txBody>
      </p:sp>
      <p:graphicFrame>
        <p:nvGraphicFramePr>
          <p:cNvPr id="67" name="Таблица 66">
            <a:extLst>
              <a:ext uri="{FF2B5EF4-FFF2-40B4-BE49-F238E27FC236}">
                <a16:creationId xmlns:a16="http://schemas.microsoft.com/office/drawing/2014/main" id="{EFEBE495-BDFC-C745-B65B-F412AEF0C769}"/>
              </a:ext>
            </a:extLst>
          </p:cNvPr>
          <p:cNvGraphicFramePr>
            <a:graphicFrameLocks noGrp="1"/>
          </p:cNvGraphicFramePr>
          <p:nvPr/>
        </p:nvGraphicFramePr>
        <p:xfrm>
          <a:off x="2576063" y="1343004"/>
          <a:ext cx="7153290" cy="208123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576645">
                  <a:extLst>
                    <a:ext uri="{9D8B030D-6E8A-4147-A177-3AD203B41FA5}">
                      <a16:colId xmlns:a16="http://schemas.microsoft.com/office/drawing/2014/main" val="2686188734"/>
                    </a:ext>
                  </a:extLst>
                </a:gridCol>
                <a:gridCol w="3576645">
                  <a:extLst>
                    <a:ext uri="{9D8B030D-6E8A-4147-A177-3AD203B41FA5}">
                      <a16:colId xmlns:a16="http://schemas.microsoft.com/office/drawing/2014/main" val="1116230003"/>
                    </a:ext>
                  </a:extLst>
                </a:gridCol>
              </a:tblGrid>
              <a:tr h="460058">
                <a:tc>
                  <a:txBody>
                    <a:bodyPr/>
                    <a:lstStyle/>
                    <a:p>
                      <a:endParaRPr lang="en-US" sz="2200" dirty="0"/>
                    </a:p>
                  </a:txBody>
                  <a:tcPr marL="114598" marR="114598" marT="57299" marB="57299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2200" dirty="0"/>
                    </a:p>
                  </a:txBody>
                  <a:tcPr marL="114598" marR="114598" marT="57299" marB="57299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90306907"/>
                  </a:ext>
                </a:extLst>
              </a:tr>
              <a:tr h="540393">
                <a:tc>
                  <a:txBody>
                    <a:bodyPr/>
                    <a:lstStyle/>
                    <a:p>
                      <a:r>
                        <a:rPr lang="az-Latn-AZ" sz="2200" dirty="0"/>
                        <a:t>Körpələr</a:t>
                      </a:r>
                      <a:r>
                        <a:rPr lang="ru-RU" sz="2200" dirty="0"/>
                        <a:t> 1-2 </a:t>
                      </a:r>
                      <a:r>
                        <a:rPr lang="az-Latn-AZ" sz="2200" dirty="0"/>
                        <a:t>yaş</a:t>
                      </a:r>
                      <a:endParaRPr lang="en-US" sz="2200" dirty="0"/>
                    </a:p>
                  </a:txBody>
                  <a:tcPr marL="114598" marR="114598" marT="57299" marB="57299"/>
                </a:tc>
                <a:tc>
                  <a:txBody>
                    <a:bodyPr/>
                    <a:lstStyle/>
                    <a:p>
                      <a:r>
                        <a:rPr lang="ru-RU" sz="2200" dirty="0"/>
                        <a:t>1 </a:t>
                      </a:r>
                      <a:r>
                        <a:rPr lang="az-Latn-AZ" sz="2200" dirty="0"/>
                        <a:t>kapsuldan gündə bir dəfə</a:t>
                      </a:r>
                      <a:endParaRPr lang="en-US" sz="2200" dirty="0"/>
                    </a:p>
                  </a:txBody>
                  <a:tcPr marL="114598" marR="114598" marT="57299" marB="57299"/>
                </a:tc>
                <a:extLst>
                  <a:ext uri="{0D108BD9-81ED-4DB2-BD59-A6C34878D82A}">
                    <a16:rowId xmlns:a16="http://schemas.microsoft.com/office/drawing/2014/main" val="2116143386"/>
                  </a:ext>
                </a:extLst>
              </a:tr>
              <a:tr h="540393">
                <a:tc>
                  <a:txBody>
                    <a:bodyPr/>
                    <a:lstStyle/>
                    <a:p>
                      <a:r>
                        <a:rPr lang="az-Latn-AZ" sz="2200" dirty="0"/>
                        <a:t>Uşaqlar</a:t>
                      </a:r>
                      <a:r>
                        <a:rPr lang="ru-RU" sz="2200" dirty="0"/>
                        <a:t> 2-12</a:t>
                      </a:r>
                      <a:r>
                        <a:rPr lang="ru-RU" sz="2200" baseline="0" dirty="0"/>
                        <a:t> </a:t>
                      </a:r>
                      <a:r>
                        <a:rPr lang="az-Latn-AZ" sz="2200" baseline="0" dirty="0"/>
                        <a:t>yaş</a:t>
                      </a:r>
                      <a:r>
                        <a:rPr lang="ru-RU" sz="2200" baseline="0" dirty="0"/>
                        <a:t> </a:t>
                      </a:r>
                      <a:endParaRPr lang="en-US" sz="2200" dirty="0"/>
                    </a:p>
                  </a:txBody>
                  <a:tcPr marL="114598" marR="114598" marT="57299" marB="57299"/>
                </a:tc>
                <a:tc>
                  <a:txBody>
                    <a:bodyPr/>
                    <a:lstStyle/>
                    <a:p>
                      <a:r>
                        <a:rPr lang="az-Latn-AZ" sz="2200" dirty="0"/>
                        <a:t>1 kapsuldan gündə 1-2 dəfə</a:t>
                      </a:r>
                      <a:endParaRPr lang="en-US" sz="2200" dirty="0"/>
                    </a:p>
                  </a:txBody>
                  <a:tcPr marL="114598" marR="114598" marT="57299" marB="57299"/>
                </a:tc>
                <a:extLst>
                  <a:ext uri="{0D108BD9-81ED-4DB2-BD59-A6C34878D82A}">
                    <a16:rowId xmlns:a16="http://schemas.microsoft.com/office/drawing/2014/main" val="1469482287"/>
                  </a:ext>
                </a:extLst>
              </a:tr>
              <a:tr h="540393">
                <a:tc>
                  <a:txBody>
                    <a:bodyPr/>
                    <a:lstStyle/>
                    <a:p>
                      <a:r>
                        <a:rPr lang="az-Latn-AZ" sz="2200" dirty="0"/>
                        <a:t>12 yaşdan yuxarı uşaqlar</a:t>
                      </a:r>
                      <a:endParaRPr lang="ru-RU" sz="2200" dirty="0"/>
                    </a:p>
                  </a:txBody>
                  <a:tcPr marL="114598" marR="114598" marT="57299" marB="57299"/>
                </a:tc>
                <a:tc>
                  <a:txBody>
                    <a:bodyPr/>
                    <a:lstStyle/>
                    <a:p>
                      <a:r>
                        <a:rPr lang="az-Latn-AZ" sz="2200" dirty="0"/>
                        <a:t>1 kapsuldan gündə 1-3 dəfə</a:t>
                      </a:r>
                      <a:endParaRPr lang="en-US" sz="2200" dirty="0"/>
                    </a:p>
                  </a:txBody>
                  <a:tcPr marL="114598" marR="114598" marT="57299" marB="57299"/>
                </a:tc>
                <a:extLst>
                  <a:ext uri="{0D108BD9-81ED-4DB2-BD59-A6C34878D82A}">
                    <a16:rowId xmlns:a16="http://schemas.microsoft.com/office/drawing/2014/main" val="3318587500"/>
                  </a:ext>
                </a:extLst>
              </a:tr>
            </a:tbl>
          </a:graphicData>
        </a:graphic>
      </p:graphicFrame>
      <p:sp>
        <p:nvSpPr>
          <p:cNvPr id="68" name="TextBox 67">
            <a:extLst>
              <a:ext uri="{FF2B5EF4-FFF2-40B4-BE49-F238E27FC236}">
                <a16:creationId xmlns:a16="http://schemas.microsoft.com/office/drawing/2014/main" id="{6023EFEF-A3C7-D245-8914-8ECD77F5407D}"/>
              </a:ext>
            </a:extLst>
          </p:cNvPr>
          <p:cNvSpPr txBox="1"/>
          <p:nvPr/>
        </p:nvSpPr>
        <p:spPr>
          <a:xfrm>
            <a:off x="2358644" y="4933158"/>
            <a:ext cx="8447012" cy="67076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434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53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Tərkibində</a:t>
            </a:r>
            <a:r>
              <a:rPr kumimoji="0" lang="en-US" sz="125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en-US" sz="1253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laktoza</a:t>
            </a:r>
            <a:r>
              <a:rPr kumimoji="0" lang="en-US" sz="125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en-US" sz="1253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yoxdur</a:t>
            </a:r>
            <a:r>
              <a:rPr kumimoji="0" lang="en-US" sz="125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!</a:t>
            </a:r>
          </a:p>
          <a:p>
            <a:pPr marL="0" marR="0" lvl="0" indent="0" algn="l" defTabSz="9434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z-Latn-AZ" sz="125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Y</a:t>
            </a:r>
            <a:r>
              <a:rPr kumimoji="0" lang="en-US" sz="1253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xşı</a:t>
            </a:r>
            <a:r>
              <a:rPr kumimoji="0" lang="en-US" sz="125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en-US" sz="1253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nəticə</a:t>
            </a:r>
            <a:r>
              <a:rPr kumimoji="0" lang="en-US" sz="125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en-US" sz="1253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üçün</a:t>
            </a:r>
            <a:r>
              <a:rPr kumimoji="0" lang="en-US" sz="125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en-US" sz="1253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yeməklə</a:t>
            </a:r>
            <a:r>
              <a:rPr kumimoji="0" lang="en-US" sz="125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en-US" sz="1253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birlikdə</a:t>
            </a:r>
            <a:r>
              <a:rPr kumimoji="0" lang="en-US" sz="125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en-US" sz="1253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qəbul</a:t>
            </a:r>
            <a:r>
              <a:rPr kumimoji="0" lang="en-US" sz="125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en-US" sz="1253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etmək</a:t>
            </a:r>
            <a:r>
              <a:rPr kumimoji="0" lang="en-US" sz="125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en-US" sz="1253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tövsiyə</a:t>
            </a:r>
            <a:r>
              <a:rPr kumimoji="0" lang="en-US" sz="125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en-US" sz="1253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olunur</a:t>
            </a:r>
            <a:r>
              <a:rPr kumimoji="0" lang="en-US" sz="125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.</a:t>
            </a:r>
          </a:p>
          <a:p>
            <a:pPr marL="0" marR="0" lvl="0" indent="0" algn="l" defTabSz="9434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53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ntibiotik</a:t>
            </a:r>
            <a:r>
              <a:rPr kumimoji="0" lang="en-US" sz="125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en-US" sz="1253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qəbul</a:t>
            </a:r>
            <a:r>
              <a:rPr kumimoji="0" lang="en-US" sz="125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en-US" sz="1253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edərkən</a:t>
            </a:r>
            <a:r>
              <a:rPr kumimoji="0" lang="en-US" sz="125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3 </a:t>
            </a:r>
            <a:r>
              <a:rPr kumimoji="0" lang="en-US" sz="1253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aatlıq</a:t>
            </a:r>
            <a:r>
              <a:rPr kumimoji="0" lang="en-US" sz="125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en-US" sz="1253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fasiləyə</a:t>
            </a:r>
            <a:r>
              <a:rPr kumimoji="0" lang="en-US" sz="125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en-US" sz="1253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riayət</a:t>
            </a:r>
            <a:r>
              <a:rPr kumimoji="0" lang="en-US" sz="125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en-US" sz="1253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edin</a:t>
            </a:r>
            <a:r>
              <a:rPr kumimoji="0" lang="az-Latn-AZ" sz="125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!</a:t>
            </a:r>
            <a:endParaRPr kumimoji="0" lang="en-US" sz="1253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71" name="Скругленный прямоугольник 70">
            <a:extLst>
              <a:ext uri="{FF2B5EF4-FFF2-40B4-BE49-F238E27FC236}">
                <a16:creationId xmlns:a16="http://schemas.microsoft.com/office/drawing/2014/main" id="{AB28975A-D9CF-4E4E-8DC0-ACDBABA3E494}"/>
              </a:ext>
            </a:extLst>
          </p:cNvPr>
          <p:cNvSpPr/>
          <p:nvPr/>
        </p:nvSpPr>
        <p:spPr>
          <a:xfrm>
            <a:off x="1953210" y="3870967"/>
            <a:ext cx="8717903" cy="910347"/>
          </a:xfrm>
          <a:prstGeom prst="roundRect">
            <a:avLst/>
          </a:prstGeom>
          <a:gradFill flip="none" rotWithShape="1">
            <a:gsLst>
              <a:gs pos="0">
                <a:srgbClr val="14447A">
                  <a:shade val="30000"/>
                  <a:satMod val="115000"/>
                </a:srgbClr>
              </a:gs>
              <a:gs pos="50000">
                <a:srgbClr val="14447A">
                  <a:shade val="67500"/>
                  <a:satMod val="115000"/>
                </a:srgbClr>
              </a:gs>
              <a:gs pos="100000">
                <a:srgbClr val="14447A">
                  <a:shade val="100000"/>
                  <a:satMod val="115000"/>
                </a:srgb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434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008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2" name="Овал 71">
            <a:extLst>
              <a:ext uri="{FF2B5EF4-FFF2-40B4-BE49-F238E27FC236}">
                <a16:creationId xmlns:a16="http://schemas.microsoft.com/office/drawing/2014/main" id="{102DA904-9943-DF4E-A214-2799108DFB4C}"/>
              </a:ext>
            </a:extLst>
          </p:cNvPr>
          <p:cNvSpPr/>
          <p:nvPr/>
        </p:nvSpPr>
        <p:spPr>
          <a:xfrm>
            <a:off x="5406527" y="3919931"/>
            <a:ext cx="792756" cy="792756"/>
          </a:xfrm>
          <a:prstGeom prst="ellipse">
            <a:avLst/>
          </a:prstGeom>
          <a:gradFill flip="none" rotWithShape="1">
            <a:gsLst>
              <a:gs pos="0">
                <a:srgbClr val="EB7A28">
                  <a:shade val="30000"/>
                  <a:satMod val="115000"/>
                </a:srgbClr>
              </a:gs>
              <a:gs pos="50000">
                <a:srgbClr val="EB7A28">
                  <a:shade val="67500"/>
                  <a:satMod val="115000"/>
                </a:srgbClr>
              </a:gs>
              <a:gs pos="100000">
                <a:srgbClr val="EB7A28">
                  <a:shade val="100000"/>
                  <a:satMod val="115000"/>
                </a:srgbClr>
              </a:gs>
            </a:gsLst>
            <a:lin ang="2700000" scaled="1"/>
            <a:tileRect/>
          </a:gradFill>
          <a:ln w="285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434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793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3" name="Прямоугольник 72">
            <a:extLst>
              <a:ext uri="{FF2B5EF4-FFF2-40B4-BE49-F238E27FC236}">
                <a16:creationId xmlns:a16="http://schemas.microsoft.com/office/drawing/2014/main" id="{DE6BD8F3-305E-D446-85C8-6AF27D5D8A44}"/>
              </a:ext>
            </a:extLst>
          </p:cNvPr>
          <p:cNvSpPr/>
          <p:nvPr/>
        </p:nvSpPr>
        <p:spPr>
          <a:xfrm>
            <a:off x="2398867" y="3915947"/>
            <a:ext cx="8169929" cy="74802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434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3133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Линекс</a:t>
            </a:r>
            <a:r>
              <a:rPr kumimoji="0" lang="ru-RU" altLang="ru-RU" sz="1003" b="0" i="0" u="none" strike="noStrike" kern="1200" cap="none" spc="0" normalizeH="0" baseline="3000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  <a:r>
              <a:rPr kumimoji="0" lang="ru-RU" altLang="ru-RU" sz="3008" b="0" i="0" u="none" strike="noStrike" kern="1200" cap="none" spc="0" normalizeH="0" baseline="3000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®</a:t>
            </a:r>
            <a:r>
              <a:rPr kumimoji="0" lang="ru-RU" sz="3133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Форте  </a:t>
            </a:r>
            <a:r>
              <a:rPr kumimoji="0" lang="en-US" sz="3133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   </a:t>
            </a:r>
            <a:r>
              <a:rPr kumimoji="0" lang="ru-RU" sz="4261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1</a:t>
            </a:r>
            <a:r>
              <a:rPr kumimoji="0" lang="en-US" sz="3133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   </a:t>
            </a:r>
            <a:r>
              <a:rPr kumimoji="0" lang="az-Latn-AZ" sz="3133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kapsuldan gündə bir dəfə</a:t>
            </a:r>
            <a:endParaRPr kumimoji="0" lang="en-US" sz="3133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8" name="Прямоугольник 17">
            <a:extLst>
              <a:ext uri="{FF2B5EF4-FFF2-40B4-BE49-F238E27FC236}">
                <a16:creationId xmlns:a16="http://schemas.microsoft.com/office/drawing/2014/main" id="{1657A062-B1A4-8E46-AC33-4198A736839C}"/>
              </a:ext>
            </a:extLst>
          </p:cNvPr>
          <p:cNvSpPr/>
          <p:nvPr/>
        </p:nvSpPr>
        <p:spPr>
          <a:xfrm>
            <a:off x="0" y="1"/>
            <a:ext cx="10900437" cy="1185775"/>
          </a:xfrm>
          <a:prstGeom prst="rect">
            <a:avLst/>
          </a:prstGeom>
          <a:gradFill flip="none" rotWithShape="1">
            <a:gsLst>
              <a:gs pos="0">
                <a:srgbClr val="14447A">
                  <a:shade val="30000"/>
                  <a:satMod val="115000"/>
                </a:srgbClr>
              </a:gs>
              <a:gs pos="50000">
                <a:srgbClr val="14447A">
                  <a:shade val="67500"/>
                  <a:satMod val="115000"/>
                </a:srgbClr>
              </a:gs>
              <a:gs pos="100000">
                <a:srgbClr val="14447A">
                  <a:shade val="100000"/>
                  <a:satMod val="115000"/>
                </a:srgb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434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793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0F56E4AC-46E1-5245-BCB4-15B56DF3B98A}"/>
              </a:ext>
            </a:extLst>
          </p:cNvPr>
          <p:cNvSpPr txBox="1"/>
          <p:nvPr/>
        </p:nvSpPr>
        <p:spPr>
          <a:xfrm>
            <a:off x="1850342" y="398726"/>
            <a:ext cx="2606804" cy="4781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434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z-Latn-AZ" sz="2507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İstifadə qaydası</a:t>
            </a:r>
            <a:endParaRPr kumimoji="0" lang="en-US" sz="2507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pic>
        <p:nvPicPr>
          <p:cNvPr id="20" name="Рисунок 19">
            <a:extLst>
              <a:ext uri="{FF2B5EF4-FFF2-40B4-BE49-F238E27FC236}">
                <a16:creationId xmlns:a16="http://schemas.microsoft.com/office/drawing/2014/main" id="{99E93340-52BA-6A44-B2A6-9DEE2A351B86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1715" b="51934"/>
          <a:stretch/>
        </p:blipFill>
        <p:spPr>
          <a:xfrm>
            <a:off x="7854211" y="5563"/>
            <a:ext cx="4183238" cy="1327809"/>
          </a:xfrm>
          <a:prstGeom prst="rect">
            <a:avLst/>
          </a:prstGeom>
        </p:spPr>
      </p:pic>
      <p:pic>
        <p:nvPicPr>
          <p:cNvPr id="21" name="Рисунок 20">
            <a:extLst>
              <a:ext uri="{FF2B5EF4-FFF2-40B4-BE49-F238E27FC236}">
                <a16:creationId xmlns:a16="http://schemas.microsoft.com/office/drawing/2014/main" id="{6F5D8050-9FF7-C54E-B801-71FD693A2144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16725" y="147178"/>
            <a:ext cx="2189922" cy="886188"/>
          </a:xfrm>
          <a:prstGeom prst="rect">
            <a:avLst/>
          </a:prstGeom>
        </p:spPr>
      </p:pic>
      <p:pic>
        <p:nvPicPr>
          <p:cNvPr id="23" name="Рисунок 22">
            <a:extLst>
              <a:ext uri="{FF2B5EF4-FFF2-40B4-BE49-F238E27FC236}">
                <a16:creationId xmlns:a16="http://schemas.microsoft.com/office/drawing/2014/main" id="{EBA17C01-7F78-412C-9F66-A1FF555DB69A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09426" y="6510213"/>
            <a:ext cx="1394768" cy="1875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1342018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3">
            <a:extLst>
              <a:ext uri="{FF2B5EF4-FFF2-40B4-BE49-F238E27FC236}">
                <a16:creationId xmlns:a16="http://schemas.microsoft.com/office/drawing/2014/main" id="{4CDCB3F6-8D45-7241-BFE8-3D67D247552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04341" y="137281"/>
            <a:ext cx="7159284" cy="857499"/>
          </a:xfrm>
        </p:spPr>
        <p:txBody>
          <a:bodyPr>
            <a:noAutofit/>
          </a:bodyPr>
          <a:lstStyle/>
          <a:p>
            <a:r>
              <a:rPr lang="ru-RU" sz="2632" dirty="0">
                <a:latin typeface="Arial" panose="020B0604020202020204" pitchFamily="34" charset="0"/>
                <a:cs typeface="Arial" panose="020B0604020202020204" pitchFamily="34" charset="0"/>
              </a:rPr>
              <a:t>Линекс</a:t>
            </a:r>
            <a:r>
              <a:rPr lang="ru-RU" sz="2632" baseline="30000" dirty="0">
                <a:latin typeface="Arial" panose="020B0604020202020204" pitchFamily="34" charset="0"/>
                <a:cs typeface="Arial" panose="020B0604020202020204" pitchFamily="34" charset="0"/>
              </a:rPr>
              <a:t>®</a:t>
            </a:r>
            <a:r>
              <a:rPr lang="ru-RU" sz="2632" dirty="0">
                <a:latin typeface="Arial" panose="020B0604020202020204" pitchFamily="34" charset="0"/>
                <a:cs typeface="Arial" panose="020B0604020202020204" pitchFamily="34" charset="0"/>
              </a:rPr>
              <a:t> Форте</a:t>
            </a:r>
            <a:r>
              <a:rPr lang="az-Latn-AZ" sz="2632" dirty="0">
                <a:latin typeface="Arial" panose="020B0604020202020204" pitchFamily="34" charset="0"/>
                <a:cs typeface="Arial" panose="020B0604020202020204" pitchFamily="34" charset="0"/>
              </a:rPr>
              <a:t> antibiotiklə</a:t>
            </a:r>
            <a:endParaRPr lang="ru-RU" sz="2632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Прямоугольник 13">
            <a:extLst>
              <a:ext uri="{FF2B5EF4-FFF2-40B4-BE49-F238E27FC236}">
                <a16:creationId xmlns:a16="http://schemas.microsoft.com/office/drawing/2014/main" id="{99DC7F38-EF2D-3D4B-99FB-91F5C49D24AF}"/>
              </a:ext>
            </a:extLst>
          </p:cNvPr>
          <p:cNvSpPr/>
          <p:nvPr/>
        </p:nvSpPr>
        <p:spPr>
          <a:xfrm>
            <a:off x="1705278" y="6150571"/>
            <a:ext cx="7124887" cy="47833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7662" marR="0" lvl="0" indent="-177662" algn="l" defTabSz="7106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kumimoji="0" lang="ru-RU" sz="627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Инструкция по применению лекарственного препарата </a:t>
            </a:r>
            <a:r>
              <a:rPr kumimoji="0" lang="ru-RU" sz="627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Линекс</a:t>
            </a:r>
            <a:r>
              <a:rPr kumimoji="0" lang="ru-RU" sz="627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® Форте</a:t>
            </a:r>
          </a:p>
          <a:p>
            <a:pPr marL="177662" marR="0" lvl="0" indent="-177662" algn="l" defTabSz="7106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kumimoji="0" lang="ru-RU" sz="627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В РКИ, изучавших эффективность применения </a:t>
            </a:r>
            <a:r>
              <a:rPr kumimoji="0" lang="en" sz="627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BB-12 </a:t>
            </a:r>
            <a:r>
              <a:rPr kumimoji="0" lang="ru-RU" sz="627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и </a:t>
            </a:r>
            <a:r>
              <a:rPr kumimoji="0" lang="en" sz="627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LA-5 </a:t>
            </a:r>
            <a:r>
              <a:rPr kumimoji="0" lang="ru-RU" sz="627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для профилактики ААД, длительность приема </a:t>
            </a:r>
            <a:r>
              <a:rPr kumimoji="0" lang="ru-RU" sz="627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пробиотика</a:t>
            </a:r>
            <a:r>
              <a:rPr kumimoji="0" lang="ru-RU" sz="627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была от 2-х недель: </a:t>
            </a:r>
            <a:r>
              <a:rPr kumimoji="0" lang="en" sz="627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hatterjee S. et al. JAPI 2013(61): 708-712; Bhalla A. J </a:t>
            </a:r>
            <a:r>
              <a:rPr kumimoji="0" lang="en" sz="627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lin</a:t>
            </a:r>
            <a:r>
              <a:rPr kumimoji="0" lang="en" sz="627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en" sz="627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harmacol</a:t>
            </a:r>
            <a:r>
              <a:rPr kumimoji="0" lang="en" sz="627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2011; 51 (9): 1327; Black F.T. et al. Scand. J. Infect. Dis. 1991; 23: 247-254.</a:t>
            </a:r>
          </a:p>
          <a:p>
            <a:pPr marL="177662" marR="0" lvl="0" indent="-177662" algn="l" defTabSz="7106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kumimoji="0" lang="ru-RU" sz="627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Ушкалова Е.А. </a:t>
            </a:r>
            <a:r>
              <a:rPr kumimoji="0" lang="ru-RU" sz="627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Линекс</a:t>
            </a:r>
            <a:r>
              <a:rPr kumimoji="0" lang="ru-RU" sz="627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Форте в профилактике и лечении желудочно-кишечных заболеваний. Тер. Архив. 2015. №12. .</a:t>
            </a:r>
          </a:p>
        </p:txBody>
      </p:sp>
      <p:pic>
        <p:nvPicPr>
          <p:cNvPr id="19" name="Рисунок 18">
            <a:extLst>
              <a:ext uri="{FF2B5EF4-FFF2-40B4-BE49-F238E27FC236}">
                <a16:creationId xmlns:a16="http://schemas.microsoft.com/office/drawing/2014/main" id="{2F6BB379-5FAC-CE4D-A76A-0367F426AAC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825758" y="1751506"/>
            <a:ext cx="6538494" cy="1331871"/>
          </a:xfrm>
          <a:prstGeom prst="rect">
            <a:avLst/>
          </a:prstGeom>
        </p:spPr>
      </p:pic>
      <p:pic>
        <p:nvPicPr>
          <p:cNvPr id="25" name="Рисунок 24">
            <a:extLst>
              <a:ext uri="{FF2B5EF4-FFF2-40B4-BE49-F238E27FC236}">
                <a16:creationId xmlns:a16="http://schemas.microsoft.com/office/drawing/2014/main" id="{4EA516E2-429A-184D-9723-49915697914A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2864113" y="3940783"/>
            <a:ext cx="6500137" cy="1328226"/>
          </a:xfrm>
          <a:prstGeom prst="rect">
            <a:avLst/>
          </a:prstGeom>
        </p:spPr>
      </p:pic>
      <p:pic>
        <p:nvPicPr>
          <p:cNvPr id="26" name="Рисунок 25">
            <a:extLst>
              <a:ext uri="{FF2B5EF4-FFF2-40B4-BE49-F238E27FC236}">
                <a16:creationId xmlns:a16="http://schemas.microsoft.com/office/drawing/2014/main" id="{611DA8F0-5A77-7E42-B416-6D4CFB6F3CEE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2825758" y="2842431"/>
            <a:ext cx="6538492" cy="1331871"/>
          </a:xfrm>
          <a:prstGeom prst="rect">
            <a:avLst/>
          </a:prstGeom>
        </p:spPr>
      </p:pic>
      <p:sp>
        <p:nvSpPr>
          <p:cNvPr id="27" name="TextBox 26">
            <a:extLst>
              <a:ext uri="{FF2B5EF4-FFF2-40B4-BE49-F238E27FC236}">
                <a16:creationId xmlns:a16="http://schemas.microsoft.com/office/drawing/2014/main" id="{BCD5B236-86E9-6B4F-BD69-43559CEF4D6C}"/>
              </a:ext>
            </a:extLst>
          </p:cNvPr>
          <p:cNvSpPr txBox="1"/>
          <p:nvPr/>
        </p:nvSpPr>
        <p:spPr>
          <a:xfrm>
            <a:off x="3428161" y="2211964"/>
            <a:ext cx="5548158" cy="33547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792439" rtl="0" eaLnBrk="1" fontAlgn="auto" latinLnBrk="0" hangingPunct="1">
              <a:lnSpc>
                <a:spcPts val="1817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z-Latn-AZ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ntibiotik qəbulunun ilk günündən</a:t>
            </a:r>
            <a:r>
              <a:rPr kumimoji="0" lang="ru-RU" sz="2400" b="1" i="0" u="none" strike="noStrike" kern="1200" cap="none" spc="0" normalizeH="0" baseline="3000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3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E99A32CA-D128-3246-9A1A-5E6033E6C5A8}"/>
              </a:ext>
            </a:extLst>
          </p:cNvPr>
          <p:cNvSpPr txBox="1"/>
          <p:nvPr/>
        </p:nvSpPr>
        <p:spPr>
          <a:xfrm>
            <a:off x="3184934" y="3344342"/>
            <a:ext cx="5858493" cy="33547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792439" rtl="0" eaLnBrk="1" fontAlgn="auto" latinLnBrk="0" hangingPunct="1">
              <a:lnSpc>
                <a:spcPts val="1817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z-Latn-AZ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2 həftədən az olmayan müalicə kursu</a:t>
            </a:r>
            <a:r>
              <a:rPr kumimoji="0" lang="ru-RU" sz="2400" b="1" i="0" u="none" strike="noStrike" kern="1200" cap="none" spc="0" normalizeH="0" baseline="3000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2,3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4935061C-B1CD-734A-842C-B93168F93167}"/>
              </a:ext>
            </a:extLst>
          </p:cNvPr>
          <p:cNvSpPr txBox="1"/>
          <p:nvPr/>
        </p:nvSpPr>
        <p:spPr>
          <a:xfrm>
            <a:off x="3393180" y="4393642"/>
            <a:ext cx="5405640" cy="33547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792439" rtl="0" eaLnBrk="1" fontAlgn="auto" latinLnBrk="0" hangingPunct="1">
              <a:lnSpc>
                <a:spcPts val="1817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z-Latn-AZ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ntibiotik qəbulundan 3 saat sonra</a:t>
            </a:r>
            <a:r>
              <a:rPr kumimoji="0" lang="ru-RU" sz="2400" b="1" i="0" u="none" strike="noStrike" kern="1200" cap="none" spc="0" normalizeH="0" baseline="3000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1</a:t>
            </a:r>
          </a:p>
        </p:txBody>
      </p:sp>
      <p:sp>
        <p:nvSpPr>
          <p:cNvPr id="31" name="Овал 30">
            <a:extLst>
              <a:ext uri="{FF2B5EF4-FFF2-40B4-BE49-F238E27FC236}">
                <a16:creationId xmlns:a16="http://schemas.microsoft.com/office/drawing/2014/main" id="{17C5B808-6790-F843-BCA4-0755A0888B20}"/>
              </a:ext>
            </a:extLst>
          </p:cNvPr>
          <p:cNvSpPr/>
          <p:nvPr/>
        </p:nvSpPr>
        <p:spPr>
          <a:xfrm>
            <a:off x="2578233" y="2030090"/>
            <a:ext cx="637450" cy="637450"/>
          </a:xfrm>
          <a:prstGeom prst="ellipse">
            <a:avLst/>
          </a:prstGeom>
          <a:solidFill>
            <a:srgbClr val="FAFAFD"/>
          </a:solidFill>
          <a:ln w="19050" cap="rnd">
            <a:solidFill>
              <a:srgbClr val="154381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79243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56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8F6D91E3-3BCB-1648-B8A1-37B7F5EA2D11}"/>
              </a:ext>
            </a:extLst>
          </p:cNvPr>
          <p:cNvSpPr txBox="1"/>
          <p:nvPr/>
        </p:nvSpPr>
        <p:spPr>
          <a:xfrm>
            <a:off x="2677000" y="2237739"/>
            <a:ext cx="374225" cy="3386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792439" rtl="0" eaLnBrk="1" fontAlgn="auto" latinLnBrk="0" hangingPunct="1">
              <a:lnSpc>
                <a:spcPts val="1817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507" b="1" i="0" u="none" strike="noStrike" kern="1200" cap="none" spc="0" normalizeH="0" baseline="0" noProof="0" dirty="0">
                <a:ln>
                  <a:noFill/>
                </a:ln>
                <a:solidFill>
                  <a:srgbClr val="15438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1</a:t>
            </a:r>
            <a:endParaRPr kumimoji="0" lang="ru-RU" sz="2507" b="1" i="0" u="none" strike="noStrike" kern="1200" cap="none" spc="0" normalizeH="0" baseline="30000" noProof="0" dirty="0">
              <a:ln>
                <a:noFill/>
              </a:ln>
              <a:solidFill>
                <a:srgbClr val="154381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32" name="Овал 31">
            <a:extLst>
              <a:ext uri="{FF2B5EF4-FFF2-40B4-BE49-F238E27FC236}">
                <a16:creationId xmlns:a16="http://schemas.microsoft.com/office/drawing/2014/main" id="{AA1978FD-1FEC-5C4B-B9E5-9056FEDD0448}"/>
              </a:ext>
            </a:extLst>
          </p:cNvPr>
          <p:cNvSpPr/>
          <p:nvPr/>
        </p:nvSpPr>
        <p:spPr>
          <a:xfrm>
            <a:off x="2578233" y="3091954"/>
            <a:ext cx="637450" cy="637450"/>
          </a:xfrm>
          <a:prstGeom prst="ellipse">
            <a:avLst/>
          </a:prstGeom>
          <a:solidFill>
            <a:srgbClr val="FAFAFD"/>
          </a:solidFill>
          <a:ln w="19050" cap="rnd">
            <a:solidFill>
              <a:srgbClr val="154381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79243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56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F725B789-07B7-1045-8509-078C7644F3C3}"/>
              </a:ext>
            </a:extLst>
          </p:cNvPr>
          <p:cNvSpPr txBox="1"/>
          <p:nvPr/>
        </p:nvSpPr>
        <p:spPr>
          <a:xfrm>
            <a:off x="2693728" y="3299603"/>
            <a:ext cx="374225" cy="3386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792439" rtl="0" eaLnBrk="1" fontAlgn="auto" latinLnBrk="0" hangingPunct="1">
              <a:lnSpc>
                <a:spcPts val="1817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507" b="1" i="0" u="none" strike="noStrike" kern="1200" cap="none" spc="0" normalizeH="0" baseline="0" noProof="0" dirty="0">
                <a:ln>
                  <a:noFill/>
                </a:ln>
                <a:solidFill>
                  <a:srgbClr val="15438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2</a:t>
            </a:r>
            <a:endParaRPr kumimoji="0" lang="ru-RU" sz="2507" b="1" i="0" u="none" strike="noStrike" kern="1200" cap="none" spc="0" normalizeH="0" baseline="30000" noProof="0" dirty="0">
              <a:ln>
                <a:noFill/>
              </a:ln>
              <a:solidFill>
                <a:srgbClr val="154381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34" name="Овал 33">
            <a:extLst>
              <a:ext uri="{FF2B5EF4-FFF2-40B4-BE49-F238E27FC236}">
                <a16:creationId xmlns:a16="http://schemas.microsoft.com/office/drawing/2014/main" id="{9DD20F82-1BFB-3346-A7C8-282F28A7FDF3}"/>
              </a:ext>
            </a:extLst>
          </p:cNvPr>
          <p:cNvSpPr/>
          <p:nvPr/>
        </p:nvSpPr>
        <p:spPr>
          <a:xfrm>
            <a:off x="2578233" y="4204478"/>
            <a:ext cx="637450" cy="637450"/>
          </a:xfrm>
          <a:prstGeom prst="ellipse">
            <a:avLst/>
          </a:prstGeom>
          <a:solidFill>
            <a:srgbClr val="FAFAFD"/>
          </a:solidFill>
          <a:ln w="19050" cap="rnd">
            <a:solidFill>
              <a:srgbClr val="154381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79243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56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A0955938-5C39-A846-8328-8EB37F10A8AC}"/>
              </a:ext>
            </a:extLst>
          </p:cNvPr>
          <p:cNvSpPr txBox="1"/>
          <p:nvPr/>
        </p:nvSpPr>
        <p:spPr>
          <a:xfrm>
            <a:off x="2693728" y="4412128"/>
            <a:ext cx="374225" cy="3386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792439" rtl="0" eaLnBrk="1" fontAlgn="auto" latinLnBrk="0" hangingPunct="1">
              <a:lnSpc>
                <a:spcPts val="1817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507" b="1" i="0" u="none" strike="noStrike" kern="1200" cap="none" spc="0" normalizeH="0" baseline="0" noProof="0" dirty="0">
                <a:ln>
                  <a:noFill/>
                </a:ln>
                <a:solidFill>
                  <a:srgbClr val="15438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3</a:t>
            </a:r>
            <a:endParaRPr kumimoji="0" lang="ru-RU" sz="2507" b="1" i="0" u="none" strike="noStrike" kern="1200" cap="none" spc="0" normalizeH="0" baseline="30000" noProof="0" dirty="0">
              <a:ln>
                <a:noFill/>
              </a:ln>
              <a:solidFill>
                <a:srgbClr val="154381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6" name="Прямоугольник 15">
            <a:extLst>
              <a:ext uri="{FF2B5EF4-FFF2-40B4-BE49-F238E27FC236}">
                <a16:creationId xmlns:a16="http://schemas.microsoft.com/office/drawing/2014/main" id="{D34D49FF-CC8C-42CB-A008-9EAC736EAEBA}"/>
              </a:ext>
            </a:extLst>
          </p:cNvPr>
          <p:cNvSpPr/>
          <p:nvPr/>
        </p:nvSpPr>
        <p:spPr>
          <a:xfrm>
            <a:off x="9508141" y="6178048"/>
            <a:ext cx="2439444" cy="585061"/>
          </a:xfrm>
          <a:prstGeom prst="rect">
            <a:avLst/>
          </a:prstGeom>
          <a:solidFill>
            <a:srgbClr val="F7A81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17" name="Рисунок 16">
            <a:extLst>
              <a:ext uri="{FF2B5EF4-FFF2-40B4-BE49-F238E27FC236}">
                <a16:creationId xmlns:a16="http://schemas.microsoft.com/office/drawing/2014/main" id="{42FD7650-7A3A-4891-9290-F8ACD1006201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52817" y="6501875"/>
            <a:ext cx="1394768" cy="1875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5041331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CBA0BAB6-54B4-F341-81EB-BBD6D4654295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4909"/>
            <a:ext cx="12192000" cy="6823091"/>
          </a:xfrm>
          <a:prstGeom prst="rect">
            <a:avLst/>
          </a:prstGeom>
        </p:spPr>
      </p:pic>
      <p:graphicFrame>
        <p:nvGraphicFramePr>
          <p:cNvPr id="7" name="Таблица 6">
            <a:extLst>
              <a:ext uri="{FF2B5EF4-FFF2-40B4-BE49-F238E27FC236}">
                <a16:creationId xmlns:a16="http://schemas.microsoft.com/office/drawing/2014/main" id="{F64A57BB-C4A6-B04D-B840-7B613F8F9529}"/>
              </a:ext>
            </a:extLst>
          </p:cNvPr>
          <p:cNvGraphicFramePr>
            <a:graphicFrameLocks noGrp="1"/>
          </p:cNvGraphicFramePr>
          <p:nvPr/>
        </p:nvGraphicFramePr>
        <p:xfrm>
          <a:off x="1061596" y="2423725"/>
          <a:ext cx="9223305" cy="240534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540539">
                  <a:extLst>
                    <a:ext uri="{9D8B030D-6E8A-4147-A177-3AD203B41FA5}">
                      <a16:colId xmlns:a16="http://schemas.microsoft.com/office/drawing/2014/main" val="3110973609"/>
                    </a:ext>
                  </a:extLst>
                </a:gridCol>
                <a:gridCol w="3682766">
                  <a:extLst>
                    <a:ext uri="{9D8B030D-6E8A-4147-A177-3AD203B41FA5}">
                      <a16:colId xmlns:a16="http://schemas.microsoft.com/office/drawing/2014/main" val="2519097641"/>
                    </a:ext>
                  </a:extLst>
                </a:gridCol>
              </a:tblGrid>
              <a:tr h="422169">
                <a:tc>
                  <a:txBody>
                    <a:bodyPr/>
                    <a:lstStyle/>
                    <a:p>
                      <a:r>
                        <a:rPr lang="az-Latn-AZ" sz="2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ikroflora</a:t>
                      </a:r>
                      <a:endParaRPr lang="en-US" sz="2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26231" marR="126231" marT="63116" marB="63116">
                    <a:solidFill>
                      <a:schemeClr val="tx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az-Latn-AZ" sz="2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ikroorqanizmlərin</a:t>
                      </a:r>
                      <a:r>
                        <a:rPr lang="az-Latn-AZ" sz="2000" baseline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sayı</a:t>
                      </a:r>
                      <a:endParaRPr lang="en-US" sz="2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26231" marR="126231" marT="63116" marB="63116">
                    <a:solidFill>
                      <a:schemeClr val="tx2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98407287"/>
                  </a:ext>
                </a:extLst>
              </a:tr>
              <a:tr h="572439">
                <a:tc>
                  <a:txBody>
                    <a:bodyPr/>
                    <a:lstStyle/>
                    <a:p>
                      <a:r>
                        <a:rPr lang="az-Latn-AZ" sz="2000" b="1" i="0" u="sng" dirty="0">
                          <a:solidFill>
                            <a:srgbClr val="14447A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ifidobakteriyalar</a:t>
                      </a:r>
                      <a:endParaRPr lang="en-US" sz="2000" b="1" i="0" u="sng" dirty="0">
                        <a:solidFill>
                          <a:srgbClr val="14447A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26231" marR="126231" marT="63116" marB="63116"/>
                </a:tc>
                <a:tc>
                  <a:txBody>
                    <a:bodyPr/>
                    <a:lstStyle/>
                    <a:p>
                      <a:r>
                        <a:rPr lang="ru-RU" sz="2000" b="1" dirty="0">
                          <a:solidFill>
                            <a:srgbClr val="14447A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</a:t>
                      </a:r>
                      <a:r>
                        <a:rPr lang="en-US" sz="2000" b="1" dirty="0">
                          <a:solidFill>
                            <a:srgbClr val="14447A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</a:t>
                      </a:r>
                      <a:r>
                        <a:rPr lang="ru-RU" sz="2000" b="1" dirty="0">
                          <a:solidFill>
                            <a:srgbClr val="14447A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90%</a:t>
                      </a:r>
                      <a:endParaRPr lang="en-US" sz="2000" b="1" dirty="0">
                        <a:solidFill>
                          <a:srgbClr val="14447A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26231" marR="126231" marT="63116" marB="63116"/>
                </a:tc>
                <a:extLst>
                  <a:ext uri="{0D108BD9-81ED-4DB2-BD59-A6C34878D82A}">
                    <a16:rowId xmlns:a16="http://schemas.microsoft.com/office/drawing/2014/main" val="4223789049"/>
                  </a:ext>
                </a:extLst>
              </a:tr>
              <a:tr h="829432">
                <a:tc>
                  <a:txBody>
                    <a:bodyPr/>
                    <a:lstStyle/>
                    <a:p>
                      <a:pPr algn="l"/>
                      <a:r>
                        <a:rPr lang="az-Latn-AZ" sz="2000" b="1" u="sng" dirty="0">
                          <a:solidFill>
                            <a:srgbClr val="14447A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aktobasillər</a:t>
                      </a:r>
                      <a:r>
                        <a:rPr lang="ru-RU" sz="2000" dirty="0">
                          <a:solidFill>
                            <a:srgbClr val="14447A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 </a:t>
                      </a:r>
                      <a:r>
                        <a:rPr lang="az-Latn-AZ" sz="2000" dirty="0">
                          <a:solidFill>
                            <a:srgbClr val="14447A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enterokokklar</a:t>
                      </a:r>
                      <a:r>
                        <a:rPr lang="ru-RU" sz="2000" dirty="0">
                          <a:solidFill>
                            <a:srgbClr val="14447A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 </a:t>
                      </a:r>
                      <a:r>
                        <a:rPr lang="az-Latn-AZ" sz="2000" dirty="0">
                          <a:solidFill>
                            <a:srgbClr val="14447A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ağırsaq</a:t>
                      </a:r>
                      <a:r>
                        <a:rPr lang="az-Latn-AZ" sz="2000" baseline="0" dirty="0">
                          <a:solidFill>
                            <a:srgbClr val="14447A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çöpü</a:t>
                      </a:r>
                      <a:endParaRPr lang="en-US" sz="2000" dirty="0">
                        <a:solidFill>
                          <a:srgbClr val="14447A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26231" marR="126231" marT="63116" marB="63116"/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2000" b="1" dirty="0">
                          <a:solidFill>
                            <a:srgbClr val="14447A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-10%</a:t>
                      </a:r>
                      <a:endParaRPr lang="en-US" sz="2000" b="1" dirty="0">
                        <a:solidFill>
                          <a:srgbClr val="14447A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26231" marR="126231" marT="63116" marB="63116"/>
                </a:tc>
                <a:extLst>
                  <a:ext uri="{0D108BD9-81ED-4DB2-BD59-A6C34878D82A}">
                    <a16:rowId xmlns:a16="http://schemas.microsoft.com/office/drawing/2014/main" val="1916995830"/>
                  </a:ext>
                </a:extLst>
              </a:tr>
              <a:tr h="572439">
                <a:tc>
                  <a:txBody>
                    <a:bodyPr/>
                    <a:lstStyle/>
                    <a:p>
                      <a:r>
                        <a:rPr lang="az-Latn-AZ" sz="2000" dirty="0">
                          <a:solidFill>
                            <a:srgbClr val="14447A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Şərti</a:t>
                      </a:r>
                      <a:r>
                        <a:rPr lang="az-Latn-AZ" sz="2000" baseline="0" dirty="0">
                          <a:solidFill>
                            <a:srgbClr val="14447A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patogen bakteriyalar</a:t>
                      </a:r>
                      <a:endParaRPr lang="en-US" sz="2000" dirty="0">
                        <a:solidFill>
                          <a:srgbClr val="14447A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26231" marR="126231" marT="63116" marB="63116"/>
                </a:tc>
                <a:tc>
                  <a:txBody>
                    <a:bodyPr/>
                    <a:lstStyle/>
                    <a:p>
                      <a:r>
                        <a:rPr lang="ru-RU" sz="2000" b="1" dirty="0">
                          <a:solidFill>
                            <a:srgbClr val="14447A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%</a:t>
                      </a:r>
                      <a:r>
                        <a:rPr lang="az-Latn-AZ" sz="2000" b="1" dirty="0">
                          <a:solidFill>
                            <a:srgbClr val="14447A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aşağı</a:t>
                      </a:r>
                      <a:endParaRPr lang="en-US" sz="2000" b="1" dirty="0">
                        <a:solidFill>
                          <a:srgbClr val="14447A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26231" marR="126231" marT="63116" marB="63116"/>
                </a:tc>
                <a:extLst>
                  <a:ext uri="{0D108BD9-81ED-4DB2-BD59-A6C34878D82A}">
                    <a16:rowId xmlns:a16="http://schemas.microsoft.com/office/drawing/2014/main" val="3691668379"/>
                  </a:ext>
                </a:extLst>
              </a:tr>
            </a:tbl>
          </a:graphicData>
        </a:graphic>
      </p:graphicFrame>
      <p:sp>
        <p:nvSpPr>
          <p:cNvPr id="9" name="Rectangle 6">
            <a:extLst>
              <a:ext uri="{FF2B5EF4-FFF2-40B4-BE49-F238E27FC236}">
                <a16:creationId xmlns:a16="http://schemas.microsoft.com/office/drawing/2014/main" id="{F94E1463-1137-CE46-9C3A-3CD66B0DFB94}"/>
              </a:ext>
            </a:extLst>
          </p:cNvPr>
          <p:cNvSpPr>
            <a:spLocks noChangeArrowheads="1"/>
          </p:cNvSpPr>
          <p:nvPr/>
        </p:nvSpPr>
        <p:spPr bwMode="auto">
          <a:xfrm>
            <a:off x="2054218" y="6389681"/>
            <a:ext cx="6115457" cy="2699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116656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877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Файзуллина</a:t>
            </a:r>
            <a:r>
              <a:rPr kumimoji="0" lang="ru-RU" altLang="ru-RU" sz="877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Р.А., </a:t>
            </a:r>
            <a:r>
              <a:rPr kumimoji="0" lang="ru-RU" altLang="ru-RU" sz="877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Пикуза</a:t>
            </a:r>
            <a:r>
              <a:rPr kumimoji="0" lang="ru-RU" altLang="ru-RU" sz="877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О.И., Закирова А.М. </a:t>
            </a:r>
            <a:r>
              <a:rPr kumimoji="0" lang="ru-RU" altLang="ru-RU" sz="877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Дисбиотические</a:t>
            </a:r>
            <a:r>
              <a:rPr kumimoji="0" lang="ru-RU" altLang="ru-RU" sz="877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нарушения кишечника у детей , принципы коррекции. </a:t>
            </a:r>
          </a:p>
          <a:p>
            <a:pPr marL="0" marR="0" lvl="0" indent="0" algn="l" defTabSz="116656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877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Методическое пособие. 2015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744510F5-40F6-0043-995D-4B0273BA98FA}"/>
              </a:ext>
            </a:extLst>
          </p:cNvPr>
          <p:cNvSpPr>
            <a:spLocks noChangeArrowheads="1"/>
          </p:cNvSpPr>
          <p:nvPr/>
        </p:nvSpPr>
        <p:spPr bwMode="auto">
          <a:xfrm>
            <a:off x="1791439" y="1860828"/>
            <a:ext cx="7948929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116656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az-Latn-AZ" altLang="ru-RU" sz="2400" b="1" i="0" u="none" strike="noStrike" kern="1200" cap="none" spc="0" normalizeH="0" baseline="0" noProof="0" dirty="0">
                <a:ln>
                  <a:noFill/>
                </a:ln>
                <a:solidFill>
                  <a:srgbClr val="14447A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Uşaqların normal bağirsaq mikroflorasının tərkibi:</a:t>
            </a:r>
            <a:endParaRPr kumimoji="0" lang="ru-RU" altLang="ru-RU" sz="2400" b="0" i="0" u="none" strike="noStrike" kern="1200" cap="none" spc="0" normalizeH="0" baseline="0" noProof="0" dirty="0">
              <a:ln>
                <a:noFill/>
              </a:ln>
              <a:solidFill>
                <a:srgbClr val="14447A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3" name="Прямоугольник 12">
            <a:extLst>
              <a:ext uri="{FF2B5EF4-FFF2-40B4-BE49-F238E27FC236}">
                <a16:creationId xmlns:a16="http://schemas.microsoft.com/office/drawing/2014/main" id="{A3C53103-31B5-504C-8C0D-98EC035B23A4}"/>
              </a:ext>
            </a:extLst>
          </p:cNvPr>
          <p:cNvSpPr/>
          <p:nvPr/>
        </p:nvSpPr>
        <p:spPr>
          <a:xfrm>
            <a:off x="0" y="1"/>
            <a:ext cx="12192000" cy="1185775"/>
          </a:xfrm>
          <a:prstGeom prst="rect">
            <a:avLst/>
          </a:prstGeom>
          <a:gradFill flip="none" rotWithShape="1">
            <a:gsLst>
              <a:gs pos="0">
                <a:srgbClr val="14447A"/>
              </a:gs>
              <a:gs pos="100000">
                <a:srgbClr val="002060"/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434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793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4" name="Rectangle 8">
            <a:extLst>
              <a:ext uri="{FF2B5EF4-FFF2-40B4-BE49-F238E27FC236}">
                <a16:creationId xmlns:a16="http://schemas.microsoft.com/office/drawing/2014/main" id="{40CEE047-3840-074B-8766-9C3AA53012EA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44791" y="263767"/>
            <a:ext cx="8012937" cy="76726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116656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az-Latn-AZ" altLang="ru-RU" sz="2493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Normal bağırsaq mikroflorasının əsas təmsilçiləri</a:t>
            </a:r>
            <a:r>
              <a:rPr kumimoji="0" lang="ru-RU" altLang="ru-RU" sz="2493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–  </a:t>
            </a:r>
            <a:r>
              <a:rPr kumimoji="0" lang="az-Latn-AZ" altLang="ru-RU" sz="2493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bifido</a:t>
            </a:r>
            <a:r>
              <a:rPr kumimoji="0" lang="ru-RU" altLang="ru-RU" sz="2493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- </a:t>
            </a:r>
            <a:r>
              <a:rPr kumimoji="0" lang="az-Latn-AZ" altLang="ru-RU" sz="2493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və</a:t>
            </a:r>
            <a:r>
              <a:rPr kumimoji="0" lang="ru-RU" altLang="ru-RU" sz="2493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</a:t>
            </a:r>
            <a:r>
              <a:rPr kumimoji="0" lang="az-Latn-AZ" altLang="ru-RU" sz="2493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laktobakteriyalardır</a:t>
            </a:r>
            <a:endParaRPr kumimoji="0" lang="ru-RU" altLang="ru-RU" sz="2493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pic>
        <p:nvPicPr>
          <p:cNvPr id="15" name="Рисунок 14">
            <a:extLst>
              <a:ext uri="{FF2B5EF4-FFF2-40B4-BE49-F238E27FC236}">
                <a16:creationId xmlns:a16="http://schemas.microsoft.com/office/drawing/2014/main" id="{ADFE426A-A91A-4369-A4B6-C9B0A924BC14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09426" y="6510213"/>
            <a:ext cx="1394768" cy="1875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0441400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loud 5">
            <a:extLst>
              <a:ext uri="{FF2B5EF4-FFF2-40B4-BE49-F238E27FC236}">
                <a16:creationId xmlns:a16="http://schemas.microsoft.com/office/drawing/2014/main" id="{77E6EF8B-EEBD-4179-BDB2-A6925D2A713D}"/>
              </a:ext>
            </a:extLst>
          </p:cNvPr>
          <p:cNvSpPr/>
          <p:nvPr/>
        </p:nvSpPr>
        <p:spPr>
          <a:xfrm>
            <a:off x="1305018" y="209530"/>
            <a:ext cx="5699464" cy="2373872"/>
          </a:xfrm>
          <a:prstGeom prst="cloud">
            <a:avLst/>
          </a:prstGeo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31" name="Picture 30">
            <a:extLst>
              <a:ext uri="{FF2B5EF4-FFF2-40B4-BE49-F238E27FC236}">
                <a16:creationId xmlns:a16="http://schemas.microsoft.com/office/drawing/2014/main" id="{361E5738-2E5D-4078-A1CD-0C0BEEF7DBB0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26942" r="4504"/>
          <a:stretch/>
        </p:blipFill>
        <p:spPr>
          <a:xfrm>
            <a:off x="7848503" y="887178"/>
            <a:ext cx="4413496" cy="3416603"/>
          </a:xfrm>
          <a:prstGeom prst="rect">
            <a:avLst/>
          </a:prstGeom>
        </p:spPr>
      </p:pic>
      <p:sp>
        <p:nvSpPr>
          <p:cNvPr id="32" name="Rectangle 31">
            <a:extLst>
              <a:ext uri="{FF2B5EF4-FFF2-40B4-BE49-F238E27FC236}">
                <a16:creationId xmlns:a16="http://schemas.microsoft.com/office/drawing/2014/main" id="{277550EB-547D-4D9D-AD93-4BD6DE4B88C1}"/>
              </a:ext>
            </a:extLst>
          </p:cNvPr>
          <p:cNvSpPr/>
          <p:nvPr/>
        </p:nvSpPr>
        <p:spPr>
          <a:xfrm>
            <a:off x="239697" y="2452945"/>
            <a:ext cx="9579006" cy="4339650"/>
          </a:xfrm>
          <a:prstGeom prst="rect">
            <a:avLst/>
          </a:prstGeom>
          <a:ln>
            <a:noFill/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  <p:txBody>
          <a:bodyPr wrap="square">
            <a:spAutoFit/>
          </a:bodyPr>
          <a:lstStyle/>
          <a:p>
            <a:pPr marL="0" marR="0" lvl="0" indent="0" algn="l" defTabSz="75279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z-Latn-AZ" sz="2000" b="1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</a:t>
            </a:r>
            <a:r>
              <a:rPr kumimoji="0" lang="az-Latn-AZ" sz="2400" b="1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 </a:t>
            </a:r>
            <a:r>
              <a:rPr kumimoji="0" lang="az-Latn-AZ" sz="2800" b="1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örpələrdə köp, sancı zamanı  Linex Baby</a:t>
            </a:r>
            <a:r>
              <a:rPr kumimoji="0" lang="az-Latn-AZ" sz="3200" b="1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az-Latn-AZ" sz="2400" b="1" i="0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3-4 həftə.</a:t>
            </a:r>
          </a:p>
          <a:p>
            <a:pPr marL="0" marR="0" lvl="0" indent="0" algn="l" defTabSz="75279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az-Latn-AZ" sz="24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75279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z-Latn-AZ" sz="2800" b="1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. Funksional qəbizlik zamanı  Linex Baby </a:t>
            </a:r>
            <a:r>
              <a:rPr kumimoji="0" lang="az-Latn-AZ" sz="2400" b="1" i="0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-8 həftə.</a:t>
            </a:r>
          </a:p>
          <a:p>
            <a:pPr marL="0" marR="0" lvl="0" indent="0" algn="l" defTabSz="75279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az-Latn-AZ" sz="2400" b="0" i="0" u="none" strike="noStrike" kern="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75279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z-Latn-AZ" sz="2800" b="1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3. Qıcıqlanmış bağırsaq sindromu zamanı Linex Baby </a:t>
            </a:r>
            <a:r>
              <a:rPr kumimoji="0" lang="az-Latn-AZ" sz="2400" b="1" i="0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-8 həftə.</a:t>
            </a:r>
          </a:p>
          <a:p>
            <a:pPr marL="0" marR="0" lvl="0" indent="0" algn="l" defTabSz="75279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az-Latn-AZ" sz="2800" b="1" i="0" u="none" strike="noStrike" kern="1200" cap="none" spc="0" normalizeH="0" baseline="0" noProof="0" dirty="0">
              <a:ln>
                <a:noFill/>
              </a:ln>
              <a:solidFill>
                <a:srgbClr val="4472C4">
                  <a:lumMod val="75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75279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z-Latn-AZ" sz="2800" b="1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4. İmmunitetə dəstək məqsədi  ilə Linex  Baby </a:t>
            </a:r>
            <a:r>
              <a:rPr kumimoji="0" lang="az-Latn-AZ" sz="2400" b="1" i="0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3-6 ay     </a:t>
            </a:r>
            <a:r>
              <a:rPr kumimoji="0" lang="az-Latn-AZ" sz="2800" b="1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üddətində qəbul olunur.</a:t>
            </a:r>
          </a:p>
          <a:p>
            <a:pPr marL="0" marR="0" lvl="0" indent="0" algn="l" defTabSz="75279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az-Latn-AZ" sz="2800" b="1" i="0" u="none" strike="noStrike" kern="1200" cap="none" spc="0" normalizeH="0" baseline="0" noProof="0" dirty="0">
              <a:ln>
                <a:noFill/>
              </a:ln>
              <a:solidFill>
                <a:srgbClr val="4472C4">
                  <a:lumMod val="75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75279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z-Latn-AZ" sz="2800" b="1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5.</a:t>
            </a:r>
            <a:r>
              <a:rPr kumimoji="0" lang="az-Latn-AZ" sz="2400" b="1" i="0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it D sovrulması </a:t>
            </a:r>
            <a:r>
              <a:rPr kumimoji="0" lang="az-Latn-AZ" sz="2800" b="1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–Vit D qəbulu müddətində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B2340274-B5F6-4F19-B83B-24CBAB75367F}"/>
              </a:ext>
            </a:extLst>
          </p:cNvPr>
          <p:cNvSpPr/>
          <p:nvPr/>
        </p:nvSpPr>
        <p:spPr>
          <a:xfrm>
            <a:off x="1970840" y="642188"/>
            <a:ext cx="4820575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oğu</a:t>
            </a:r>
            <a:r>
              <a:rPr kumimoji="0" lang="az-Latn-AZ" sz="2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lduğu gündən </a:t>
            </a: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8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tibarən</a:t>
            </a: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az-Latn-AZ" sz="2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örpələr </a:t>
            </a:r>
            <a:r>
              <a:rPr kumimoji="0" lang="en-US" sz="28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üçün</a:t>
            </a: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8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xüsusi</a:t>
            </a: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8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laraq</a:t>
            </a: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8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azırlanmış</a:t>
            </a: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8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obiotik</a:t>
            </a:r>
            <a:endParaRPr kumimoji="0" lang="en-US" sz="2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3074" name="Picture 2" descr="BB-12® logo">
            <a:extLst>
              <a:ext uri="{FF2B5EF4-FFF2-40B4-BE49-F238E27FC236}">
                <a16:creationId xmlns:a16="http://schemas.microsoft.com/office/drawing/2014/main" id="{E2ED80CC-D81E-42BA-BF09-A8588090B64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49021" y="4622770"/>
            <a:ext cx="3703282" cy="2114986"/>
          </a:xfrm>
          <a:prstGeom prst="rect">
            <a:avLst/>
          </a:prstGeom>
          <a:noFill/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93838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1000"/>
                                        <p:tgtEl>
                                          <p:spTgt spid="3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3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3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1000"/>
                                        <p:tgtEl>
                                          <p:spTgt spid="3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2" dur="1000" fill="hold"/>
                                        <p:tgtEl>
                                          <p:spTgt spid="3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3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1000"/>
                                        <p:tgtEl>
                                          <p:spTgt spid="3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9" dur="1000" fill="hold"/>
                                        <p:tgtEl>
                                          <p:spTgt spid="3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0" dur="1000" fill="hold"/>
                                        <p:tgtEl>
                                          <p:spTgt spid="3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1000"/>
                                        <p:tgtEl>
                                          <p:spTgt spid="32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6" dur="1000" fill="hold"/>
                                        <p:tgtEl>
                                          <p:spTgt spid="32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7" dur="1000" fill="hold"/>
                                        <p:tgtEl>
                                          <p:spTgt spid="32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1000"/>
                                        <p:tgtEl>
                                          <p:spTgt spid="32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3" dur="1000" fill="hold"/>
                                        <p:tgtEl>
                                          <p:spTgt spid="32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4" dur="1000" fill="hold"/>
                                        <p:tgtEl>
                                          <p:spTgt spid="32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4"/>
          <p:cNvGrpSpPr>
            <a:grpSpLocks noChangeAspect="1"/>
          </p:cNvGrpSpPr>
          <p:nvPr/>
        </p:nvGrpSpPr>
        <p:grpSpPr bwMode="auto">
          <a:xfrm>
            <a:off x="1386345" y="-128041"/>
            <a:ext cx="9532726" cy="6396699"/>
            <a:chOff x="28" y="0"/>
            <a:chExt cx="4707" cy="3357"/>
          </a:xfrm>
        </p:grpSpPr>
        <p:sp>
          <p:nvSpPr>
            <p:cNvPr id="4" name="AutoShape 3"/>
            <p:cNvSpPr>
              <a:spLocks noChangeAspect="1" noChangeArrowheads="1" noTextEdit="1"/>
            </p:cNvSpPr>
            <p:nvPr/>
          </p:nvSpPr>
          <p:spPr bwMode="auto">
            <a:xfrm>
              <a:off x="28" y="0"/>
              <a:ext cx="4707" cy="335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16653" tIns="58327" rIns="116653" bIns="58327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4287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218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1" name="Rectangle 45"/>
            <p:cNvSpPr>
              <a:spLocks noChangeArrowheads="1"/>
            </p:cNvSpPr>
            <p:nvPr/>
          </p:nvSpPr>
          <p:spPr bwMode="auto">
            <a:xfrm>
              <a:off x="1835" y="2540"/>
              <a:ext cx="1419" cy="1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1166575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altLang="ru-RU" sz="1781" b="0" i="0" u="none" strike="noStrike" kern="1200" cap="none" spc="0" normalizeH="0" baseline="0" noProof="0" dirty="0">
                  <a:ln>
                    <a:noFill/>
                  </a:ln>
                  <a:solidFill>
                    <a:srgbClr val="FEFEFE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rPr>
                <a:t>По 1 капсуле 3 раза в день</a:t>
              </a:r>
              <a:endParaRPr kumimoji="0" lang="ru-RU" altLang="ru-RU" sz="1781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</p:grpSp>
      <p:pic>
        <p:nvPicPr>
          <p:cNvPr id="54" name="Рисунок 53">
            <a:extLst>
              <a:ext uri="{FF2B5EF4-FFF2-40B4-BE49-F238E27FC236}">
                <a16:creationId xmlns:a16="http://schemas.microsoft.com/office/drawing/2014/main" id="{89678B41-4175-C74F-B6A1-B17D14D63FA6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707" y="14687"/>
            <a:ext cx="12192000" cy="6858000"/>
          </a:xfrm>
          <a:prstGeom prst="rect">
            <a:avLst/>
          </a:prstGeom>
        </p:spPr>
      </p:pic>
      <p:sp>
        <p:nvSpPr>
          <p:cNvPr id="5" name="Прямоугольник 4"/>
          <p:cNvSpPr/>
          <p:nvPr/>
        </p:nvSpPr>
        <p:spPr>
          <a:xfrm>
            <a:off x="1831338" y="6263541"/>
            <a:ext cx="6183084" cy="24667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3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Информация для потребителя Линекс для детей</a:t>
            </a:r>
            <a:r>
              <a:rPr kumimoji="0" lang="ru-RU" sz="1003" b="1" i="0" u="none" strike="noStrike" kern="1200" cap="none" spc="0" normalizeH="0" baseline="3000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®</a:t>
            </a:r>
            <a:r>
              <a:rPr kumimoji="0" lang="ru-RU" sz="1003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капли, Линекс для детей</a:t>
            </a:r>
            <a:r>
              <a:rPr kumimoji="0" lang="ru-RU" sz="1003" b="1" i="0" u="none" strike="noStrike" kern="1200" cap="none" spc="0" normalizeH="0" baseline="3000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®</a:t>
            </a:r>
            <a:r>
              <a:rPr kumimoji="0" lang="ru-RU" sz="1003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, саше</a:t>
            </a:r>
            <a:endParaRPr kumimoji="0" lang="en-US" sz="1003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7" name="Прямоугольник 16">
            <a:extLst>
              <a:ext uri="{FF2B5EF4-FFF2-40B4-BE49-F238E27FC236}">
                <a16:creationId xmlns:a16="http://schemas.microsoft.com/office/drawing/2014/main" id="{A36935C7-DCFF-7F41-AFEF-84EFA2B72C2B}"/>
              </a:ext>
            </a:extLst>
          </p:cNvPr>
          <p:cNvSpPr/>
          <p:nvPr/>
        </p:nvSpPr>
        <p:spPr>
          <a:xfrm>
            <a:off x="0" y="-13639"/>
            <a:ext cx="12191999" cy="1327100"/>
          </a:xfrm>
          <a:prstGeom prst="rect">
            <a:avLst/>
          </a:prstGeom>
          <a:gradFill flip="none" rotWithShape="1">
            <a:gsLst>
              <a:gs pos="0">
                <a:srgbClr val="14447A">
                  <a:shade val="30000"/>
                  <a:satMod val="115000"/>
                </a:srgbClr>
              </a:gs>
              <a:gs pos="50000">
                <a:srgbClr val="14447A">
                  <a:shade val="67500"/>
                  <a:satMod val="115000"/>
                </a:srgbClr>
              </a:gs>
              <a:gs pos="100000">
                <a:srgbClr val="14447A">
                  <a:shade val="100000"/>
                  <a:satMod val="115000"/>
                </a:srgb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256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558EBD9D-16A3-8D46-A39C-D78BF950B325}"/>
              </a:ext>
            </a:extLst>
          </p:cNvPr>
          <p:cNvSpPr txBox="1"/>
          <p:nvPr/>
        </p:nvSpPr>
        <p:spPr>
          <a:xfrm>
            <a:off x="1667346" y="66779"/>
            <a:ext cx="2646750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4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Линекс</a:t>
            </a:r>
            <a:r>
              <a:rPr kumimoji="0" lang="ru-RU" altLang="ru-RU" sz="3008" b="0" i="0" u="none" strike="noStrike" kern="1200" cap="none" spc="0" normalizeH="0" baseline="3000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®</a:t>
            </a:r>
            <a:r>
              <a:rPr kumimoji="0" lang="ru-RU" sz="3008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endParaRPr kumimoji="0" lang="en-US" sz="2507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A52ED1C9-54E2-47A5-9A65-51A32DEB37A7}"/>
              </a:ext>
            </a:extLst>
          </p:cNvPr>
          <p:cNvSpPr txBox="1"/>
          <p:nvPr/>
        </p:nvSpPr>
        <p:spPr>
          <a:xfrm>
            <a:off x="5329939" y="2136229"/>
            <a:ext cx="115288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3.74 AZN</a:t>
            </a: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F8DE3BC1-20B7-4E5D-B39A-B40E9C4E881C}"/>
              </a:ext>
            </a:extLst>
          </p:cNvPr>
          <p:cNvSpPr txBox="1"/>
          <p:nvPr/>
        </p:nvSpPr>
        <p:spPr>
          <a:xfrm>
            <a:off x="1955721" y="2158749"/>
            <a:ext cx="115288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1.62 AZN</a:t>
            </a: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29801323-EC3E-4420-918E-9AABD59E7D19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10198" t="24082" r="9417" b="23939"/>
          <a:stretch/>
        </p:blipFill>
        <p:spPr>
          <a:xfrm>
            <a:off x="8014422" y="2544339"/>
            <a:ext cx="3135977" cy="2027825"/>
          </a:xfrm>
          <a:prstGeom prst="rect">
            <a:avLst/>
          </a:prstGeom>
        </p:spPr>
      </p:pic>
      <p:sp>
        <p:nvSpPr>
          <p:cNvPr id="27" name="TextBox 26">
            <a:extLst>
              <a:ext uri="{FF2B5EF4-FFF2-40B4-BE49-F238E27FC236}">
                <a16:creationId xmlns:a16="http://schemas.microsoft.com/office/drawing/2014/main" id="{C56B3BB3-1B95-424E-B0AE-E3EC623F05C4}"/>
              </a:ext>
            </a:extLst>
          </p:cNvPr>
          <p:cNvSpPr txBox="1"/>
          <p:nvPr/>
        </p:nvSpPr>
        <p:spPr>
          <a:xfrm>
            <a:off x="8846120" y="2157197"/>
            <a:ext cx="103586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8.78 AZN</a:t>
            </a: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3A2FAF4A-2CEC-459A-8662-9F9B2691BF6B}"/>
              </a:ext>
            </a:extLst>
          </p:cNvPr>
          <p:cNvSpPr txBox="1"/>
          <p:nvPr/>
        </p:nvSpPr>
        <p:spPr>
          <a:xfrm>
            <a:off x="7361486" y="4663613"/>
            <a:ext cx="5038785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Lactobacillus acidophilus (species </a:t>
            </a:r>
            <a:r>
              <a:rPr kumimoji="0" lang="en-US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L.gasseri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)</a:t>
            </a: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, 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Bifidobacterium </a:t>
            </a:r>
            <a:r>
              <a:rPr kumimoji="0" lang="en-US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infantis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</a:t>
            </a: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, 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Enterococcus faecium</a:t>
            </a: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)</a:t>
            </a: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05942D7D-1931-4BB5-8D96-CE1B68D7D867}"/>
              </a:ext>
            </a:extLst>
          </p:cNvPr>
          <p:cNvSpPr txBox="1"/>
          <p:nvPr/>
        </p:nvSpPr>
        <p:spPr>
          <a:xfrm>
            <a:off x="3898173" y="4711880"/>
            <a:ext cx="3718192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Bifidobacterium animalis subsp. lactis (BB-12)</a:t>
            </a: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4D17D954-1D88-4CC1-A667-76F94F018E60}"/>
              </a:ext>
            </a:extLst>
          </p:cNvPr>
          <p:cNvSpPr txBox="1"/>
          <p:nvPr/>
        </p:nvSpPr>
        <p:spPr>
          <a:xfrm>
            <a:off x="740438" y="5302641"/>
            <a:ext cx="6329778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11676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alt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Lactobacillus </a:t>
            </a:r>
            <a:r>
              <a:rPr kumimoji="0" lang="fr-FR" altLang="ru-RU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acidophilus</a:t>
            </a:r>
            <a:r>
              <a:rPr kumimoji="0" lang="fr-FR" alt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 LA-5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E50D4E71-94B3-4DA1-8FD8-65D6F4EAB603}"/>
              </a:ext>
            </a:extLst>
          </p:cNvPr>
          <p:cNvSpPr txBox="1"/>
          <p:nvPr/>
        </p:nvSpPr>
        <p:spPr>
          <a:xfrm>
            <a:off x="406116" y="4572164"/>
            <a:ext cx="3718192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z-Latn-AZ" sz="16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1 yaşdan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Bifidobacterium animalis subsp. lactis (BB-12)</a:t>
            </a: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BDC0E57-E667-495D-8E82-53326CFCCC2A}"/>
              </a:ext>
            </a:extLst>
          </p:cNvPr>
          <p:cNvSpPr txBox="1"/>
          <p:nvPr/>
        </p:nvSpPr>
        <p:spPr>
          <a:xfrm>
            <a:off x="2990721" y="1363391"/>
            <a:ext cx="5504915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z-Latn-AZ" sz="24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ntibiotikin ilk günündən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z-Latn-AZ" sz="24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ntibiotik qəbulu arasında  3 saat fasilə</a:t>
            </a:r>
            <a:endParaRPr kumimoji="0" lang="ru-RU" sz="2400" b="1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11" name="Picture 10" descr="Text, logo&#10;&#10;Description automatically generated">
            <a:extLst>
              <a:ext uri="{FF2B5EF4-FFF2-40B4-BE49-F238E27FC236}">
                <a16:creationId xmlns:a16="http://schemas.microsoft.com/office/drawing/2014/main" id="{B64E36CC-45B2-B8A2-577A-31AE7D00A674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6042" t="20158" r="19034" b="13945"/>
          <a:stretch/>
        </p:blipFill>
        <p:spPr>
          <a:xfrm>
            <a:off x="833591" y="2495865"/>
            <a:ext cx="2833007" cy="2379328"/>
          </a:xfrm>
          <a:prstGeom prst="rect">
            <a:avLst/>
          </a:prstGeom>
        </p:spPr>
      </p:pic>
      <p:pic>
        <p:nvPicPr>
          <p:cNvPr id="13" name="Picture 12" descr="Text&#10;&#10;Description automatically generated">
            <a:extLst>
              <a:ext uri="{FF2B5EF4-FFF2-40B4-BE49-F238E27FC236}">
                <a16:creationId xmlns:a16="http://schemas.microsoft.com/office/drawing/2014/main" id="{864C656E-BE65-8F0B-A7D7-3C66A873F73D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1587" t="15868" r="34220" b="15312"/>
          <a:stretch/>
        </p:blipFill>
        <p:spPr>
          <a:xfrm>
            <a:off x="4352416" y="2273577"/>
            <a:ext cx="2837399" cy="2442995"/>
          </a:xfrm>
          <a:prstGeom prst="rect">
            <a:avLst/>
          </a:prstGeom>
        </p:spPr>
      </p:pic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57DC24B6-7637-49B1-B67A-77586D801507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09426" y="6510213"/>
            <a:ext cx="1394768" cy="1875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1592838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95" name="Группа 194">
            <a:extLst>
              <a:ext uri="{FF2B5EF4-FFF2-40B4-BE49-F238E27FC236}">
                <a16:creationId xmlns:a16="http://schemas.microsoft.com/office/drawing/2014/main" id="{9F6CC104-661D-7649-89A8-3841B5BFEA3A}"/>
              </a:ext>
            </a:extLst>
          </p:cNvPr>
          <p:cNvGrpSpPr/>
          <p:nvPr/>
        </p:nvGrpSpPr>
        <p:grpSpPr>
          <a:xfrm>
            <a:off x="-4554" y="-13209"/>
            <a:ext cx="12192000" cy="1388356"/>
            <a:chOff x="-665" y="822885"/>
            <a:chExt cx="10499560" cy="966915"/>
          </a:xfrm>
        </p:grpSpPr>
        <p:sp>
          <p:nvSpPr>
            <p:cNvPr id="196" name="Freeform 10">
              <a:extLst>
                <a:ext uri="{FF2B5EF4-FFF2-40B4-BE49-F238E27FC236}">
                  <a16:creationId xmlns:a16="http://schemas.microsoft.com/office/drawing/2014/main" id="{02EBA76F-3603-844A-8036-14402CE99F17}"/>
                </a:ext>
              </a:extLst>
            </p:cNvPr>
            <p:cNvSpPr>
              <a:spLocks/>
            </p:cNvSpPr>
            <p:nvPr/>
          </p:nvSpPr>
          <p:spPr bwMode="auto">
            <a:xfrm>
              <a:off x="8879028" y="822885"/>
              <a:ext cx="1619867" cy="966915"/>
            </a:xfrm>
            <a:custGeom>
              <a:avLst/>
              <a:gdLst>
                <a:gd name="T0" fmla="*/ 0 w 2850"/>
                <a:gd name="T1" fmla="*/ 0 h 1699"/>
                <a:gd name="T2" fmla="*/ 2850 w 2850"/>
                <a:gd name="T3" fmla="*/ 0 h 1699"/>
                <a:gd name="T4" fmla="*/ 2810 w 2850"/>
                <a:gd name="T5" fmla="*/ 59 h 1699"/>
                <a:gd name="T6" fmla="*/ 2769 w 2850"/>
                <a:gd name="T7" fmla="*/ 120 h 1699"/>
                <a:gd name="T8" fmla="*/ 2727 w 2850"/>
                <a:gd name="T9" fmla="*/ 185 h 1699"/>
                <a:gd name="T10" fmla="*/ 2685 w 2850"/>
                <a:gd name="T11" fmla="*/ 252 h 1699"/>
                <a:gd name="T12" fmla="*/ 2641 w 2850"/>
                <a:gd name="T13" fmla="*/ 322 h 1699"/>
                <a:gd name="T14" fmla="*/ 2595 w 2850"/>
                <a:gd name="T15" fmla="*/ 394 h 1699"/>
                <a:gd name="T16" fmla="*/ 2548 w 2850"/>
                <a:gd name="T17" fmla="*/ 466 h 1699"/>
                <a:gd name="T18" fmla="*/ 2499 w 2850"/>
                <a:gd name="T19" fmla="*/ 540 h 1699"/>
                <a:gd name="T20" fmla="*/ 2447 w 2850"/>
                <a:gd name="T21" fmla="*/ 614 h 1699"/>
                <a:gd name="T22" fmla="*/ 2394 w 2850"/>
                <a:gd name="T23" fmla="*/ 688 h 1699"/>
                <a:gd name="T24" fmla="*/ 2337 w 2850"/>
                <a:gd name="T25" fmla="*/ 764 h 1699"/>
                <a:gd name="T26" fmla="*/ 2277 w 2850"/>
                <a:gd name="T27" fmla="*/ 838 h 1699"/>
                <a:gd name="T28" fmla="*/ 2214 w 2850"/>
                <a:gd name="T29" fmla="*/ 911 h 1699"/>
                <a:gd name="T30" fmla="*/ 2148 w 2850"/>
                <a:gd name="T31" fmla="*/ 984 h 1699"/>
                <a:gd name="T32" fmla="*/ 2079 w 2850"/>
                <a:gd name="T33" fmla="*/ 1055 h 1699"/>
                <a:gd name="T34" fmla="*/ 2006 w 2850"/>
                <a:gd name="T35" fmla="*/ 1125 h 1699"/>
                <a:gd name="T36" fmla="*/ 1929 w 2850"/>
                <a:gd name="T37" fmla="*/ 1192 h 1699"/>
                <a:gd name="T38" fmla="*/ 1848 w 2850"/>
                <a:gd name="T39" fmla="*/ 1257 h 1699"/>
                <a:gd name="T40" fmla="*/ 1763 w 2850"/>
                <a:gd name="T41" fmla="*/ 1318 h 1699"/>
                <a:gd name="T42" fmla="*/ 1673 w 2850"/>
                <a:gd name="T43" fmla="*/ 1377 h 1699"/>
                <a:gd name="T44" fmla="*/ 1578 w 2850"/>
                <a:gd name="T45" fmla="*/ 1431 h 1699"/>
                <a:gd name="T46" fmla="*/ 1477 w 2850"/>
                <a:gd name="T47" fmla="*/ 1482 h 1699"/>
                <a:gd name="T48" fmla="*/ 1372 w 2850"/>
                <a:gd name="T49" fmla="*/ 1528 h 1699"/>
                <a:gd name="T50" fmla="*/ 1263 w 2850"/>
                <a:gd name="T51" fmla="*/ 1569 h 1699"/>
                <a:gd name="T52" fmla="*/ 1146 w 2850"/>
                <a:gd name="T53" fmla="*/ 1606 h 1699"/>
                <a:gd name="T54" fmla="*/ 1023 w 2850"/>
                <a:gd name="T55" fmla="*/ 1636 h 1699"/>
                <a:gd name="T56" fmla="*/ 896 w 2850"/>
                <a:gd name="T57" fmla="*/ 1662 h 1699"/>
                <a:gd name="T58" fmla="*/ 761 w 2850"/>
                <a:gd name="T59" fmla="*/ 1681 h 1699"/>
                <a:gd name="T60" fmla="*/ 620 w 2850"/>
                <a:gd name="T61" fmla="*/ 1693 h 1699"/>
                <a:gd name="T62" fmla="*/ 473 w 2850"/>
                <a:gd name="T63" fmla="*/ 1699 h 1699"/>
                <a:gd name="T64" fmla="*/ 318 w 2850"/>
                <a:gd name="T65" fmla="*/ 1696 h 1699"/>
                <a:gd name="T66" fmla="*/ 157 w 2850"/>
                <a:gd name="T67" fmla="*/ 1687 h 1699"/>
                <a:gd name="T68" fmla="*/ 0 w 2850"/>
                <a:gd name="T69" fmla="*/ 1687 h 1699"/>
                <a:gd name="T70" fmla="*/ 0 w 2850"/>
                <a:gd name="T71" fmla="*/ 0 h 16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2850" h="1699">
                  <a:moveTo>
                    <a:pt x="0" y="0"/>
                  </a:moveTo>
                  <a:lnTo>
                    <a:pt x="2850" y="0"/>
                  </a:lnTo>
                  <a:lnTo>
                    <a:pt x="2810" y="59"/>
                  </a:lnTo>
                  <a:lnTo>
                    <a:pt x="2769" y="120"/>
                  </a:lnTo>
                  <a:lnTo>
                    <a:pt x="2727" y="185"/>
                  </a:lnTo>
                  <a:lnTo>
                    <a:pt x="2685" y="252"/>
                  </a:lnTo>
                  <a:lnTo>
                    <a:pt x="2641" y="322"/>
                  </a:lnTo>
                  <a:lnTo>
                    <a:pt x="2595" y="394"/>
                  </a:lnTo>
                  <a:lnTo>
                    <a:pt x="2548" y="466"/>
                  </a:lnTo>
                  <a:lnTo>
                    <a:pt x="2499" y="540"/>
                  </a:lnTo>
                  <a:lnTo>
                    <a:pt x="2447" y="614"/>
                  </a:lnTo>
                  <a:lnTo>
                    <a:pt x="2394" y="688"/>
                  </a:lnTo>
                  <a:lnTo>
                    <a:pt x="2337" y="764"/>
                  </a:lnTo>
                  <a:lnTo>
                    <a:pt x="2277" y="838"/>
                  </a:lnTo>
                  <a:lnTo>
                    <a:pt x="2214" y="911"/>
                  </a:lnTo>
                  <a:lnTo>
                    <a:pt x="2148" y="984"/>
                  </a:lnTo>
                  <a:lnTo>
                    <a:pt x="2079" y="1055"/>
                  </a:lnTo>
                  <a:lnTo>
                    <a:pt x="2006" y="1125"/>
                  </a:lnTo>
                  <a:lnTo>
                    <a:pt x="1929" y="1192"/>
                  </a:lnTo>
                  <a:lnTo>
                    <a:pt x="1848" y="1257"/>
                  </a:lnTo>
                  <a:lnTo>
                    <a:pt x="1763" y="1318"/>
                  </a:lnTo>
                  <a:lnTo>
                    <a:pt x="1673" y="1377"/>
                  </a:lnTo>
                  <a:lnTo>
                    <a:pt x="1578" y="1431"/>
                  </a:lnTo>
                  <a:lnTo>
                    <a:pt x="1477" y="1482"/>
                  </a:lnTo>
                  <a:lnTo>
                    <a:pt x="1372" y="1528"/>
                  </a:lnTo>
                  <a:lnTo>
                    <a:pt x="1263" y="1569"/>
                  </a:lnTo>
                  <a:lnTo>
                    <a:pt x="1146" y="1606"/>
                  </a:lnTo>
                  <a:lnTo>
                    <a:pt x="1023" y="1636"/>
                  </a:lnTo>
                  <a:lnTo>
                    <a:pt x="896" y="1662"/>
                  </a:lnTo>
                  <a:lnTo>
                    <a:pt x="761" y="1681"/>
                  </a:lnTo>
                  <a:lnTo>
                    <a:pt x="620" y="1693"/>
                  </a:lnTo>
                  <a:lnTo>
                    <a:pt x="473" y="1699"/>
                  </a:lnTo>
                  <a:lnTo>
                    <a:pt x="318" y="1696"/>
                  </a:lnTo>
                  <a:lnTo>
                    <a:pt x="157" y="1687"/>
                  </a:lnTo>
                  <a:lnTo>
                    <a:pt x="0" y="168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97C4DC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6653" tIns="58327" rIns="116653" bIns="58327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434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137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97" name="Freeform 11">
              <a:extLst>
                <a:ext uri="{FF2B5EF4-FFF2-40B4-BE49-F238E27FC236}">
                  <a16:creationId xmlns:a16="http://schemas.microsoft.com/office/drawing/2014/main" id="{965F146E-90D4-584A-AF82-7A0DCCF34872}"/>
                </a:ext>
              </a:extLst>
            </p:cNvPr>
            <p:cNvSpPr>
              <a:spLocks/>
            </p:cNvSpPr>
            <p:nvPr/>
          </p:nvSpPr>
          <p:spPr bwMode="auto">
            <a:xfrm>
              <a:off x="-665" y="822885"/>
              <a:ext cx="10499560" cy="962365"/>
            </a:xfrm>
            <a:custGeom>
              <a:avLst/>
              <a:gdLst>
                <a:gd name="T0" fmla="*/ 0 w 18163"/>
                <a:gd name="T1" fmla="*/ 0 h 1689"/>
                <a:gd name="T2" fmla="*/ 18163 w 18163"/>
                <a:gd name="T3" fmla="*/ 0 h 1689"/>
                <a:gd name="T4" fmla="*/ 18057 w 18163"/>
                <a:gd name="T5" fmla="*/ 48 h 1689"/>
                <a:gd name="T6" fmla="*/ 17955 w 18163"/>
                <a:gd name="T7" fmla="*/ 100 h 1689"/>
                <a:gd name="T8" fmla="*/ 17859 w 18163"/>
                <a:gd name="T9" fmla="*/ 157 h 1689"/>
                <a:gd name="T10" fmla="*/ 17767 w 18163"/>
                <a:gd name="T11" fmla="*/ 216 h 1689"/>
                <a:gd name="T12" fmla="*/ 17678 w 18163"/>
                <a:gd name="T13" fmla="*/ 278 h 1689"/>
                <a:gd name="T14" fmla="*/ 17593 w 18163"/>
                <a:gd name="T15" fmla="*/ 343 h 1689"/>
                <a:gd name="T16" fmla="*/ 17511 w 18163"/>
                <a:gd name="T17" fmla="*/ 410 h 1689"/>
                <a:gd name="T18" fmla="*/ 17432 w 18163"/>
                <a:gd name="T19" fmla="*/ 478 h 1689"/>
                <a:gd name="T20" fmla="*/ 17355 w 18163"/>
                <a:gd name="T21" fmla="*/ 549 h 1689"/>
                <a:gd name="T22" fmla="*/ 17281 w 18163"/>
                <a:gd name="T23" fmla="*/ 621 h 1689"/>
                <a:gd name="T24" fmla="*/ 17208 w 18163"/>
                <a:gd name="T25" fmla="*/ 693 h 1689"/>
                <a:gd name="T26" fmla="*/ 17136 w 18163"/>
                <a:gd name="T27" fmla="*/ 765 h 1689"/>
                <a:gd name="T28" fmla="*/ 16995 w 18163"/>
                <a:gd name="T29" fmla="*/ 910 h 1689"/>
                <a:gd name="T30" fmla="*/ 16858 w 18163"/>
                <a:gd name="T31" fmla="*/ 1051 h 1689"/>
                <a:gd name="T32" fmla="*/ 16788 w 18163"/>
                <a:gd name="T33" fmla="*/ 1119 h 1689"/>
                <a:gd name="T34" fmla="*/ 16717 w 18163"/>
                <a:gd name="T35" fmla="*/ 1186 h 1689"/>
                <a:gd name="T36" fmla="*/ 16646 w 18163"/>
                <a:gd name="T37" fmla="*/ 1250 h 1689"/>
                <a:gd name="T38" fmla="*/ 16573 w 18163"/>
                <a:gd name="T39" fmla="*/ 1311 h 1689"/>
                <a:gd name="T40" fmla="*/ 16499 w 18163"/>
                <a:gd name="T41" fmla="*/ 1369 h 1689"/>
                <a:gd name="T42" fmla="*/ 16422 w 18163"/>
                <a:gd name="T43" fmla="*/ 1423 h 1689"/>
                <a:gd name="T44" fmla="*/ 16343 w 18163"/>
                <a:gd name="T45" fmla="*/ 1474 h 1689"/>
                <a:gd name="T46" fmla="*/ 16262 w 18163"/>
                <a:gd name="T47" fmla="*/ 1520 h 1689"/>
                <a:gd name="T48" fmla="*/ 16177 w 18163"/>
                <a:gd name="T49" fmla="*/ 1561 h 1689"/>
                <a:gd name="T50" fmla="*/ 16089 w 18163"/>
                <a:gd name="T51" fmla="*/ 1597 h 1689"/>
                <a:gd name="T52" fmla="*/ 15997 w 18163"/>
                <a:gd name="T53" fmla="*/ 1628 h 1689"/>
                <a:gd name="T54" fmla="*/ 15901 w 18163"/>
                <a:gd name="T55" fmla="*/ 1653 h 1689"/>
                <a:gd name="T56" fmla="*/ 15801 w 18163"/>
                <a:gd name="T57" fmla="*/ 1672 h 1689"/>
                <a:gd name="T58" fmla="*/ 15696 w 18163"/>
                <a:gd name="T59" fmla="*/ 1683 h 1689"/>
                <a:gd name="T60" fmla="*/ 15585 w 18163"/>
                <a:gd name="T61" fmla="*/ 1689 h 1689"/>
                <a:gd name="T62" fmla="*/ 15470 w 18163"/>
                <a:gd name="T63" fmla="*/ 1687 h 1689"/>
                <a:gd name="T64" fmla="*/ 0 w 18163"/>
                <a:gd name="T65" fmla="*/ 1687 h 1689"/>
                <a:gd name="T66" fmla="*/ 0 w 18163"/>
                <a:gd name="T67" fmla="*/ 0 h 16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8163" h="1689">
                  <a:moveTo>
                    <a:pt x="0" y="0"/>
                  </a:moveTo>
                  <a:lnTo>
                    <a:pt x="18163" y="0"/>
                  </a:lnTo>
                  <a:lnTo>
                    <a:pt x="18057" y="48"/>
                  </a:lnTo>
                  <a:lnTo>
                    <a:pt x="17955" y="100"/>
                  </a:lnTo>
                  <a:lnTo>
                    <a:pt x="17859" y="157"/>
                  </a:lnTo>
                  <a:lnTo>
                    <a:pt x="17767" y="216"/>
                  </a:lnTo>
                  <a:lnTo>
                    <a:pt x="17678" y="278"/>
                  </a:lnTo>
                  <a:lnTo>
                    <a:pt x="17593" y="343"/>
                  </a:lnTo>
                  <a:lnTo>
                    <a:pt x="17511" y="410"/>
                  </a:lnTo>
                  <a:lnTo>
                    <a:pt x="17432" y="478"/>
                  </a:lnTo>
                  <a:lnTo>
                    <a:pt x="17355" y="549"/>
                  </a:lnTo>
                  <a:lnTo>
                    <a:pt x="17281" y="621"/>
                  </a:lnTo>
                  <a:lnTo>
                    <a:pt x="17208" y="693"/>
                  </a:lnTo>
                  <a:lnTo>
                    <a:pt x="17136" y="765"/>
                  </a:lnTo>
                  <a:lnTo>
                    <a:pt x="16995" y="910"/>
                  </a:lnTo>
                  <a:lnTo>
                    <a:pt x="16858" y="1051"/>
                  </a:lnTo>
                  <a:lnTo>
                    <a:pt x="16788" y="1119"/>
                  </a:lnTo>
                  <a:lnTo>
                    <a:pt x="16717" y="1186"/>
                  </a:lnTo>
                  <a:lnTo>
                    <a:pt x="16646" y="1250"/>
                  </a:lnTo>
                  <a:lnTo>
                    <a:pt x="16573" y="1311"/>
                  </a:lnTo>
                  <a:lnTo>
                    <a:pt x="16499" y="1369"/>
                  </a:lnTo>
                  <a:lnTo>
                    <a:pt x="16422" y="1423"/>
                  </a:lnTo>
                  <a:lnTo>
                    <a:pt x="16343" y="1474"/>
                  </a:lnTo>
                  <a:lnTo>
                    <a:pt x="16262" y="1520"/>
                  </a:lnTo>
                  <a:lnTo>
                    <a:pt x="16177" y="1561"/>
                  </a:lnTo>
                  <a:lnTo>
                    <a:pt x="16089" y="1597"/>
                  </a:lnTo>
                  <a:lnTo>
                    <a:pt x="15997" y="1628"/>
                  </a:lnTo>
                  <a:lnTo>
                    <a:pt x="15901" y="1653"/>
                  </a:lnTo>
                  <a:lnTo>
                    <a:pt x="15801" y="1672"/>
                  </a:lnTo>
                  <a:lnTo>
                    <a:pt x="15696" y="1683"/>
                  </a:lnTo>
                  <a:lnTo>
                    <a:pt x="15585" y="1689"/>
                  </a:lnTo>
                  <a:lnTo>
                    <a:pt x="15470" y="1687"/>
                  </a:lnTo>
                  <a:lnTo>
                    <a:pt x="0" y="168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BF0FC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6653" tIns="58327" rIns="116653" bIns="58327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434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137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194" name="Rectangle 16"/>
          <p:cNvSpPr>
            <a:spLocks noChangeArrowheads="1"/>
          </p:cNvSpPr>
          <p:nvPr/>
        </p:nvSpPr>
        <p:spPr bwMode="auto">
          <a:xfrm>
            <a:off x="6637470" y="2463395"/>
            <a:ext cx="3372981" cy="2770506"/>
          </a:xfrm>
          <a:prstGeom prst="rect">
            <a:avLst/>
          </a:prstGeom>
          <a:solidFill>
            <a:srgbClr val="B7CBD8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16653" tIns="58327" rIns="116653" bIns="58327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434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13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40" name="Group 4"/>
          <p:cNvGrpSpPr>
            <a:grpSpLocks noChangeAspect="1"/>
          </p:cNvGrpSpPr>
          <p:nvPr/>
        </p:nvGrpSpPr>
        <p:grpSpPr bwMode="auto">
          <a:xfrm>
            <a:off x="1368627" y="63355"/>
            <a:ext cx="9536774" cy="6798675"/>
            <a:chOff x="27" y="0"/>
            <a:chExt cx="4709" cy="3357"/>
          </a:xfrm>
        </p:grpSpPr>
        <p:sp>
          <p:nvSpPr>
            <p:cNvPr id="46" name="Rectangle 15"/>
            <p:cNvSpPr>
              <a:spLocks noChangeArrowheads="1"/>
            </p:cNvSpPr>
            <p:nvPr/>
          </p:nvSpPr>
          <p:spPr bwMode="auto">
            <a:xfrm>
              <a:off x="1356" y="778"/>
              <a:ext cx="1226" cy="379"/>
            </a:xfrm>
            <a:prstGeom prst="rect">
              <a:avLst/>
            </a:prstGeom>
            <a:solidFill>
              <a:srgbClr val="7030A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16653" tIns="58327" rIns="116653" bIns="58327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434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137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86" name="Rectangle 15"/>
            <p:cNvSpPr>
              <a:spLocks noChangeArrowheads="1"/>
            </p:cNvSpPr>
            <p:nvPr/>
          </p:nvSpPr>
          <p:spPr bwMode="auto">
            <a:xfrm>
              <a:off x="2622" y="778"/>
              <a:ext cx="1678" cy="379"/>
            </a:xfrm>
            <a:prstGeom prst="rect">
              <a:avLst/>
            </a:prstGeom>
            <a:solidFill>
              <a:srgbClr val="E31E24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16653" tIns="58327" rIns="116653" bIns="58327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434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137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90" name="Rectangle 15"/>
            <p:cNvSpPr>
              <a:spLocks noChangeArrowheads="1"/>
            </p:cNvSpPr>
            <p:nvPr/>
          </p:nvSpPr>
          <p:spPr bwMode="auto">
            <a:xfrm>
              <a:off x="2621" y="782"/>
              <a:ext cx="1678" cy="379"/>
            </a:xfrm>
            <a:prstGeom prst="rect">
              <a:avLst/>
            </a:prstGeom>
            <a:solidFill>
              <a:srgbClr val="E31E24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16653" tIns="58327" rIns="116653" bIns="58327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434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137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1" name="AutoShape 3"/>
            <p:cNvSpPr>
              <a:spLocks noChangeAspect="1" noChangeArrowheads="1" noTextEdit="1"/>
            </p:cNvSpPr>
            <p:nvPr/>
          </p:nvSpPr>
          <p:spPr bwMode="auto">
            <a:xfrm>
              <a:off x="27" y="0"/>
              <a:ext cx="4709" cy="335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16653" tIns="58327" rIns="116653" bIns="58327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434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137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2" name="Rectangle 11"/>
            <p:cNvSpPr>
              <a:spLocks noChangeArrowheads="1"/>
            </p:cNvSpPr>
            <p:nvPr/>
          </p:nvSpPr>
          <p:spPr bwMode="auto">
            <a:xfrm>
              <a:off x="53" y="191"/>
              <a:ext cx="1020" cy="18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1166466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ru-RU" sz="2404" b="1" i="0" u="none" strike="noStrike" kern="1200" cap="none" spc="0" normalizeH="0" baseline="0" noProof="0" dirty="0">
                  <a:ln>
                    <a:noFill/>
                  </a:ln>
                  <a:solidFill>
                    <a:srgbClr val="14447A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rPr>
                <a:t>Is</a:t>
              </a:r>
              <a:r>
                <a:rPr kumimoji="0" lang="az-Latn-AZ" altLang="ru-RU" sz="2404" b="1" i="0" u="none" strike="noStrike" kern="1200" cap="none" spc="0" normalizeH="0" baseline="0" noProof="0" dirty="0">
                  <a:ln>
                    <a:noFill/>
                  </a:ln>
                  <a:solidFill>
                    <a:srgbClr val="14447A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rPr>
                <a:t>halın növləri</a:t>
              </a:r>
              <a:endParaRPr kumimoji="0" lang="ru-RU" altLang="ru-RU" sz="2404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sp>
          <p:nvSpPr>
            <p:cNvPr id="43" name="Rectangle 12"/>
            <p:cNvSpPr>
              <a:spLocks noChangeArrowheads="1"/>
            </p:cNvSpPr>
            <p:nvPr/>
          </p:nvSpPr>
          <p:spPr bwMode="auto">
            <a:xfrm>
              <a:off x="374" y="2986"/>
              <a:ext cx="1688" cy="13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1166466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altLang="ru-RU" sz="890" b="0" i="0" u="none" strike="noStrike" kern="1200" cap="none" spc="0" normalizeH="0" baseline="0" noProof="0" dirty="0">
                  <a:ln>
                    <a:noFill/>
                  </a:ln>
                  <a:solidFill>
                    <a:srgbClr val="14447A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rPr>
                <a:t>ААД- антибиотик-ассоциированная диарея</a:t>
              </a:r>
            </a:p>
            <a:p>
              <a:pPr marL="0" marR="0" lvl="0" indent="0" algn="l" defTabSz="1166466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altLang="ru-RU" sz="890" b="0" i="0" u="none" strike="noStrike" kern="1200" cap="none" spc="0" normalizeH="0" baseline="0" noProof="0" dirty="0">
                  <a:ln>
                    <a:noFill/>
                  </a:ln>
                  <a:solidFill>
                    <a:srgbClr val="14447A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rPr>
                <a:t>В.М. Семенов, Инфекционные болезни, 2014, с 11-31, 419-423. </a:t>
              </a:r>
              <a:endParaRPr kumimoji="0" lang="ru-RU" altLang="ru-RU" sz="89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sp>
          <p:nvSpPr>
            <p:cNvPr id="44" name="Rectangle 13"/>
            <p:cNvSpPr>
              <a:spLocks noChangeArrowheads="1"/>
            </p:cNvSpPr>
            <p:nvPr/>
          </p:nvSpPr>
          <p:spPr bwMode="auto">
            <a:xfrm>
              <a:off x="177" y="778"/>
              <a:ext cx="1139" cy="379"/>
            </a:xfrm>
            <a:prstGeom prst="rect">
              <a:avLst/>
            </a:prstGeom>
            <a:solidFill>
              <a:srgbClr val="EF7F1A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16653" tIns="58327" rIns="116653" bIns="58327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434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137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5" name="Rectangle 14"/>
            <p:cNvSpPr>
              <a:spLocks noChangeArrowheads="1"/>
            </p:cNvSpPr>
            <p:nvPr/>
          </p:nvSpPr>
          <p:spPr bwMode="auto">
            <a:xfrm>
              <a:off x="191" y="1180"/>
              <a:ext cx="1133" cy="1368"/>
            </a:xfrm>
            <a:prstGeom prst="rect">
              <a:avLst/>
            </a:prstGeom>
            <a:solidFill>
              <a:srgbClr val="B7CBD8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16653" tIns="58327" rIns="116653" bIns="58327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434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137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7" name="Rectangle 16"/>
            <p:cNvSpPr>
              <a:spLocks noChangeArrowheads="1"/>
            </p:cNvSpPr>
            <p:nvPr/>
          </p:nvSpPr>
          <p:spPr bwMode="auto">
            <a:xfrm>
              <a:off x="1362" y="1180"/>
              <a:ext cx="1222" cy="1368"/>
            </a:xfrm>
            <a:prstGeom prst="rect">
              <a:avLst/>
            </a:prstGeom>
            <a:solidFill>
              <a:srgbClr val="B7CBD8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16653" tIns="58327" rIns="116653" bIns="58327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434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137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8" name="Rectangle 17"/>
            <p:cNvSpPr>
              <a:spLocks noChangeArrowheads="1"/>
            </p:cNvSpPr>
            <p:nvPr/>
          </p:nvSpPr>
          <p:spPr bwMode="auto">
            <a:xfrm>
              <a:off x="330" y="883"/>
              <a:ext cx="820" cy="13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1166466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az-Latn-AZ" altLang="ru-RU" sz="1755" b="1" i="0" u="none" strike="noStrike" kern="1200" cap="none" spc="0" normalizeH="0" baseline="0" noProof="0" dirty="0">
                  <a:ln>
                    <a:noFill/>
                  </a:ln>
                  <a:solidFill>
                    <a:srgbClr val="FEFEFE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rPr>
                <a:t>Virus mənşəli</a:t>
              </a:r>
              <a:endParaRPr kumimoji="0" lang="ru-RU" altLang="ru-RU" sz="1755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sp>
          <p:nvSpPr>
            <p:cNvPr id="49" name="Rectangle 18"/>
            <p:cNvSpPr>
              <a:spLocks noChangeArrowheads="1"/>
            </p:cNvSpPr>
            <p:nvPr/>
          </p:nvSpPr>
          <p:spPr bwMode="auto">
            <a:xfrm>
              <a:off x="2663" y="831"/>
              <a:ext cx="982" cy="26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1166466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az-Latn-AZ" altLang="ru-RU" sz="1755" b="1" i="0" u="none" strike="noStrike" kern="1200" cap="none" spc="0" normalizeH="0" baseline="0" noProof="0" dirty="0">
                  <a:ln>
                    <a:noFill/>
                  </a:ln>
                  <a:solidFill>
                    <a:srgbClr val="FEFEFE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rPr>
                <a:t>Bakteriyal ishal</a:t>
              </a:r>
              <a:r>
                <a:rPr kumimoji="0" lang="ru-RU" altLang="ru-RU" sz="1755" b="1" i="0" u="none" strike="noStrike" kern="1200" cap="none" spc="0" normalizeH="0" baseline="0" noProof="0" dirty="0">
                  <a:ln>
                    <a:noFill/>
                  </a:ln>
                  <a:solidFill>
                    <a:srgbClr val="FEFEFE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rPr>
                <a:t>/ </a:t>
              </a:r>
            </a:p>
            <a:p>
              <a:pPr marL="0" marR="0" lvl="0" indent="0" algn="l" defTabSz="1166466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ru-RU" sz="1755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FEFEFE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rPr>
                <a:t>Qida</a:t>
              </a:r>
              <a:r>
                <a:rPr kumimoji="0" lang="en-US" altLang="ru-RU" sz="1755" b="1" i="0" u="none" strike="noStrike" kern="1200" cap="none" spc="0" normalizeH="0" baseline="0" noProof="0" dirty="0">
                  <a:ln>
                    <a:noFill/>
                  </a:ln>
                  <a:solidFill>
                    <a:srgbClr val="FEFEFE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rPr>
                <a:t> </a:t>
              </a:r>
              <a:r>
                <a:rPr kumimoji="0" lang="en-US" altLang="ru-RU" sz="1755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FEFEFE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rPr>
                <a:t>zəhərlənməsi</a:t>
              </a:r>
              <a:endParaRPr kumimoji="0" lang="ru-RU" altLang="ru-RU" sz="1755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sp>
          <p:nvSpPr>
            <p:cNvPr id="50" name="Rectangle 20"/>
            <p:cNvSpPr>
              <a:spLocks noChangeArrowheads="1"/>
            </p:cNvSpPr>
            <p:nvPr/>
          </p:nvSpPr>
          <p:spPr bwMode="auto">
            <a:xfrm>
              <a:off x="2295" y="950"/>
              <a:ext cx="0" cy="1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1166466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altLang="ru-RU" sz="2315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sp>
          <p:nvSpPr>
            <p:cNvPr id="51" name="Rectangle 21"/>
            <p:cNvSpPr>
              <a:spLocks noChangeArrowheads="1"/>
            </p:cNvSpPr>
            <p:nvPr/>
          </p:nvSpPr>
          <p:spPr bwMode="auto">
            <a:xfrm>
              <a:off x="370" y="1242"/>
              <a:ext cx="623" cy="16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1166466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altLang="ru-RU" sz="2137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14447A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rPr>
                <a:t>Rotavirus</a:t>
              </a:r>
              <a:endParaRPr kumimoji="0" lang="ru-RU" altLang="ru-RU" sz="2315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sp>
          <p:nvSpPr>
            <p:cNvPr id="52" name="Rectangle 22"/>
            <p:cNvSpPr>
              <a:spLocks noChangeArrowheads="1"/>
            </p:cNvSpPr>
            <p:nvPr/>
          </p:nvSpPr>
          <p:spPr bwMode="auto">
            <a:xfrm>
              <a:off x="370" y="1412"/>
              <a:ext cx="638" cy="16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1166466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altLang="ru-RU" sz="2137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14447A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rPr>
                <a:t>Norovirus</a:t>
              </a:r>
              <a:endParaRPr kumimoji="0" lang="ru-RU" altLang="ru-RU" sz="2315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sp>
          <p:nvSpPr>
            <p:cNvPr id="53" name="Rectangle 23"/>
            <p:cNvSpPr>
              <a:spLocks noChangeArrowheads="1"/>
            </p:cNvSpPr>
            <p:nvPr/>
          </p:nvSpPr>
          <p:spPr bwMode="auto">
            <a:xfrm>
              <a:off x="370" y="1582"/>
              <a:ext cx="676" cy="16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1166466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altLang="ru-RU" sz="2137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14447A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rPr>
                <a:t>Astrovirus</a:t>
              </a:r>
              <a:endParaRPr kumimoji="0" lang="ru-RU" altLang="ru-RU" sz="2315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sp>
          <p:nvSpPr>
            <p:cNvPr id="54" name="Rectangle 24"/>
            <p:cNvSpPr>
              <a:spLocks noChangeArrowheads="1"/>
            </p:cNvSpPr>
            <p:nvPr/>
          </p:nvSpPr>
          <p:spPr bwMode="auto">
            <a:xfrm>
              <a:off x="370" y="1752"/>
              <a:ext cx="742" cy="16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1166466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altLang="ru-RU" sz="2137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14447A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rPr>
                <a:t>Adenovirus</a:t>
              </a:r>
              <a:endParaRPr kumimoji="0" lang="ru-RU" altLang="ru-RU" sz="2315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sp>
          <p:nvSpPr>
            <p:cNvPr id="55" name="Rectangle 25"/>
            <p:cNvSpPr>
              <a:spLocks noChangeArrowheads="1"/>
            </p:cNvSpPr>
            <p:nvPr/>
          </p:nvSpPr>
          <p:spPr bwMode="auto">
            <a:xfrm>
              <a:off x="2716" y="1236"/>
              <a:ext cx="712" cy="16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1166466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altLang="ru-RU" sz="2137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14447A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rPr>
                <a:t>Salmonella</a:t>
              </a:r>
              <a:endParaRPr kumimoji="0" lang="ru-RU" altLang="ru-RU" sz="2315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sp>
          <p:nvSpPr>
            <p:cNvPr id="56" name="Rectangle 26"/>
            <p:cNvSpPr>
              <a:spLocks noChangeArrowheads="1"/>
            </p:cNvSpPr>
            <p:nvPr/>
          </p:nvSpPr>
          <p:spPr bwMode="auto">
            <a:xfrm>
              <a:off x="2716" y="1543"/>
              <a:ext cx="517" cy="16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1166466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altLang="ru-RU" sz="2137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14447A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rPr>
                <a:t>Shigella</a:t>
              </a:r>
              <a:endParaRPr kumimoji="0" lang="ru-RU" altLang="ru-RU" sz="2315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sp>
          <p:nvSpPr>
            <p:cNvPr id="57" name="Rectangle 27"/>
            <p:cNvSpPr>
              <a:spLocks noChangeArrowheads="1"/>
            </p:cNvSpPr>
            <p:nvPr/>
          </p:nvSpPr>
          <p:spPr bwMode="auto">
            <a:xfrm>
              <a:off x="2716" y="1731"/>
              <a:ext cx="758" cy="16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1166575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ru-RU" sz="2137" b="1" i="0" u="none" strike="noStrike" kern="1200" cap="none" spc="0" normalizeH="0" baseline="0" noProof="0" dirty="0">
                  <a:ln>
                    <a:noFill/>
                  </a:ln>
                  <a:solidFill>
                    <a:srgbClr val="14447A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rPr>
                <a:t>Escherichia</a:t>
              </a:r>
              <a:endParaRPr kumimoji="0" lang="ru-RU" altLang="ru-RU" sz="2137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sp>
          <p:nvSpPr>
            <p:cNvPr id="58" name="Rectangle 28"/>
            <p:cNvSpPr>
              <a:spLocks noChangeArrowheads="1"/>
            </p:cNvSpPr>
            <p:nvPr/>
          </p:nvSpPr>
          <p:spPr bwMode="auto">
            <a:xfrm>
              <a:off x="2717" y="1916"/>
              <a:ext cx="750" cy="16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1166466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altLang="ru-RU" sz="2137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14447A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rPr>
                <a:t>Сlostridium</a:t>
              </a:r>
              <a:endParaRPr kumimoji="0" lang="ru-RU" altLang="ru-RU" sz="2315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sp>
          <p:nvSpPr>
            <p:cNvPr id="60" name="Rectangle 30"/>
            <p:cNvSpPr>
              <a:spLocks noChangeArrowheads="1"/>
            </p:cNvSpPr>
            <p:nvPr/>
          </p:nvSpPr>
          <p:spPr bwMode="auto">
            <a:xfrm>
              <a:off x="2722" y="2098"/>
              <a:ext cx="1035" cy="16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1166466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altLang="ru-RU" sz="2137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14447A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rPr>
                <a:t>Staphylococcus</a:t>
              </a:r>
              <a:endParaRPr kumimoji="0" lang="ru-RU" altLang="ru-RU" sz="2315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sp>
          <p:nvSpPr>
            <p:cNvPr id="61" name="Rectangle 31"/>
            <p:cNvSpPr>
              <a:spLocks noChangeArrowheads="1"/>
            </p:cNvSpPr>
            <p:nvPr/>
          </p:nvSpPr>
          <p:spPr bwMode="auto">
            <a:xfrm>
              <a:off x="2734" y="2285"/>
              <a:ext cx="939" cy="16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1166466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altLang="ru-RU" sz="2137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14447A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rPr>
                <a:t>Streptococcus</a:t>
              </a:r>
              <a:endParaRPr kumimoji="0" lang="ru-RU" altLang="ru-RU" sz="2315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sp>
          <p:nvSpPr>
            <p:cNvPr id="71" name="Freeform 41"/>
            <p:cNvSpPr>
              <a:spLocks/>
            </p:cNvSpPr>
            <p:nvPr/>
          </p:nvSpPr>
          <p:spPr bwMode="auto">
            <a:xfrm>
              <a:off x="722" y="2242"/>
              <a:ext cx="18" cy="19"/>
            </a:xfrm>
            <a:custGeom>
              <a:avLst/>
              <a:gdLst>
                <a:gd name="T0" fmla="*/ 38 w 76"/>
                <a:gd name="T1" fmla="*/ 76 h 76"/>
                <a:gd name="T2" fmla="*/ 30 w 76"/>
                <a:gd name="T3" fmla="*/ 75 h 76"/>
                <a:gd name="T4" fmla="*/ 23 w 76"/>
                <a:gd name="T5" fmla="*/ 73 h 76"/>
                <a:gd name="T6" fmla="*/ 17 w 76"/>
                <a:gd name="T7" fmla="*/ 69 h 76"/>
                <a:gd name="T8" fmla="*/ 11 w 76"/>
                <a:gd name="T9" fmla="*/ 64 h 76"/>
                <a:gd name="T10" fmla="*/ 6 w 76"/>
                <a:gd name="T11" fmla="*/ 58 h 76"/>
                <a:gd name="T12" fmla="*/ 3 w 76"/>
                <a:gd name="T13" fmla="*/ 52 h 76"/>
                <a:gd name="T14" fmla="*/ 0 w 76"/>
                <a:gd name="T15" fmla="*/ 45 h 76"/>
                <a:gd name="T16" fmla="*/ 0 w 76"/>
                <a:gd name="T17" fmla="*/ 37 h 76"/>
                <a:gd name="T18" fmla="*/ 0 w 76"/>
                <a:gd name="T19" fmla="*/ 30 h 76"/>
                <a:gd name="T20" fmla="*/ 3 w 76"/>
                <a:gd name="T21" fmla="*/ 22 h 76"/>
                <a:gd name="T22" fmla="*/ 6 w 76"/>
                <a:gd name="T23" fmla="*/ 16 h 76"/>
                <a:gd name="T24" fmla="*/ 11 w 76"/>
                <a:gd name="T25" fmla="*/ 10 h 76"/>
                <a:gd name="T26" fmla="*/ 17 w 76"/>
                <a:gd name="T27" fmla="*/ 5 h 76"/>
                <a:gd name="T28" fmla="*/ 23 w 76"/>
                <a:gd name="T29" fmla="*/ 2 h 76"/>
                <a:gd name="T30" fmla="*/ 30 w 76"/>
                <a:gd name="T31" fmla="*/ 0 h 76"/>
                <a:gd name="T32" fmla="*/ 38 w 76"/>
                <a:gd name="T33" fmla="*/ 0 h 76"/>
                <a:gd name="T34" fmla="*/ 45 w 76"/>
                <a:gd name="T35" fmla="*/ 0 h 76"/>
                <a:gd name="T36" fmla="*/ 52 w 76"/>
                <a:gd name="T37" fmla="*/ 2 h 76"/>
                <a:gd name="T38" fmla="*/ 59 w 76"/>
                <a:gd name="T39" fmla="*/ 5 h 76"/>
                <a:gd name="T40" fmla="*/ 65 w 76"/>
                <a:gd name="T41" fmla="*/ 10 h 76"/>
                <a:gd name="T42" fmla="*/ 69 w 76"/>
                <a:gd name="T43" fmla="*/ 16 h 76"/>
                <a:gd name="T44" fmla="*/ 72 w 76"/>
                <a:gd name="T45" fmla="*/ 22 h 76"/>
                <a:gd name="T46" fmla="*/ 74 w 76"/>
                <a:gd name="T47" fmla="*/ 29 h 76"/>
                <a:gd name="T48" fmla="*/ 76 w 76"/>
                <a:gd name="T49" fmla="*/ 37 h 76"/>
                <a:gd name="T50" fmla="*/ 74 w 76"/>
                <a:gd name="T51" fmla="*/ 44 h 76"/>
                <a:gd name="T52" fmla="*/ 73 w 76"/>
                <a:gd name="T53" fmla="*/ 52 h 76"/>
                <a:gd name="T54" fmla="*/ 70 w 76"/>
                <a:gd name="T55" fmla="*/ 58 h 76"/>
                <a:gd name="T56" fmla="*/ 65 w 76"/>
                <a:gd name="T57" fmla="*/ 64 h 76"/>
                <a:gd name="T58" fmla="*/ 59 w 76"/>
                <a:gd name="T59" fmla="*/ 69 h 76"/>
                <a:gd name="T60" fmla="*/ 52 w 76"/>
                <a:gd name="T61" fmla="*/ 73 h 76"/>
                <a:gd name="T62" fmla="*/ 45 w 76"/>
                <a:gd name="T63" fmla="*/ 75 h 76"/>
                <a:gd name="T64" fmla="*/ 38 w 76"/>
                <a:gd name="T65" fmla="*/ 76 h 76"/>
                <a:gd name="T66" fmla="*/ 38 w 76"/>
                <a:gd name="T67" fmla="*/ 76 h 76"/>
                <a:gd name="T68" fmla="*/ 38 w 76"/>
                <a:gd name="T69" fmla="*/ 76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76" h="76">
                  <a:moveTo>
                    <a:pt x="38" y="76"/>
                  </a:moveTo>
                  <a:lnTo>
                    <a:pt x="30" y="75"/>
                  </a:lnTo>
                  <a:lnTo>
                    <a:pt x="23" y="73"/>
                  </a:lnTo>
                  <a:lnTo>
                    <a:pt x="17" y="69"/>
                  </a:lnTo>
                  <a:lnTo>
                    <a:pt x="11" y="64"/>
                  </a:lnTo>
                  <a:lnTo>
                    <a:pt x="6" y="58"/>
                  </a:lnTo>
                  <a:lnTo>
                    <a:pt x="3" y="52"/>
                  </a:lnTo>
                  <a:lnTo>
                    <a:pt x="0" y="45"/>
                  </a:lnTo>
                  <a:lnTo>
                    <a:pt x="0" y="37"/>
                  </a:lnTo>
                  <a:lnTo>
                    <a:pt x="0" y="30"/>
                  </a:lnTo>
                  <a:lnTo>
                    <a:pt x="3" y="22"/>
                  </a:lnTo>
                  <a:lnTo>
                    <a:pt x="6" y="16"/>
                  </a:lnTo>
                  <a:lnTo>
                    <a:pt x="11" y="10"/>
                  </a:lnTo>
                  <a:lnTo>
                    <a:pt x="17" y="5"/>
                  </a:lnTo>
                  <a:lnTo>
                    <a:pt x="23" y="2"/>
                  </a:lnTo>
                  <a:lnTo>
                    <a:pt x="30" y="0"/>
                  </a:lnTo>
                  <a:lnTo>
                    <a:pt x="38" y="0"/>
                  </a:lnTo>
                  <a:lnTo>
                    <a:pt x="45" y="0"/>
                  </a:lnTo>
                  <a:lnTo>
                    <a:pt x="52" y="2"/>
                  </a:lnTo>
                  <a:lnTo>
                    <a:pt x="59" y="5"/>
                  </a:lnTo>
                  <a:lnTo>
                    <a:pt x="65" y="10"/>
                  </a:lnTo>
                  <a:lnTo>
                    <a:pt x="69" y="16"/>
                  </a:lnTo>
                  <a:lnTo>
                    <a:pt x="72" y="22"/>
                  </a:lnTo>
                  <a:lnTo>
                    <a:pt x="74" y="29"/>
                  </a:lnTo>
                  <a:lnTo>
                    <a:pt x="76" y="37"/>
                  </a:lnTo>
                  <a:lnTo>
                    <a:pt x="74" y="44"/>
                  </a:lnTo>
                  <a:lnTo>
                    <a:pt x="73" y="52"/>
                  </a:lnTo>
                  <a:lnTo>
                    <a:pt x="70" y="58"/>
                  </a:lnTo>
                  <a:lnTo>
                    <a:pt x="65" y="64"/>
                  </a:lnTo>
                  <a:lnTo>
                    <a:pt x="59" y="69"/>
                  </a:lnTo>
                  <a:lnTo>
                    <a:pt x="52" y="73"/>
                  </a:lnTo>
                  <a:lnTo>
                    <a:pt x="45" y="75"/>
                  </a:lnTo>
                  <a:lnTo>
                    <a:pt x="38" y="76"/>
                  </a:lnTo>
                  <a:lnTo>
                    <a:pt x="38" y="76"/>
                  </a:lnTo>
                  <a:lnTo>
                    <a:pt x="38" y="76"/>
                  </a:lnTo>
                  <a:close/>
                </a:path>
              </a:pathLst>
            </a:custGeom>
            <a:solidFill>
              <a:srgbClr val="B4A69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6653" tIns="58327" rIns="116653" bIns="58327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434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137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3" name="Freeform 43"/>
            <p:cNvSpPr>
              <a:spLocks/>
            </p:cNvSpPr>
            <p:nvPr/>
          </p:nvSpPr>
          <p:spPr bwMode="auto">
            <a:xfrm>
              <a:off x="649" y="2316"/>
              <a:ext cx="18" cy="20"/>
            </a:xfrm>
            <a:custGeom>
              <a:avLst/>
              <a:gdLst>
                <a:gd name="T0" fmla="*/ 38 w 76"/>
                <a:gd name="T1" fmla="*/ 76 h 76"/>
                <a:gd name="T2" fmla="*/ 30 w 76"/>
                <a:gd name="T3" fmla="*/ 75 h 76"/>
                <a:gd name="T4" fmla="*/ 23 w 76"/>
                <a:gd name="T5" fmla="*/ 73 h 76"/>
                <a:gd name="T6" fmla="*/ 17 w 76"/>
                <a:gd name="T7" fmla="*/ 69 h 76"/>
                <a:gd name="T8" fmla="*/ 11 w 76"/>
                <a:gd name="T9" fmla="*/ 64 h 76"/>
                <a:gd name="T10" fmla="*/ 6 w 76"/>
                <a:gd name="T11" fmla="*/ 58 h 76"/>
                <a:gd name="T12" fmla="*/ 3 w 76"/>
                <a:gd name="T13" fmla="*/ 52 h 76"/>
                <a:gd name="T14" fmla="*/ 0 w 76"/>
                <a:gd name="T15" fmla="*/ 45 h 76"/>
                <a:gd name="T16" fmla="*/ 0 w 76"/>
                <a:gd name="T17" fmla="*/ 37 h 76"/>
                <a:gd name="T18" fmla="*/ 0 w 76"/>
                <a:gd name="T19" fmla="*/ 30 h 76"/>
                <a:gd name="T20" fmla="*/ 3 w 76"/>
                <a:gd name="T21" fmla="*/ 23 h 76"/>
                <a:gd name="T22" fmla="*/ 6 w 76"/>
                <a:gd name="T23" fmla="*/ 16 h 76"/>
                <a:gd name="T24" fmla="*/ 11 w 76"/>
                <a:gd name="T25" fmla="*/ 10 h 76"/>
                <a:gd name="T26" fmla="*/ 17 w 76"/>
                <a:gd name="T27" fmla="*/ 5 h 76"/>
                <a:gd name="T28" fmla="*/ 23 w 76"/>
                <a:gd name="T29" fmla="*/ 2 h 76"/>
                <a:gd name="T30" fmla="*/ 30 w 76"/>
                <a:gd name="T31" fmla="*/ 0 h 76"/>
                <a:gd name="T32" fmla="*/ 38 w 76"/>
                <a:gd name="T33" fmla="*/ 0 h 76"/>
                <a:gd name="T34" fmla="*/ 45 w 76"/>
                <a:gd name="T35" fmla="*/ 0 h 76"/>
                <a:gd name="T36" fmla="*/ 52 w 76"/>
                <a:gd name="T37" fmla="*/ 2 h 76"/>
                <a:gd name="T38" fmla="*/ 59 w 76"/>
                <a:gd name="T39" fmla="*/ 5 h 76"/>
                <a:gd name="T40" fmla="*/ 65 w 76"/>
                <a:gd name="T41" fmla="*/ 10 h 76"/>
                <a:gd name="T42" fmla="*/ 70 w 76"/>
                <a:gd name="T43" fmla="*/ 16 h 76"/>
                <a:gd name="T44" fmla="*/ 72 w 76"/>
                <a:gd name="T45" fmla="*/ 22 h 76"/>
                <a:gd name="T46" fmla="*/ 75 w 76"/>
                <a:gd name="T47" fmla="*/ 30 h 76"/>
                <a:gd name="T48" fmla="*/ 76 w 76"/>
                <a:gd name="T49" fmla="*/ 37 h 76"/>
                <a:gd name="T50" fmla="*/ 75 w 76"/>
                <a:gd name="T51" fmla="*/ 45 h 76"/>
                <a:gd name="T52" fmla="*/ 73 w 76"/>
                <a:gd name="T53" fmla="*/ 52 h 76"/>
                <a:gd name="T54" fmla="*/ 70 w 76"/>
                <a:gd name="T55" fmla="*/ 58 h 76"/>
                <a:gd name="T56" fmla="*/ 65 w 76"/>
                <a:gd name="T57" fmla="*/ 64 h 76"/>
                <a:gd name="T58" fmla="*/ 59 w 76"/>
                <a:gd name="T59" fmla="*/ 69 h 76"/>
                <a:gd name="T60" fmla="*/ 52 w 76"/>
                <a:gd name="T61" fmla="*/ 73 h 76"/>
                <a:gd name="T62" fmla="*/ 45 w 76"/>
                <a:gd name="T63" fmla="*/ 75 h 76"/>
                <a:gd name="T64" fmla="*/ 38 w 76"/>
                <a:gd name="T65" fmla="*/ 76 h 76"/>
                <a:gd name="T66" fmla="*/ 38 w 76"/>
                <a:gd name="T67" fmla="*/ 76 h 76"/>
                <a:gd name="T68" fmla="*/ 38 w 76"/>
                <a:gd name="T69" fmla="*/ 76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76" h="76">
                  <a:moveTo>
                    <a:pt x="38" y="76"/>
                  </a:moveTo>
                  <a:lnTo>
                    <a:pt x="30" y="75"/>
                  </a:lnTo>
                  <a:lnTo>
                    <a:pt x="23" y="73"/>
                  </a:lnTo>
                  <a:lnTo>
                    <a:pt x="17" y="69"/>
                  </a:lnTo>
                  <a:lnTo>
                    <a:pt x="11" y="64"/>
                  </a:lnTo>
                  <a:lnTo>
                    <a:pt x="6" y="58"/>
                  </a:lnTo>
                  <a:lnTo>
                    <a:pt x="3" y="52"/>
                  </a:lnTo>
                  <a:lnTo>
                    <a:pt x="0" y="45"/>
                  </a:lnTo>
                  <a:lnTo>
                    <a:pt x="0" y="37"/>
                  </a:lnTo>
                  <a:lnTo>
                    <a:pt x="0" y="30"/>
                  </a:lnTo>
                  <a:lnTo>
                    <a:pt x="3" y="23"/>
                  </a:lnTo>
                  <a:lnTo>
                    <a:pt x="6" y="16"/>
                  </a:lnTo>
                  <a:lnTo>
                    <a:pt x="11" y="10"/>
                  </a:lnTo>
                  <a:lnTo>
                    <a:pt x="17" y="5"/>
                  </a:lnTo>
                  <a:lnTo>
                    <a:pt x="23" y="2"/>
                  </a:lnTo>
                  <a:lnTo>
                    <a:pt x="30" y="0"/>
                  </a:lnTo>
                  <a:lnTo>
                    <a:pt x="38" y="0"/>
                  </a:lnTo>
                  <a:lnTo>
                    <a:pt x="45" y="0"/>
                  </a:lnTo>
                  <a:lnTo>
                    <a:pt x="52" y="2"/>
                  </a:lnTo>
                  <a:lnTo>
                    <a:pt x="59" y="5"/>
                  </a:lnTo>
                  <a:lnTo>
                    <a:pt x="65" y="10"/>
                  </a:lnTo>
                  <a:lnTo>
                    <a:pt x="70" y="16"/>
                  </a:lnTo>
                  <a:lnTo>
                    <a:pt x="72" y="22"/>
                  </a:lnTo>
                  <a:lnTo>
                    <a:pt x="75" y="30"/>
                  </a:lnTo>
                  <a:lnTo>
                    <a:pt x="76" y="37"/>
                  </a:lnTo>
                  <a:lnTo>
                    <a:pt x="75" y="45"/>
                  </a:lnTo>
                  <a:lnTo>
                    <a:pt x="73" y="52"/>
                  </a:lnTo>
                  <a:lnTo>
                    <a:pt x="70" y="58"/>
                  </a:lnTo>
                  <a:lnTo>
                    <a:pt x="65" y="64"/>
                  </a:lnTo>
                  <a:lnTo>
                    <a:pt x="59" y="69"/>
                  </a:lnTo>
                  <a:lnTo>
                    <a:pt x="52" y="73"/>
                  </a:lnTo>
                  <a:lnTo>
                    <a:pt x="45" y="75"/>
                  </a:lnTo>
                  <a:lnTo>
                    <a:pt x="38" y="76"/>
                  </a:lnTo>
                  <a:lnTo>
                    <a:pt x="38" y="76"/>
                  </a:lnTo>
                  <a:lnTo>
                    <a:pt x="38" y="76"/>
                  </a:lnTo>
                  <a:close/>
                </a:path>
              </a:pathLst>
            </a:custGeom>
            <a:solidFill>
              <a:srgbClr val="B4A69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6653" tIns="58327" rIns="116653" bIns="58327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434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137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4" name="Freeform 44"/>
            <p:cNvSpPr>
              <a:spLocks/>
            </p:cNvSpPr>
            <p:nvPr/>
          </p:nvSpPr>
          <p:spPr bwMode="auto">
            <a:xfrm>
              <a:off x="502" y="2145"/>
              <a:ext cx="658" cy="563"/>
            </a:xfrm>
            <a:custGeom>
              <a:avLst/>
              <a:gdLst>
                <a:gd name="T0" fmla="*/ 2502 w 2630"/>
                <a:gd name="T1" fmla="*/ 1245 h 2250"/>
                <a:gd name="T2" fmla="*/ 2532 w 2630"/>
                <a:gd name="T3" fmla="*/ 1149 h 2250"/>
                <a:gd name="T4" fmla="*/ 2380 w 2630"/>
                <a:gd name="T5" fmla="*/ 1153 h 2250"/>
                <a:gd name="T6" fmla="*/ 2484 w 2630"/>
                <a:gd name="T7" fmla="*/ 987 h 2250"/>
                <a:gd name="T8" fmla="*/ 2219 w 2630"/>
                <a:gd name="T9" fmla="*/ 979 h 2250"/>
                <a:gd name="T10" fmla="*/ 2293 w 2630"/>
                <a:gd name="T11" fmla="*/ 857 h 2250"/>
                <a:gd name="T12" fmla="*/ 2159 w 2630"/>
                <a:gd name="T13" fmla="*/ 933 h 2250"/>
                <a:gd name="T14" fmla="*/ 2160 w 2630"/>
                <a:gd name="T15" fmla="*/ 782 h 2250"/>
                <a:gd name="T16" fmla="*/ 2156 w 2630"/>
                <a:gd name="T17" fmla="*/ 681 h 2250"/>
                <a:gd name="T18" fmla="*/ 2047 w 2630"/>
                <a:gd name="T19" fmla="*/ 797 h 2250"/>
                <a:gd name="T20" fmla="*/ 1993 w 2630"/>
                <a:gd name="T21" fmla="*/ 700 h 2250"/>
                <a:gd name="T22" fmla="*/ 1864 w 2630"/>
                <a:gd name="T23" fmla="*/ 689 h 2250"/>
                <a:gd name="T24" fmla="*/ 1767 w 2630"/>
                <a:gd name="T25" fmla="*/ 520 h 2250"/>
                <a:gd name="T26" fmla="*/ 1552 w 2630"/>
                <a:gd name="T27" fmla="*/ 471 h 2250"/>
                <a:gd name="T28" fmla="*/ 1612 w 2630"/>
                <a:gd name="T29" fmla="*/ 362 h 2250"/>
                <a:gd name="T30" fmla="*/ 1395 w 2630"/>
                <a:gd name="T31" fmla="*/ 283 h 2250"/>
                <a:gd name="T32" fmla="*/ 1443 w 2630"/>
                <a:gd name="T33" fmla="*/ 195 h 2250"/>
                <a:gd name="T34" fmla="*/ 1282 w 2630"/>
                <a:gd name="T35" fmla="*/ 184 h 2250"/>
                <a:gd name="T36" fmla="*/ 1183 w 2630"/>
                <a:gd name="T37" fmla="*/ 52 h 2250"/>
                <a:gd name="T38" fmla="*/ 1027 w 2630"/>
                <a:gd name="T39" fmla="*/ 92 h 2250"/>
                <a:gd name="T40" fmla="*/ 933 w 2630"/>
                <a:gd name="T41" fmla="*/ 13 h 2250"/>
                <a:gd name="T42" fmla="*/ 807 w 2630"/>
                <a:gd name="T43" fmla="*/ 169 h 2250"/>
                <a:gd name="T44" fmla="*/ 716 w 2630"/>
                <a:gd name="T45" fmla="*/ 182 h 2250"/>
                <a:gd name="T46" fmla="*/ 594 w 2630"/>
                <a:gd name="T47" fmla="*/ 284 h 2250"/>
                <a:gd name="T48" fmla="*/ 607 w 2630"/>
                <a:gd name="T49" fmla="*/ 351 h 2250"/>
                <a:gd name="T50" fmla="*/ 428 w 2630"/>
                <a:gd name="T51" fmla="*/ 456 h 2250"/>
                <a:gd name="T52" fmla="*/ 426 w 2630"/>
                <a:gd name="T53" fmla="*/ 620 h 2250"/>
                <a:gd name="T54" fmla="*/ 308 w 2630"/>
                <a:gd name="T55" fmla="*/ 654 h 2250"/>
                <a:gd name="T56" fmla="*/ 244 w 2630"/>
                <a:gd name="T57" fmla="*/ 827 h 2250"/>
                <a:gd name="T58" fmla="*/ 210 w 2630"/>
                <a:gd name="T59" fmla="*/ 882 h 2250"/>
                <a:gd name="T60" fmla="*/ 138 w 2630"/>
                <a:gd name="T61" fmla="*/ 1022 h 2250"/>
                <a:gd name="T62" fmla="*/ 161 w 2630"/>
                <a:gd name="T63" fmla="*/ 1102 h 2250"/>
                <a:gd name="T64" fmla="*/ 45 w 2630"/>
                <a:gd name="T65" fmla="*/ 1240 h 2250"/>
                <a:gd name="T66" fmla="*/ 95 w 2630"/>
                <a:gd name="T67" fmla="*/ 1350 h 2250"/>
                <a:gd name="T68" fmla="*/ 0 w 2630"/>
                <a:gd name="T69" fmla="*/ 1477 h 2250"/>
                <a:gd name="T70" fmla="*/ 111 w 2630"/>
                <a:gd name="T71" fmla="*/ 1660 h 2250"/>
                <a:gd name="T72" fmla="*/ 121 w 2630"/>
                <a:gd name="T73" fmla="*/ 1820 h 2250"/>
                <a:gd name="T74" fmla="*/ 234 w 2630"/>
                <a:gd name="T75" fmla="*/ 1950 h 2250"/>
                <a:gd name="T76" fmla="*/ 299 w 2630"/>
                <a:gd name="T77" fmla="*/ 1971 h 2250"/>
                <a:gd name="T78" fmla="*/ 446 w 2630"/>
                <a:gd name="T79" fmla="*/ 2135 h 2250"/>
                <a:gd name="T80" fmla="*/ 508 w 2630"/>
                <a:gd name="T81" fmla="*/ 2154 h 2250"/>
                <a:gd name="T82" fmla="*/ 715 w 2630"/>
                <a:gd name="T83" fmla="*/ 2159 h 2250"/>
                <a:gd name="T84" fmla="*/ 778 w 2630"/>
                <a:gd name="T85" fmla="*/ 2245 h 2250"/>
                <a:gd name="T86" fmla="*/ 886 w 2630"/>
                <a:gd name="T87" fmla="*/ 2102 h 2250"/>
                <a:gd name="T88" fmla="*/ 1067 w 2630"/>
                <a:gd name="T89" fmla="*/ 2202 h 2250"/>
                <a:gd name="T90" fmla="*/ 1070 w 2630"/>
                <a:gd name="T91" fmla="*/ 2088 h 2250"/>
                <a:gd name="T92" fmla="*/ 1240 w 2630"/>
                <a:gd name="T93" fmla="*/ 2148 h 2250"/>
                <a:gd name="T94" fmla="*/ 1364 w 2630"/>
                <a:gd name="T95" fmla="*/ 2056 h 2250"/>
                <a:gd name="T96" fmla="*/ 1491 w 2630"/>
                <a:gd name="T97" fmla="*/ 2165 h 2250"/>
                <a:gd name="T98" fmla="*/ 1541 w 2630"/>
                <a:gd name="T99" fmla="*/ 2028 h 2250"/>
                <a:gd name="T100" fmla="*/ 1732 w 2630"/>
                <a:gd name="T101" fmla="*/ 2179 h 2250"/>
                <a:gd name="T102" fmla="*/ 1725 w 2630"/>
                <a:gd name="T103" fmla="*/ 2048 h 2250"/>
                <a:gd name="T104" fmla="*/ 1966 w 2630"/>
                <a:gd name="T105" fmla="*/ 2039 h 2250"/>
                <a:gd name="T106" fmla="*/ 1927 w 2630"/>
                <a:gd name="T107" fmla="*/ 1945 h 2250"/>
                <a:gd name="T108" fmla="*/ 2109 w 2630"/>
                <a:gd name="T109" fmla="*/ 1928 h 2250"/>
                <a:gd name="T110" fmla="*/ 2242 w 2630"/>
                <a:gd name="T111" fmla="*/ 1806 h 2250"/>
                <a:gd name="T112" fmla="*/ 2393 w 2630"/>
                <a:gd name="T113" fmla="*/ 1884 h 2250"/>
                <a:gd name="T114" fmla="*/ 2420 w 2630"/>
                <a:gd name="T115" fmla="*/ 1680 h 2250"/>
                <a:gd name="T116" fmla="*/ 2517 w 2630"/>
                <a:gd name="T117" fmla="*/ 1679 h 2250"/>
                <a:gd name="T118" fmla="*/ 2544 w 2630"/>
                <a:gd name="T119" fmla="*/ 1470 h 2250"/>
                <a:gd name="T120" fmla="*/ 2615 w 2630"/>
                <a:gd name="T121" fmla="*/ 1393 h 2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2630" h="2250">
                  <a:moveTo>
                    <a:pt x="2597" y="1392"/>
                  </a:moveTo>
                  <a:lnTo>
                    <a:pt x="2578" y="1397"/>
                  </a:lnTo>
                  <a:lnTo>
                    <a:pt x="2560" y="1401"/>
                  </a:lnTo>
                  <a:lnTo>
                    <a:pt x="2541" y="1406"/>
                  </a:lnTo>
                  <a:lnTo>
                    <a:pt x="2524" y="1411"/>
                  </a:lnTo>
                  <a:lnTo>
                    <a:pt x="2520" y="1393"/>
                  </a:lnTo>
                  <a:lnTo>
                    <a:pt x="2515" y="1374"/>
                  </a:lnTo>
                  <a:lnTo>
                    <a:pt x="2511" y="1355"/>
                  </a:lnTo>
                  <a:lnTo>
                    <a:pt x="2504" y="1338"/>
                  </a:lnTo>
                  <a:lnTo>
                    <a:pt x="2495" y="1319"/>
                  </a:lnTo>
                  <a:lnTo>
                    <a:pt x="2487" y="1300"/>
                  </a:lnTo>
                  <a:lnTo>
                    <a:pt x="2476" y="1282"/>
                  </a:lnTo>
                  <a:lnTo>
                    <a:pt x="2466" y="1264"/>
                  </a:lnTo>
                  <a:lnTo>
                    <a:pt x="2478" y="1258"/>
                  </a:lnTo>
                  <a:lnTo>
                    <a:pt x="2491" y="1252"/>
                  </a:lnTo>
                  <a:lnTo>
                    <a:pt x="2502" y="1245"/>
                  </a:lnTo>
                  <a:lnTo>
                    <a:pt x="2513" y="1237"/>
                  </a:lnTo>
                  <a:lnTo>
                    <a:pt x="2524" y="1228"/>
                  </a:lnTo>
                  <a:lnTo>
                    <a:pt x="2534" y="1220"/>
                  </a:lnTo>
                  <a:lnTo>
                    <a:pt x="2544" y="1209"/>
                  </a:lnTo>
                  <a:lnTo>
                    <a:pt x="2553" y="1199"/>
                  </a:lnTo>
                  <a:lnTo>
                    <a:pt x="2558" y="1193"/>
                  </a:lnTo>
                  <a:lnTo>
                    <a:pt x="2560" y="1187"/>
                  </a:lnTo>
                  <a:lnTo>
                    <a:pt x="2560" y="1181"/>
                  </a:lnTo>
                  <a:lnTo>
                    <a:pt x="2560" y="1176"/>
                  </a:lnTo>
                  <a:lnTo>
                    <a:pt x="2559" y="1171"/>
                  </a:lnTo>
                  <a:lnTo>
                    <a:pt x="2555" y="1166"/>
                  </a:lnTo>
                  <a:lnTo>
                    <a:pt x="2552" y="1161"/>
                  </a:lnTo>
                  <a:lnTo>
                    <a:pt x="2548" y="1156"/>
                  </a:lnTo>
                  <a:lnTo>
                    <a:pt x="2542" y="1154"/>
                  </a:lnTo>
                  <a:lnTo>
                    <a:pt x="2538" y="1152"/>
                  </a:lnTo>
                  <a:lnTo>
                    <a:pt x="2532" y="1149"/>
                  </a:lnTo>
                  <a:lnTo>
                    <a:pt x="2526" y="1149"/>
                  </a:lnTo>
                  <a:lnTo>
                    <a:pt x="2520" y="1151"/>
                  </a:lnTo>
                  <a:lnTo>
                    <a:pt x="2514" y="1152"/>
                  </a:lnTo>
                  <a:lnTo>
                    <a:pt x="2509" y="1155"/>
                  </a:lnTo>
                  <a:lnTo>
                    <a:pt x="2504" y="1161"/>
                  </a:lnTo>
                  <a:lnTo>
                    <a:pt x="2496" y="1169"/>
                  </a:lnTo>
                  <a:lnTo>
                    <a:pt x="2488" y="1178"/>
                  </a:lnTo>
                  <a:lnTo>
                    <a:pt x="2479" y="1185"/>
                  </a:lnTo>
                  <a:lnTo>
                    <a:pt x="2469" y="1192"/>
                  </a:lnTo>
                  <a:lnTo>
                    <a:pt x="2460" y="1198"/>
                  </a:lnTo>
                  <a:lnTo>
                    <a:pt x="2449" y="1202"/>
                  </a:lnTo>
                  <a:lnTo>
                    <a:pt x="2439" y="1207"/>
                  </a:lnTo>
                  <a:lnTo>
                    <a:pt x="2428" y="1211"/>
                  </a:lnTo>
                  <a:lnTo>
                    <a:pt x="2413" y="1192"/>
                  </a:lnTo>
                  <a:lnTo>
                    <a:pt x="2398" y="1173"/>
                  </a:lnTo>
                  <a:lnTo>
                    <a:pt x="2380" y="1153"/>
                  </a:lnTo>
                  <a:lnTo>
                    <a:pt x="2362" y="1134"/>
                  </a:lnTo>
                  <a:lnTo>
                    <a:pt x="2395" y="1111"/>
                  </a:lnTo>
                  <a:lnTo>
                    <a:pt x="2427" y="1087"/>
                  </a:lnTo>
                  <a:lnTo>
                    <a:pt x="2459" y="1062"/>
                  </a:lnTo>
                  <a:lnTo>
                    <a:pt x="2491" y="1039"/>
                  </a:lnTo>
                  <a:lnTo>
                    <a:pt x="2496" y="1035"/>
                  </a:lnTo>
                  <a:lnTo>
                    <a:pt x="2500" y="1029"/>
                  </a:lnTo>
                  <a:lnTo>
                    <a:pt x="2502" y="1025"/>
                  </a:lnTo>
                  <a:lnTo>
                    <a:pt x="2504" y="1019"/>
                  </a:lnTo>
                  <a:lnTo>
                    <a:pt x="2504" y="1013"/>
                  </a:lnTo>
                  <a:lnTo>
                    <a:pt x="2502" y="1008"/>
                  </a:lnTo>
                  <a:lnTo>
                    <a:pt x="2500" y="1002"/>
                  </a:lnTo>
                  <a:lnTo>
                    <a:pt x="2496" y="998"/>
                  </a:lnTo>
                  <a:lnTo>
                    <a:pt x="2493" y="993"/>
                  </a:lnTo>
                  <a:lnTo>
                    <a:pt x="2488" y="989"/>
                  </a:lnTo>
                  <a:lnTo>
                    <a:pt x="2484" y="987"/>
                  </a:lnTo>
                  <a:lnTo>
                    <a:pt x="2478" y="985"/>
                  </a:lnTo>
                  <a:lnTo>
                    <a:pt x="2472" y="983"/>
                  </a:lnTo>
                  <a:lnTo>
                    <a:pt x="2466" y="985"/>
                  </a:lnTo>
                  <a:lnTo>
                    <a:pt x="2459" y="986"/>
                  </a:lnTo>
                  <a:lnTo>
                    <a:pt x="2453" y="989"/>
                  </a:lnTo>
                  <a:lnTo>
                    <a:pt x="2419" y="1014"/>
                  </a:lnTo>
                  <a:lnTo>
                    <a:pt x="2386" y="1041"/>
                  </a:lnTo>
                  <a:lnTo>
                    <a:pt x="2369" y="1053"/>
                  </a:lnTo>
                  <a:lnTo>
                    <a:pt x="2353" y="1066"/>
                  </a:lnTo>
                  <a:lnTo>
                    <a:pt x="2335" y="1078"/>
                  </a:lnTo>
                  <a:lnTo>
                    <a:pt x="2318" y="1088"/>
                  </a:lnTo>
                  <a:lnTo>
                    <a:pt x="2290" y="1062"/>
                  </a:lnTo>
                  <a:lnTo>
                    <a:pt x="2262" y="1036"/>
                  </a:lnTo>
                  <a:lnTo>
                    <a:pt x="2233" y="1010"/>
                  </a:lnTo>
                  <a:lnTo>
                    <a:pt x="2202" y="985"/>
                  </a:lnTo>
                  <a:lnTo>
                    <a:pt x="2219" y="979"/>
                  </a:lnTo>
                  <a:lnTo>
                    <a:pt x="2234" y="972"/>
                  </a:lnTo>
                  <a:lnTo>
                    <a:pt x="2249" y="963"/>
                  </a:lnTo>
                  <a:lnTo>
                    <a:pt x="2265" y="953"/>
                  </a:lnTo>
                  <a:lnTo>
                    <a:pt x="2278" y="941"/>
                  </a:lnTo>
                  <a:lnTo>
                    <a:pt x="2290" y="928"/>
                  </a:lnTo>
                  <a:lnTo>
                    <a:pt x="2302" y="914"/>
                  </a:lnTo>
                  <a:lnTo>
                    <a:pt x="2312" y="897"/>
                  </a:lnTo>
                  <a:lnTo>
                    <a:pt x="2315" y="892"/>
                  </a:lnTo>
                  <a:lnTo>
                    <a:pt x="2316" y="885"/>
                  </a:lnTo>
                  <a:lnTo>
                    <a:pt x="2315" y="880"/>
                  </a:lnTo>
                  <a:lnTo>
                    <a:pt x="2314" y="874"/>
                  </a:lnTo>
                  <a:lnTo>
                    <a:pt x="2312" y="869"/>
                  </a:lnTo>
                  <a:lnTo>
                    <a:pt x="2308" y="866"/>
                  </a:lnTo>
                  <a:lnTo>
                    <a:pt x="2303" y="862"/>
                  </a:lnTo>
                  <a:lnTo>
                    <a:pt x="2298" y="859"/>
                  </a:lnTo>
                  <a:lnTo>
                    <a:pt x="2293" y="857"/>
                  </a:lnTo>
                  <a:lnTo>
                    <a:pt x="2287" y="856"/>
                  </a:lnTo>
                  <a:lnTo>
                    <a:pt x="2281" y="856"/>
                  </a:lnTo>
                  <a:lnTo>
                    <a:pt x="2275" y="857"/>
                  </a:lnTo>
                  <a:lnTo>
                    <a:pt x="2269" y="860"/>
                  </a:lnTo>
                  <a:lnTo>
                    <a:pt x="2263" y="862"/>
                  </a:lnTo>
                  <a:lnTo>
                    <a:pt x="2259" y="867"/>
                  </a:lnTo>
                  <a:lnTo>
                    <a:pt x="2255" y="873"/>
                  </a:lnTo>
                  <a:lnTo>
                    <a:pt x="2250" y="881"/>
                  </a:lnTo>
                  <a:lnTo>
                    <a:pt x="2246" y="887"/>
                  </a:lnTo>
                  <a:lnTo>
                    <a:pt x="2240" y="894"/>
                  </a:lnTo>
                  <a:lnTo>
                    <a:pt x="2234" y="900"/>
                  </a:lnTo>
                  <a:lnTo>
                    <a:pt x="2221" y="909"/>
                  </a:lnTo>
                  <a:lnTo>
                    <a:pt x="2207" y="917"/>
                  </a:lnTo>
                  <a:lnTo>
                    <a:pt x="2192" y="923"/>
                  </a:lnTo>
                  <a:lnTo>
                    <a:pt x="2175" y="929"/>
                  </a:lnTo>
                  <a:lnTo>
                    <a:pt x="2159" y="933"/>
                  </a:lnTo>
                  <a:lnTo>
                    <a:pt x="2142" y="935"/>
                  </a:lnTo>
                  <a:lnTo>
                    <a:pt x="2120" y="917"/>
                  </a:lnTo>
                  <a:lnTo>
                    <a:pt x="2096" y="900"/>
                  </a:lnTo>
                  <a:lnTo>
                    <a:pt x="2074" y="881"/>
                  </a:lnTo>
                  <a:lnTo>
                    <a:pt x="2050" y="863"/>
                  </a:lnTo>
                  <a:lnTo>
                    <a:pt x="2062" y="859"/>
                  </a:lnTo>
                  <a:lnTo>
                    <a:pt x="2073" y="853"/>
                  </a:lnTo>
                  <a:lnTo>
                    <a:pt x="2084" y="847"/>
                  </a:lnTo>
                  <a:lnTo>
                    <a:pt x="2095" y="841"/>
                  </a:lnTo>
                  <a:lnTo>
                    <a:pt x="2106" y="834"/>
                  </a:lnTo>
                  <a:lnTo>
                    <a:pt x="2116" y="827"/>
                  </a:lnTo>
                  <a:lnTo>
                    <a:pt x="2126" y="819"/>
                  </a:lnTo>
                  <a:lnTo>
                    <a:pt x="2135" y="810"/>
                  </a:lnTo>
                  <a:lnTo>
                    <a:pt x="2143" y="801"/>
                  </a:lnTo>
                  <a:lnTo>
                    <a:pt x="2152" y="792"/>
                  </a:lnTo>
                  <a:lnTo>
                    <a:pt x="2160" y="782"/>
                  </a:lnTo>
                  <a:lnTo>
                    <a:pt x="2167" y="772"/>
                  </a:lnTo>
                  <a:lnTo>
                    <a:pt x="2174" y="760"/>
                  </a:lnTo>
                  <a:lnTo>
                    <a:pt x="2180" y="749"/>
                  </a:lnTo>
                  <a:lnTo>
                    <a:pt x="2186" y="736"/>
                  </a:lnTo>
                  <a:lnTo>
                    <a:pt x="2192" y="724"/>
                  </a:lnTo>
                  <a:lnTo>
                    <a:pt x="2194" y="717"/>
                  </a:lnTo>
                  <a:lnTo>
                    <a:pt x="2194" y="710"/>
                  </a:lnTo>
                  <a:lnTo>
                    <a:pt x="2193" y="704"/>
                  </a:lnTo>
                  <a:lnTo>
                    <a:pt x="2190" y="699"/>
                  </a:lnTo>
                  <a:lnTo>
                    <a:pt x="2188" y="694"/>
                  </a:lnTo>
                  <a:lnTo>
                    <a:pt x="2183" y="690"/>
                  </a:lnTo>
                  <a:lnTo>
                    <a:pt x="2179" y="687"/>
                  </a:lnTo>
                  <a:lnTo>
                    <a:pt x="2174" y="683"/>
                  </a:lnTo>
                  <a:lnTo>
                    <a:pt x="2168" y="682"/>
                  </a:lnTo>
                  <a:lnTo>
                    <a:pt x="2162" y="681"/>
                  </a:lnTo>
                  <a:lnTo>
                    <a:pt x="2156" y="681"/>
                  </a:lnTo>
                  <a:lnTo>
                    <a:pt x="2152" y="682"/>
                  </a:lnTo>
                  <a:lnTo>
                    <a:pt x="2146" y="684"/>
                  </a:lnTo>
                  <a:lnTo>
                    <a:pt x="2141" y="688"/>
                  </a:lnTo>
                  <a:lnTo>
                    <a:pt x="2137" y="693"/>
                  </a:lnTo>
                  <a:lnTo>
                    <a:pt x="2134" y="700"/>
                  </a:lnTo>
                  <a:lnTo>
                    <a:pt x="2129" y="711"/>
                  </a:lnTo>
                  <a:lnTo>
                    <a:pt x="2123" y="723"/>
                  </a:lnTo>
                  <a:lnTo>
                    <a:pt x="2117" y="734"/>
                  </a:lnTo>
                  <a:lnTo>
                    <a:pt x="2110" y="744"/>
                  </a:lnTo>
                  <a:lnTo>
                    <a:pt x="2102" y="754"/>
                  </a:lnTo>
                  <a:lnTo>
                    <a:pt x="2094" y="762"/>
                  </a:lnTo>
                  <a:lnTo>
                    <a:pt x="2086" y="770"/>
                  </a:lnTo>
                  <a:lnTo>
                    <a:pt x="2076" y="779"/>
                  </a:lnTo>
                  <a:lnTo>
                    <a:pt x="2067" y="784"/>
                  </a:lnTo>
                  <a:lnTo>
                    <a:pt x="2057" y="792"/>
                  </a:lnTo>
                  <a:lnTo>
                    <a:pt x="2047" y="797"/>
                  </a:lnTo>
                  <a:lnTo>
                    <a:pt x="2036" y="802"/>
                  </a:lnTo>
                  <a:lnTo>
                    <a:pt x="2024" y="807"/>
                  </a:lnTo>
                  <a:lnTo>
                    <a:pt x="2013" y="810"/>
                  </a:lnTo>
                  <a:lnTo>
                    <a:pt x="2001" y="814"/>
                  </a:lnTo>
                  <a:lnTo>
                    <a:pt x="1989" y="816"/>
                  </a:lnTo>
                  <a:lnTo>
                    <a:pt x="1966" y="799"/>
                  </a:lnTo>
                  <a:lnTo>
                    <a:pt x="1942" y="781"/>
                  </a:lnTo>
                  <a:lnTo>
                    <a:pt x="1918" y="763"/>
                  </a:lnTo>
                  <a:lnTo>
                    <a:pt x="1895" y="744"/>
                  </a:lnTo>
                  <a:lnTo>
                    <a:pt x="1916" y="737"/>
                  </a:lnTo>
                  <a:lnTo>
                    <a:pt x="1936" y="729"/>
                  </a:lnTo>
                  <a:lnTo>
                    <a:pt x="1957" y="721"/>
                  </a:lnTo>
                  <a:lnTo>
                    <a:pt x="1977" y="713"/>
                  </a:lnTo>
                  <a:lnTo>
                    <a:pt x="1983" y="709"/>
                  </a:lnTo>
                  <a:lnTo>
                    <a:pt x="1989" y="704"/>
                  </a:lnTo>
                  <a:lnTo>
                    <a:pt x="1993" y="700"/>
                  </a:lnTo>
                  <a:lnTo>
                    <a:pt x="1995" y="694"/>
                  </a:lnTo>
                  <a:lnTo>
                    <a:pt x="1996" y="688"/>
                  </a:lnTo>
                  <a:lnTo>
                    <a:pt x="1996" y="682"/>
                  </a:lnTo>
                  <a:lnTo>
                    <a:pt x="1995" y="676"/>
                  </a:lnTo>
                  <a:lnTo>
                    <a:pt x="1994" y="671"/>
                  </a:lnTo>
                  <a:lnTo>
                    <a:pt x="1990" y="666"/>
                  </a:lnTo>
                  <a:lnTo>
                    <a:pt x="1987" y="661"/>
                  </a:lnTo>
                  <a:lnTo>
                    <a:pt x="1983" y="657"/>
                  </a:lnTo>
                  <a:lnTo>
                    <a:pt x="1979" y="654"/>
                  </a:lnTo>
                  <a:lnTo>
                    <a:pt x="1973" y="653"/>
                  </a:lnTo>
                  <a:lnTo>
                    <a:pt x="1967" y="651"/>
                  </a:lnTo>
                  <a:lnTo>
                    <a:pt x="1961" y="653"/>
                  </a:lnTo>
                  <a:lnTo>
                    <a:pt x="1954" y="655"/>
                  </a:lnTo>
                  <a:lnTo>
                    <a:pt x="1924" y="667"/>
                  </a:lnTo>
                  <a:lnTo>
                    <a:pt x="1894" y="679"/>
                  </a:lnTo>
                  <a:lnTo>
                    <a:pt x="1864" y="689"/>
                  </a:lnTo>
                  <a:lnTo>
                    <a:pt x="1833" y="697"/>
                  </a:lnTo>
                  <a:lnTo>
                    <a:pt x="1802" y="674"/>
                  </a:lnTo>
                  <a:lnTo>
                    <a:pt x="1771" y="650"/>
                  </a:lnTo>
                  <a:lnTo>
                    <a:pt x="1742" y="627"/>
                  </a:lnTo>
                  <a:lnTo>
                    <a:pt x="1711" y="603"/>
                  </a:lnTo>
                  <a:lnTo>
                    <a:pt x="1722" y="591"/>
                  </a:lnTo>
                  <a:lnTo>
                    <a:pt x="1734" y="580"/>
                  </a:lnTo>
                  <a:lnTo>
                    <a:pt x="1745" y="569"/>
                  </a:lnTo>
                  <a:lnTo>
                    <a:pt x="1757" y="557"/>
                  </a:lnTo>
                  <a:lnTo>
                    <a:pt x="1761" y="553"/>
                  </a:lnTo>
                  <a:lnTo>
                    <a:pt x="1764" y="548"/>
                  </a:lnTo>
                  <a:lnTo>
                    <a:pt x="1767" y="543"/>
                  </a:lnTo>
                  <a:lnTo>
                    <a:pt x="1769" y="537"/>
                  </a:lnTo>
                  <a:lnTo>
                    <a:pt x="1769" y="531"/>
                  </a:lnTo>
                  <a:lnTo>
                    <a:pt x="1768" y="525"/>
                  </a:lnTo>
                  <a:lnTo>
                    <a:pt x="1767" y="520"/>
                  </a:lnTo>
                  <a:lnTo>
                    <a:pt x="1763" y="514"/>
                  </a:lnTo>
                  <a:lnTo>
                    <a:pt x="1758" y="510"/>
                  </a:lnTo>
                  <a:lnTo>
                    <a:pt x="1754" y="507"/>
                  </a:lnTo>
                  <a:lnTo>
                    <a:pt x="1748" y="503"/>
                  </a:lnTo>
                  <a:lnTo>
                    <a:pt x="1742" y="502"/>
                  </a:lnTo>
                  <a:lnTo>
                    <a:pt x="1736" y="502"/>
                  </a:lnTo>
                  <a:lnTo>
                    <a:pt x="1730" y="502"/>
                  </a:lnTo>
                  <a:lnTo>
                    <a:pt x="1724" y="504"/>
                  </a:lnTo>
                  <a:lnTo>
                    <a:pt x="1720" y="508"/>
                  </a:lnTo>
                  <a:lnTo>
                    <a:pt x="1704" y="522"/>
                  </a:lnTo>
                  <a:lnTo>
                    <a:pt x="1690" y="535"/>
                  </a:lnTo>
                  <a:lnTo>
                    <a:pt x="1676" y="549"/>
                  </a:lnTo>
                  <a:lnTo>
                    <a:pt x="1663" y="564"/>
                  </a:lnTo>
                  <a:lnTo>
                    <a:pt x="1625" y="534"/>
                  </a:lnTo>
                  <a:lnTo>
                    <a:pt x="1589" y="502"/>
                  </a:lnTo>
                  <a:lnTo>
                    <a:pt x="1552" y="471"/>
                  </a:lnTo>
                  <a:lnTo>
                    <a:pt x="1518" y="440"/>
                  </a:lnTo>
                  <a:lnTo>
                    <a:pt x="1541" y="436"/>
                  </a:lnTo>
                  <a:lnTo>
                    <a:pt x="1563" y="431"/>
                  </a:lnTo>
                  <a:lnTo>
                    <a:pt x="1585" y="425"/>
                  </a:lnTo>
                  <a:lnTo>
                    <a:pt x="1606" y="417"/>
                  </a:lnTo>
                  <a:lnTo>
                    <a:pt x="1612" y="414"/>
                  </a:lnTo>
                  <a:lnTo>
                    <a:pt x="1617" y="409"/>
                  </a:lnTo>
                  <a:lnTo>
                    <a:pt x="1621" y="404"/>
                  </a:lnTo>
                  <a:lnTo>
                    <a:pt x="1623" y="400"/>
                  </a:lnTo>
                  <a:lnTo>
                    <a:pt x="1624" y="394"/>
                  </a:lnTo>
                  <a:lnTo>
                    <a:pt x="1625" y="388"/>
                  </a:lnTo>
                  <a:lnTo>
                    <a:pt x="1624" y="382"/>
                  </a:lnTo>
                  <a:lnTo>
                    <a:pt x="1622" y="376"/>
                  </a:lnTo>
                  <a:lnTo>
                    <a:pt x="1619" y="371"/>
                  </a:lnTo>
                  <a:lnTo>
                    <a:pt x="1616" y="367"/>
                  </a:lnTo>
                  <a:lnTo>
                    <a:pt x="1612" y="362"/>
                  </a:lnTo>
                  <a:lnTo>
                    <a:pt x="1608" y="360"/>
                  </a:lnTo>
                  <a:lnTo>
                    <a:pt x="1602" y="357"/>
                  </a:lnTo>
                  <a:lnTo>
                    <a:pt x="1596" y="356"/>
                  </a:lnTo>
                  <a:lnTo>
                    <a:pt x="1590" y="357"/>
                  </a:lnTo>
                  <a:lnTo>
                    <a:pt x="1583" y="360"/>
                  </a:lnTo>
                  <a:lnTo>
                    <a:pt x="1568" y="365"/>
                  </a:lnTo>
                  <a:lnTo>
                    <a:pt x="1554" y="370"/>
                  </a:lnTo>
                  <a:lnTo>
                    <a:pt x="1538" y="374"/>
                  </a:lnTo>
                  <a:lnTo>
                    <a:pt x="1522" y="376"/>
                  </a:lnTo>
                  <a:lnTo>
                    <a:pt x="1491" y="381"/>
                  </a:lnTo>
                  <a:lnTo>
                    <a:pt x="1459" y="384"/>
                  </a:lnTo>
                  <a:lnTo>
                    <a:pt x="1437" y="361"/>
                  </a:lnTo>
                  <a:lnTo>
                    <a:pt x="1415" y="337"/>
                  </a:lnTo>
                  <a:lnTo>
                    <a:pt x="1393" y="314"/>
                  </a:lnTo>
                  <a:lnTo>
                    <a:pt x="1373" y="290"/>
                  </a:lnTo>
                  <a:lnTo>
                    <a:pt x="1395" y="283"/>
                  </a:lnTo>
                  <a:lnTo>
                    <a:pt x="1415" y="274"/>
                  </a:lnTo>
                  <a:lnTo>
                    <a:pt x="1424" y="269"/>
                  </a:lnTo>
                  <a:lnTo>
                    <a:pt x="1433" y="263"/>
                  </a:lnTo>
                  <a:lnTo>
                    <a:pt x="1443" y="256"/>
                  </a:lnTo>
                  <a:lnTo>
                    <a:pt x="1452" y="249"/>
                  </a:lnTo>
                  <a:lnTo>
                    <a:pt x="1457" y="244"/>
                  </a:lnTo>
                  <a:lnTo>
                    <a:pt x="1461" y="239"/>
                  </a:lnTo>
                  <a:lnTo>
                    <a:pt x="1463" y="234"/>
                  </a:lnTo>
                  <a:lnTo>
                    <a:pt x="1464" y="228"/>
                  </a:lnTo>
                  <a:lnTo>
                    <a:pt x="1464" y="222"/>
                  </a:lnTo>
                  <a:lnTo>
                    <a:pt x="1462" y="216"/>
                  </a:lnTo>
                  <a:lnTo>
                    <a:pt x="1461" y="210"/>
                  </a:lnTo>
                  <a:lnTo>
                    <a:pt x="1457" y="205"/>
                  </a:lnTo>
                  <a:lnTo>
                    <a:pt x="1453" y="201"/>
                  </a:lnTo>
                  <a:lnTo>
                    <a:pt x="1449" y="197"/>
                  </a:lnTo>
                  <a:lnTo>
                    <a:pt x="1443" y="195"/>
                  </a:lnTo>
                  <a:lnTo>
                    <a:pt x="1438" y="194"/>
                  </a:lnTo>
                  <a:lnTo>
                    <a:pt x="1432" y="192"/>
                  </a:lnTo>
                  <a:lnTo>
                    <a:pt x="1426" y="194"/>
                  </a:lnTo>
                  <a:lnTo>
                    <a:pt x="1420" y="196"/>
                  </a:lnTo>
                  <a:lnTo>
                    <a:pt x="1415" y="199"/>
                  </a:lnTo>
                  <a:lnTo>
                    <a:pt x="1405" y="206"/>
                  </a:lnTo>
                  <a:lnTo>
                    <a:pt x="1396" y="214"/>
                  </a:lnTo>
                  <a:lnTo>
                    <a:pt x="1385" y="218"/>
                  </a:lnTo>
                  <a:lnTo>
                    <a:pt x="1375" y="223"/>
                  </a:lnTo>
                  <a:lnTo>
                    <a:pt x="1364" y="228"/>
                  </a:lnTo>
                  <a:lnTo>
                    <a:pt x="1352" y="231"/>
                  </a:lnTo>
                  <a:lnTo>
                    <a:pt x="1342" y="234"/>
                  </a:lnTo>
                  <a:lnTo>
                    <a:pt x="1330" y="236"/>
                  </a:lnTo>
                  <a:lnTo>
                    <a:pt x="1313" y="217"/>
                  </a:lnTo>
                  <a:lnTo>
                    <a:pt x="1298" y="201"/>
                  </a:lnTo>
                  <a:lnTo>
                    <a:pt x="1282" y="184"/>
                  </a:lnTo>
                  <a:lnTo>
                    <a:pt x="1264" y="169"/>
                  </a:lnTo>
                  <a:lnTo>
                    <a:pt x="1247" y="156"/>
                  </a:lnTo>
                  <a:lnTo>
                    <a:pt x="1231" y="144"/>
                  </a:lnTo>
                  <a:lnTo>
                    <a:pt x="1213" y="133"/>
                  </a:lnTo>
                  <a:lnTo>
                    <a:pt x="1197" y="124"/>
                  </a:lnTo>
                  <a:lnTo>
                    <a:pt x="1200" y="110"/>
                  </a:lnTo>
                  <a:lnTo>
                    <a:pt x="1204" y="96"/>
                  </a:lnTo>
                  <a:lnTo>
                    <a:pt x="1205" y="89"/>
                  </a:lnTo>
                  <a:lnTo>
                    <a:pt x="1206" y="83"/>
                  </a:lnTo>
                  <a:lnTo>
                    <a:pt x="1205" y="77"/>
                  </a:lnTo>
                  <a:lnTo>
                    <a:pt x="1204" y="71"/>
                  </a:lnTo>
                  <a:lnTo>
                    <a:pt x="1202" y="66"/>
                  </a:lnTo>
                  <a:lnTo>
                    <a:pt x="1198" y="62"/>
                  </a:lnTo>
                  <a:lnTo>
                    <a:pt x="1193" y="58"/>
                  </a:lnTo>
                  <a:lnTo>
                    <a:pt x="1187" y="55"/>
                  </a:lnTo>
                  <a:lnTo>
                    <a:pt x="1183" y="52"/>
                  </a:lnTo>
                  <a:lnTo>
                    <a:pt x="1176" y="52"/>
                  </a:lnTo>
                  <a:lnTo>
                    <a:pt x="1170" y="52"/>
                  </a:lnTo>
                  <a:lnTo>
                    <a:pt x="1164" y="55"/>
                  </a:lnTo>
                  <a:lnTo>
                    <a:pt x="1158" y="57"/>
                  </a:lnTo>
                  <a:lnTo>
                    <a:pt x="1153" y="61"/>
                  </a:lnTo>
                  <a:lnTo>
                    <a:pt x="1150" y="65"/>
                  </a:lnTo>
                  <a:lnTo>
                    <a:pt x="1146" y="71"/>
                  </a:lnTo>
                  <a:lnTo>
                    <a:pt x="1143" y="86"/>
                  </a:lnTo>
                  <a:lnTo>
                    <a:pt x="1138" y="101"/>
                  </a:lnTo>
                  <a:lnTo>
                    <a:pt x="1123" y="97"/>
                  </a:lnTo>
                  <a:lnTo>
                    <a:pt x="1107" y="95"/>
                  </a:lnTo>
                  <a:lnTo>
                    <a:pt x="1091" y="92"/>
                  </a:lnTo>
                  <a:lnTo>
                    <a:pt x="1076" y="91"/>
                  </a:lnTo>
                  <a:lnTo>
                    <a:pt x="1059" y="90"/>
                  </a:lnTo>
                  <a:lnTo>
                    <a:pt x="1043" y="91"/>
                  </a:lnTo>
                  <a:lnTo>
                    <a:pt x="1027" y="92"/>
                  </a:lnTo>
                  <a:lnTo>
                    <a:pt x="1011" y="95"/>
                  </a:lnTo>
                  <a:lnTo>
                    <a:pt x="1005" y="76"/>
                  </a:lnTo>
                  <a:lnTo>
                    <a:pt x="999" y="57"/>
                  </a:lnTo>
                  <a:lnTo>
                    <a:pt x="993" y="38"/>
                  </a:lnTo>
                  <a:lnTo>
                    <a:pt x="988" y="19"/>
                  </a:lnTo>
                  <a:lnTo>
                    <a:pt x="986" y="13"/>
                  </a:lnTo>
                  <a:lnTo>
                    <a:pt x="983" y="9"/>
                  </a:lnTo>
                  <a:lnTo>
                    <a:pt x="978" y="5"/>
                  </a:lnTo>
                  <a:lnTo>
                    <a:pt x="972" y="2"/>
                  </a:lnTo>
                  <a:lnTo>
                    <a:pt x="966" y="0"/>
                  </a:lnTo>
                  <a:lnTo>
                    <a:pt x="959" y="0"/>
                  </a:lnTo>
                  <a:lnTo>
                    <a:pt x="953" y="0"/>
                  </a:lnTo>
                  <a:lnTo>
                    <a:pt x="947" y="2"/>
                  </a:lnTo>
                  <a:lnTo>
                    <a:pt x="941" y="5"/>
                  </a:lnTo>
                  <a:lnTo>
                    <a:pt x="937" y="9"/>
                  </a:lnTo>
                  <a:lnTo>
                    <a:pt x="933" y="13"/>
                  </a:lnTo>
                  <a:lnTo>
                    <a:pt x="931" y="19"/>
                  </a:lnTo>
                  <a:lnTo>
                    <a:pt x="930" y="24"/>
                  </a:lnTo>
                  <a:lnTo>
                    <a:pt x="930" y="31"/>
                  </a:lnTo>
                  <a:lnTo>
                    <a:pt x="930" y="37"/>
                  </a:lnTo>
                  <a:lnTo>
                    <a:pt x="931" y="43"/>
                  </a:lnTo>
                  <a:lnTo>
                    <a:pt x="935" y="59"/>
                  </a:lnTo>
                  <a:lnTo>
                    <a:pt x="940" y="76"/>
                  </a:lnTo>
                  <a:lnTo>
                    <a:pt x="945" y="93"/>
                  </a:lnTo>
                  <a:lnTo>
                    <a:pt x="951" y="110"/>
                  </a:lnTo>
                  <a:lnTo>
                    <a:pt x="934" y="115"/>
                  </a:lnTo>
                  <a:lnTo>
                    <a:pt x="918" y="122"/>
                  </a:lnTo>
                  <a:lnTo>
                    <a:pt x="902" y="129"/>
                  </a:lnTo>
                  <a:lnTo>
                    <a:pt x="886" y="137"/>
                  </a:lnTo>
                  <a:lnTo>
                    <a:pt x="853" y="155"/>
                  </a:lnTo>
                  <a:lnTo>
                    <a:pt x="821" y="175"/>
                  </a:lnTo>
                  <a:lnTo>
                    <a:pt x="807" y="169"/>
                  </a:lnTo>
                  <a:lnTo>
                    <a:pt x="793" y="162"/>
                  </a:lnTo>
                  <a:lnTo>
                    <a:pt x="779" y="155"/>
                  </a:lnTo>
                  <a:lnTo>
                    <a:pt x="766" y="148"/>
                  </a:lnTo>
                  <a:lnTo>
                    <a:pt x="760" y="144"/>
                  </a:lnTo>
                  <a:lnTo>
                    <a:pt x="754" y="143"/>
                  </a:lnTo>
                  <a:lnTo>
                    <a:pt x="748" y="142"/>
                  </a:lnTo>
                  <a:lnTo>
                    <a:pt x="742" y="142"/>
                  </a:lnTo>
                  <a:lnTo>
                    <a:pt x="737" y="143"/>
                  </a:lnTo>
                  <a:lnTo>
                    <a:pt x="732" y="144"/>
                  </a:lnTo>
                  <a:lnTo>
                    <a:pt x="726" y="148"/>
                  </a:lnTo>
                  <a:lnTo>
                    <a:pt x="722" y="152"/>
                  </a:lnTo>
                  <a:lnTo>
                    <a:pt x="719" y="158"/>
                  </a:lnTo>
                  <a:lnTo>
                    <a:pt x="716" y="164"/>
                  </a:lnTo>
                  <a:lnTo>
                    <a:pt x="715" y="170"/>
                  </a:lnTo>
                  <a:lnTo>
                    <a:pt x="715" y="176"/>
                  </a:lnTo>
                  <a:lnTo>
                    <a:pt x="716" y="182"/>
                  </a:lnTo>
                  <a:lnTo>
                    <a:pt x="719" y="188"/>
                  </a:lnTo>
                  <a:lnTo>
                    <a:pt x="722" y="192"/>
                  </a:lnTo>
                  <a:lnTo>
                    <a:pt x="727" y="197"/>
                  </a:lnTo>
                  <a:lnTo>
                    <a:pt x="737" y="202"/>
                  </a:lnTo>
                  <a:lnTo>
                    <a:pt x="746" y="208"/>
                  </a:lnTo>
                  <a:lnTo>
                    <a:pt x="755" y="212"/>
                  </a:lnTo>
                  <a:lnTo>
                    <a:pt x="764" y="217"/>
                  </a:lnTo>
                  <a:lnTo>
                    <a:pt x="739" y="237"/>
                  </a:lnTo>
                  <a:lnTo>
                    <a:pt x="714" y="259"/>
                  </a:lnTo>
                  <a:lnTo>
                    <a:pt x="691" y="283"/>
                  </a:lnTo>
                  <a:lnTo>
                    <a:pt x="666" y="308"/>
                  </a:lnTo>
                  <a:lnTo>
                    <a:pt x="651" y="301"/>
                  </a:lnTo>
                  <a:lnTo>
                    <a:pt x="634" y="295"/>
                  </a:lnTo>
                  <a:lnTo>
                    <a:pt x="618" y="289"/>
                  </a:lnTo>
                  <a:lnTo>
                    <a:pt x="601" y="285"/>
                  </a:lnTo>
                  <a:lnTo>
                    <a:pt x="594" y="284"/>
                  </a:lnTo>
                  <a:lnTo>
                    <a:pt x="588" y="285"/>
                  </a:lnTo>
                  <a:lnTo>
                    <a:pt x="582" y="287"/>
                  </a:lnTo>
                  <a:lnTo>
                    <a:pt x="578" y="290"/>
                  </a:lnTo>
                  <a:lnTo>
                    <a:pt x="574" y="294"/>
                  </a:lnTo>
                  <a:lnTo>
                    <a:pt x="571" y="298"/>
                  </a:lnTo>
                  <a:lnTo>
                    <a:pt x="568" y="304"/>
                  </a:lnTo>
                  <a:lnTo>
                    <a:pt x="567" y="310"/>
                  </a:lnTo>
                  <a:lnTo>
                    <a:pt x="567" y="316"/>
                  </a:lnTo>
                  <a:lnTo>
                    <a:pt x="567" y="322"/>
                  </a:lnTo>
                  <a:lnTo>
                    <a:pt x="568" y="327"/>
                  </a:lnTo>
                  <a:lnTo>
                    <a:pt x="572" y="332"/>
                  </a:lnTo>
                  <a:lnTo>
                    <a:pt x="575" y="337"/>
                  </a:lnTo>
                  <a:lnTo>
                    <a:pt x="580" y="342"/>
                  </a:lnTo>
                  <a:lnTo>
                    <a:pt x="585" y="344"/>
                  </a:lnTo>
                  <a:lnTo>
                    <a:pt x="592" y="347"/>
                  </a:lnTo>
                  <a:lnTo>
                    <a:pt x="607" y="351"/>
                  </a:lnTo>
                  <a:lnTo>
                    <a:pt x="621" y="356"/>
                  </a:lnTo>
                  <a:lnTo>
                    <a:pt x="599" y="382"/>
                  </a:lnTo>
                  <a:lnTo>
                    <a:pt x="576" y="408"/>
                  </a:lnTo>
                  <a:lnTo>
                    <a:pt x="555" y="435"/>
                  </a:lnTo>
                  <a:lnTo>
                    <a:pt x="533" y="463"/>
                  </a:lnTo>
                  <a:lnTo>
                    <a:pt x="516" y="460"/>
                  </a:lnTo>
                  <a:lnTo>
                    <a:pt x="500" y="455"/>
                  </a:lnTo>
                  <a:lnTo>
                    <a:pt x="482" y="451"/>
                  </a:lnTo>
                  <a:lnTo>
                    <a:pt x="466" y="447"/>
                  </a:lnTo>
                  <a:lnTo>
                    <a:pt x="460" y="444"/>
                  </a:lnTo>
                  <a:lnTo>
                    <a:pt x="454" y="444"/>
                  </a:lnTo>
                  <a:lnTo>
                    <a:pt x="448" y="444"/>
                  </a:lnTo>
                  <a:lnTo>
                    <a:pt x="442" y="445"/>
                  </a:lnTo>
                  <a:lnTo>
                    <a:pt x="436" y="448"/>
                  </a:lnTo>
                  <a:lnTo>
                    <a:pt x="432" y="451"/>
                  </a:lnTo>
                  <a:lnTo>
                    <a:pt x="428" y="456"/>
                  </a:lnTo>
                  <a:lnTo>
                    <a:pt x="425" y="462"/>
                  </a:lnTo>
                  <a:lnTo>
                    <a:pt x="423" y="468"/>
                  </a:lnTo>
                  <a:lnTo>
                    <a:pt x="422" y="474"/>
                  </a:lnTo>
                  <a:lnTo>
                    <a:pt x="423" y="480"/>
                  </a:lnTo>
                  <a:lnTo>
                    <a:pt x="425" y="487"/>
                  </a:lnTo>
                  <a:lnTo>
                    <a:pt x="427" y="491"/>
                  </a:lnTo>
                  <a:lnTo>
                    <a:pt x="430" y="497"/>
                  </a:lnTo>
                  <a:lnTo>
                    <a:pt x="435" y="501"/>
                  </a:lnTo>
                  <a:lnTo>
                    <a:pt x="441" y="503"/>
                  </a:lnTo>
                  <a:lnTo>
                    <a:pt x="454" y="507"/>
                  </a:lnTo>
                  <a:lnTo>
                    <a:pt x="467" y="511"/>
                  </a:lnTo>
                  <a:lnTo>
                    <a:pt x="480" y="515"/>
                  </a:lnTo>
                  <a:lnTo>
                    <a:pt x="494" y="518"/>
                  </a:lnTo>
                  <a:lnTo>
                    <a:pt x="470" y="551"/>
                  </a:lnTo>
                  <a:lnTo>
                    <a:pt x="448" y="586"/>
                  </a:lnTo>
                  <a:lnTo>
                    <a:pt x="426" y="620"/>
                  </a:lnTo>
                  <a:lnTo>
                    <a:pt x="403" y="656"/>
                  </a:lnTo>
                  <a:lnTo>
                    <a:pt x="392" y="650"/>
                  </a:lnTo>
                  <a:lnTo>
                    <a:pt x="381" y="644"/>
                  </a:lnTo>
                  <a:lnTo>
                    <a:pt x="369" y="639"/>
                  </a:lnTo>
                  <a:lnTo>
                    <a:pt x="359" y="631"/>
                  </a:lnTo>
                  <a:lnTo>
                    <a:pt x="353" y="629"/>
                  </a:lnTo>
                  <a:lnTo>
                    <a:pt x="347" y="627"/>
                  </a:lnTo>
                  <a:lnTo>
                    <a:pt x="341" y="626"/>
                  </a:lnTo>
                  <a:lnTo>
                    <a:pt x="335" y="626"/>
                  </a:lnTo>
                  <a:lnTo>
                    <a:pt x="330" y="627"/>
                  </a:lnTo>
                  <a:lnTo>
                    <a:pt x="324" y="629"/>
                  </a:lnTo>
                  <a:lnTo>
                    <a:pt x="320" y="633"/>
                  </a:lnTo>
                  <a:lnTo>
                    <a:pt x="315" y="636"/>
                  </a:lnTo>
                  <a:lnTo>
                    <a:pt x="312" y="642"/>
                  </a:lnTo>
                  <a:lnTo>
                    <a:pt x="309" y="648"/>
                  </a:lnTo>
                  <a:lnTo>
                    <a:pt x="308" y="654"/>
                  </a:lnTo>
                  <a:lnTo>
                    <a:pt x="308" y="660"/>
                  </a:lnTo>
                  <a:lnTo>
                    <a:pt x="309" y="666"/>
                  </a:lnTo>
                  <a:lnTo>
                    <a:pt x="312" y="671"/>
                  </a:lnTo>
                  <a:lnTo>
                    <a:pt x="315" y="676"/>
                  </a:lnTo>
                  <a:lnTo>
                    <a:pt x="320" y="681"/>
                  </a:lnTo>
                  <a:lnTo>
                    <a:pt x="333" y="688"/>
                  </a:lnTo>
                  <a:lnTo>
                    <a:pt x="346" y="695"/>
                  </a:lnTo>
                  <a:lnTo>
                    <a:pt x="359" y="702"/>
                  </a:lnTo>
                  <a:lnTo>
                    <a:pt x="372" y="709"/>
                  </a:lnTo>
                  <a:lnTo>
                    <a:pt x="353" y="742"/>
                  </a:lnTo>
                  <a:lnTo>
                    <a:pt x="334" y="776"/>
                  </a:lnTo>
                  <a:lnTo>
                    <a:pt x="315" y="810"/>
                  </a:lnTo>
                  <a:lnTo>
                    <a:pt x="297" y="845"/>
                  </a:lnTo>
                  <a:lnTo>
                    <a:pt x="280" y="837"/>
                  </a:lnTo>
                  <a:lnTo>
                    <a:pt x="262" y="832"/>
                  </a:lnTo>
                  <a:lnTo>
                    <a:pt x="244" y="827"/>
                  </a:lnTo>
                  <a:lnTo>
                    <a:pt x="227" y="822"/>
                  </a:lnTo>
                  <a:lnTo>
                    <a:pt x="220" y="822"/>
                  </a:lnTo>
                  <a:lnTo>
                    <a:pt x="214" y="823"/>
                  </a:lnTo>
                  <a:lnTo>
                    <a:pt x="208" y="824"/>
                  </a:lnTo>
                  <a:lnTo>
                    <a:pt x="203" y="828"/>
                  </a:lnTo>
                  <a:lnTo>
                    <a:pt x="198" y="832"/>
                  </a:lnTo>
                  <a:lnTo>
                    <a:pt x="196" y="836"/>
                  </a:lnTo>
                  <a:lnTo>
                    <a:pt x="194" y="842"/>
                  </a:lnTo>
                  <a:lnTo>
                    <a:pt x="193" y="848"/>
                  </a:lnTo>
                  <a:lnTo>
                    <a:pt x="193" y="854"/>
                  </a:lnTo>
                  <a:lnTo>
                    <a:pt x="193" y="860"/>
                  </a:lnTo>
                  <a:lnTo>
                    <a:pt x="194" y="865"/>
                  </a:lnTo>
                  <a:lnTo>
                    <a:pt x="196" y="870"/>
                  </a:lnTo>
                  <a:lnTo>
                    <a:pt x="201" y="875"/>
                  </a:lnTo>
                  <a:lnTo>
                    <a:pt x="204" y="879"/>
                  </a:lnTo>
                  <a:lnTo>
                    <a:pt x="210" y="882"/>
                  </a:lnTo>
                  <a:lnTo>
                    <a:pt x="217" y="885"/>
                  </a:lnTo>
                  <a:lnTo>
                    <a:pt x="230" y="887"/>
                  </a:lnTo>
                  <a:lnTo>
                    <a:pt x="244" y="890"/>
                  </a:lnTo>
                  <a:lnTo>
                    <a:pt x="257" y="895"/>
                  </a:lnTo>
                  <a:lnTo>
                    <a:pt x="269" y="900"/>
                  </a:lnTo>
                  <a:lnTo>
                    <a:pt x="251" y="938"/>
                  </a:lnTo>
                  <a:lnTo>
                    <a:pt x="234" y="976"/>
                  </a:lnTo>
                  <a:lnTo>
                    <a:pt x="216" y="1015"/>
                  </a:lnTo>
                  <a:lnTo>
                    <a:pt x="198" y="1054"/>
                  </a:lnTo>
                  <a:lnTo>
                    <a:pt x="188" y="1047"/>
                  </a:lnTo>
                  <a:lnTo>
                    <a:pt x="177" y="1041"/>
                  </a:lnTo>
                  <a:lnTo>
                    <a:pt x="167" y="1034"/>
                  </a:lnTo>
                  <a:lnTo>
                    <a:pt x="155" y="1028"/>
                  </a:lnTo>
                  <a:lnTo>
                    <a:pt x="150" y="1025"/>
                  </a:lnTo>
                  <a:lnTo>
                    <a:pt x="144" y="1023"/>
                  </a:lnTo>
                  <a:lnTo>
                    <a:pt x="138" y="1022"/>
                  </a:lnTo>
                  <a:lnTo>
                    <a:pt x="133" y="1022"/>
                  </a:lnTo>
                  <a:lnTo>
                    <a:pt x="127" y="1023"/>
                  </a:lnTo>
                  <a:lnTo>
                    <a:pt x="121" y="1025"/>
                  </a:lnTo>
                  <a:lnTo>
                    <a:pt x="116" y="1028"/>
                  </a:lnTo>
                  <a:lnTo>
                    <a:pt x="111" y="1033"/>
                  </a:lnTo>
                  <a:lnTo>
                    <a:pt x="109" y="1039"/>
                  </a:lnTo>
                  <a:lnTo>
                    <a:pt x="107" y="1045"/>
                  </a:lnTo>
                  <a:lnTo>
                    <a:pt x="105" y="1051"/>
                  </a:lnTo>
                  <a:lnTo>
                    <a:pt x="105" y="1056"/>
                  </a:lnTo>
                  <a:lnTo>
                    <a:pt x="107" y="1062"/>
                  </a:lnTo>
                  <a:lnTo>
                    <a:pt x="109" y="1068"/>
                  </a:lnTo>
                  <a:lnTo>
                    <a:pt x="113" y="1073"/>
                  </a:lnTo>
                  <a:lnTo>
                    <a:pt x="117" y="1076"/>
                  </a:lnTo>
                  <a:lnTo>
                    <a:pt x="131" y="1086"/>
                  </a:lnTo>
                  <a:lnTo>
                    <a:pt x="146" y="1094"/>
                  </a:lnTo>
                  <a:lnTo>
                    <a:pt x="161" y="1102"/>
                  </a:lnTo>
                  <a:lnTo>
                    <a:pt x="175" y="1112"/>
                  </a:lnTo>
                  <a:lnTo>
                    <a:pt x="162" y="1142"/>
                  </a:lnTo>
                  <a:lnTo>
                    <a:pt x="150" y="1174"/>
                  </a:lnTo>
                  <a:lnTo>
                    <a:pt x="138" y="1205"/>
                  </a:lnTo>
                  <a:lnTo>
                    <a:pt x="127" y="1237"/>
                  </a:lnTo>
                  <a:lnTo>
                    <a:pt x="123" y="1246"/>
                  </a:lnTo>
                  <a:lnTo>
                    <a:pt x="121" y="1255"/>
                  </a:lnTo>
                  <a:lnTo>
                    <a:pt x="109" y="1252"/>
                  </a:lnTo>
                  <a:lnTo>
                    <a:pt x="97" y="1247"/>
                  </a:lnTo>
                  <a:lnTo>
                    <a:pt x="87" y="1242"/>
                  </a:lnTo>
                  <a:lnTo>
                    <a:pt x="75" y="1237"/>
                  </a:lnTo>
                  <a:lnTo>
                    <a:pt x="69" y="1235"/>
                  </a:lnTo>
                  <a:lnTo>
                    <a:pt x="62" y="1234"/>
                  </a:lnTo>
                  <a:lnTo>
                    <a:pt x="56" y="1234"/>
                  </a:lnTo>
                  <a:lnTo>
                    <a:pt x="50" y="1237"/>
                  </a:lnTo>
                  <a:lnTo>
                    <a:pt x="45" y="1240"/>
                  </a:lnTo>
                  <a:lnTo>
                    <a:pt x="42" y="1244"/>
                  </a:lnTo>
                  <a:lnTo>
                    <a:pt x="38" y="1248"/>
                  </a:lnTo>
                  <a:lnTo>
                    <a:pt x="35" y="1253"/>
                  </a:lnTo>
                  <a:lnTo>
                    <a:pt x="34" y="1259"/>
                  </a:lnTo>
                  <a:lnTo>
                    <a:pt x="33" y="1265"/>
                  </a:lnTo>
                  <a:lnTo>
                    <a:pt x="33" y="1271"/>
                  </a:lnTo>
                  <a:lnTo>
                    <a:pt x="34" y="1275"/>
                  </a:lnTo>
                  <a:lnTo>
                    <a:pt x="36" y="1281"/>
                  </a:lnTo>
                  <a:lnTo>
                    <a:pt x="40" y="1286"/>
                  </a:lnTo>
                  <a:lnTo>
                    <a:pt x="44" y="1291"/>
                  </a:lnTo>
                  <a:lnTo>
                    <a:pt x="50" y="1294"/>
                  </a:lnTo>
                  <a:lnTo>
                    <a:pt x="63" y="1300"/>
                  </a:lnTo>
                  <a:lnTo>
                    <a:pt x="76" y="1306"/>
                  </a:lnTo>
                  <a:lnTo>
                    <a:pt x="90" y="1311"/>
                  </a:lnTo>
                  <a:lnTo>
                    <a:pt x="103" y="1315"/>
                  </a:lnTo>
                  <a:lnTo>
                    <a:pt x="95" y="1350"/>
                  </a:lnTo>
                  <a:lnTo>
                    <a:pt x="89" y="1382"/>
                  </a:lnTo>
                  <a:lnTo>
                    <a:pt x="84" y="1414"/>
                  </a:lnTo>
                  <a:lnTo>
                    <a:pt x="82" y="1446"/>
                  </a:lnTo>
                  <a:lnTo>
                    <a:pt x="70" y="1445"/>
                  </a:lnTo>
                  <a:lnTo>
                    <a:pt x="58" y="1445"/>
                  </a:lnTo>
                  <a:lnTo>
                    <a:pt x="47" y="1444"/>
                  </a:lnTo>
                  <a:lnTo>
                    <a:pt x="35" y="1443"/>
                  </a:lnTo>
                  <a:lnTo>
                    <a:pt x="28" y="1443"/>
                  </a:lnTo>
                  <a:lnTo>
                    <a:pt x="22" y="1445"/>
                  </a:lnTo>
                  <a:lnTo>
                    <a:pt x="16" y="1447"/>
                  </a:lnTo>
                  <a:lnTo>
                    <a:pt x="11" y="1451"/>
                  </a:lnTo>
                  <a:lnTo>
                    <a:pt x="8" y="1455"/>
                  </a:lnTo>
                  <a:lnTo>
                    <a:pt x="4" y="1460"/>
                  </a:lnTo>
                  <a:lnTo>
                    <a:pt x="2" y="1466"/>
                  </a:lnTo>
                  <a:lnTo>
                    <a:pt x="1" y="1472"/>
                  </a:lnTo>
                  <a:lnTo>
                    <a:pt x="0" y="1477"/>
                  </a:lnTo>
                  <a:lnTo>
                    <a:pt x="1" y="1483"/>
                  </a:lnTo>
                  <a:lnTo>
                    <a:pt x="2" y="1488"/>
                  </a:lnTo>
                  <a:lnTo>
                    <a:pt x="4" y="1493"/>
                  </a:lnTo>
                  <a:lnTo>
                    <a:pt x="9" y="1498"/>
                  </a:lnTo>
                  <a:lnTo>
                    <a:pt x="14" y="1501"/>
                  </a:lnTo>
                  <a:lnTo>
                    <a:pt x="18" y="1504"/>
                  </a:lnTo>
                  <a:lnTo>
                    <a:pt x="25" y="1505"/>
                  </a:lnTo>
                  <a:lnTo>
                    <a:pt x="40" y="1506"/>
                  </a:lnTo>
                  <a:lnTo>
                    <a:pt x="54" y="1506"/>
                  </a:lnTo>
                  <a:lnTo>
                    <a:pt x="68" y="1507"/>
                  </a:lnTo>
                  <a:lnTo>
                    <a:pt x="82" y="1508"/>
                  </a:lnTo>
                  <a:lnTo>
                    <a:pt x="84" y="1541"/>
                  </a:lnTo>
                  <a:lnTo>
                    <a:pt x="88" y="1572"/>
                  </a:lnTo>
                  <a:lnTo>
                    <a:pt x="94" y="1603"/>
                  </a:lnTo>
                  <a:lnTo>
                    <a:pt x="102" y="1632"/>
                  </a:lnTo>
                  <a:lnTo>
                    <a:pt x="111" y="1660"/>
                  </a:lnTo>
                  <a:lnTo>
                    <a:pt x="122" y="1687"/>
                  </a:lnTo>
                  <a:lnTo>
                    <a:pt x="134" y="1713"/>
                  </a:lnTo>
                  <a:lnTo>
                    <a:pt x="148" y="1738"/>
                  </a:lnTo>
                  <a:lnTo>
                    <a:pt x="130" y="1752"/>
                  </a:lnTo>
                  <a:lnTo>
                    <a:pt x="113" y="1766"/>
                  </a:lnTo>
                  <a:lnTo>
                    <a:pt x="108" y="1771"/>
                  </a:lnTo>
                  <a:lnTo>
                    <a:pt x="104" y="1777"/>
                  </a:lnTo>
                  <a:lnTo>
                    <a:pt x="102" y="1782"/>
                  </a:lnTo>
                  <a:lnTo>
                    <a:pt x="101" y="1787"/>
                  </a:lnTo>
                  <a:lnTo>
                    <a:pt x="101" y="1793"/>
                  </a:lnTo>
                  <a:lnTo>
                    <a:pt x="102" y="1799"/>
                  </a:lnTo>
                  <a:lnTo>
                    <a:pt x="104" y="1804"/>
                  </a:lnTo>
                  <a:lnTo>
                    <a:pt x="108" y="1810"/>
                  </a:lnTo>
                  <a:lnTo>
                    <a:pt x="111" y="1813"/>
                  </a:lnTo>
                  <a:lnTo>
                    <a:pt x="116" y="1817"/>
                  </a:lnTo>
                  <a:lnTo>
                    <a:pt x="121" y="1820"/>
                  </a:lnTo>
                  <a:lnTo>
                    <a:pt x="127" y="1822"/>
                  </a:lnTo>
                  <a:lnTo>
                    <a:pt x="133" y="1823"/>
                  </a:lnTo>
                  <a:lnTo>
                    <a:pt x="138" y="1822"/>
                  </a:lnTo>
                  <a:lnTo>
                    <a:pt x="144" y="1819"/>
                  </a:lnTo>
                  <a:lnTo>
                    <a:pt x="150" y="1816"/>
                  </a:lnTo>
                  <a:lnTo>
                    <a:pt x="167" y="1804"/>
                  </a:lnTo>
                  <a:lnTo>
                    <a:pt x="182" y="1791"/>
                  </a:lnTo>
                  <a:lnTo>
                    <a:pt x="203" y="1818"/>
                  </a:lnTo>
                  <a:lnTo>
                    <a:pt x="227" y="1844"/>
                  </a:lnTo>
                  <a:lnTo>
                    <a:pt x="250" y="1869"/>
                  </a:lnTo>
                  <a:lnTo>
                    <a:pt x="275" y="1891"/>
                  </a:lnTo>
                  <a:lnTo>
                    <a:pt x="268" y="1905"/>
                  </a:lnTo>
                  <a:lnTo>
                    <a:pt x="260" y="1919"/>
                  </a:lnTo>
                  <a:lnTo>
                    <a:pt x="249" y="1932"/>
                  </a:lnTo>
                  <a:lnTo>
                    <a:pt x="239" y="1944"/>
                  </a:lnTo>
                  <a:lnTo>
                    <a:pt x="234" y="1950"/>
                  </a:lnTo>
                  <a:lnTo>
                    <a:pt x="231" y="1956"/>
                  </a:lnTo>
                  <a:lnTo>
                    <a:pt x="230" y="1962"/>
                  </a:lnTo>
                  <a:lnTo>
                    <a:pt x="230" y="1966"/>
                  </a:lnTo>
                  <a:lnTo>
                    <a:pt x="231" y="1972"/>
                  </a:lnTo>
                  <a:lnTo>
                    <a:pt x="234" y="1977"/>
                  </a:lnTo>
                  <a:lnTo>
                    <a:pt x="237" y="1982"/>
                  </a:lnTo>
                  <a:lnTo>
                    <a:pt x="242" y="1985"/>
                  </a:lnTo>
                  <a:lnTo>
                    <a:pt x="247" y="1989"/>
                  </a:lnTo>
                  <a:lnTo>
                    <a:pt x="253" y="1991"/>
                  </a:lnTo>
                  <a:lnTo>
                    <a:pt x="259" y="1992"/>
                  </a:lnTo>
                  <a:lnTo>
                    <a:pt x="264" y="1992"/>
                  </a:lnTo>
                  <a:lnTo>
                    <a:pt x="270" y="1992"/>
                  </a:lnTo>
                  <a:lnTo>
                    <a:pt x="276" y="1990"/>
                  </a:lnTo>
                  <a:lnTo>
                    <a:pt x="282" y="1988"/>
                  </a:lnTo>
                  <a:lnTo>
                    <a:pt x="288" y="1983"/>
                  </a:lnTo>
                  <a:lnTo>
                    <a:pt x="299" y="1971"/>
                  </a:lnTo>
                  <a:lnTo>
                    <a:pt x="308" y="1958"/>
                  </a:lnTo>
                  <a:lnTo>
                    <a:pt x="317" y="1945"/>
                  </a:lnTo>
                  <a:lnTo>
                    <a:pt x="326" y="1931"/>
                  </a:lnTo>
                  <a:lnTo>
                    <a:pt x="361" y="1956"/>
                  </a:lnTo>
                  <a:lnTo>
                    <a:pt x="396" y="1977"/>
                  </a:lnTo>
                  <a:lnTo>
                    <a:pt x="432" y="1997"/>
                  </a:lnTo>
                  <a:lnTo>
                    <a:pt x="466" y="2016"/>
                  </a:lnTo>
                  <a:lnTo>
                    <a:pt x="468" y="2030"/>
                  </a:lnTo>
                  <a:lnTo>
                    <a:pt x="469" y="2045"/>
                  </a:lnTo>
                  <a:lnTo>
                    <a:pt x="470" y="2059"/>
                  </a:lnTo>
                  <a:lnTo>
                    <a:pt x="469" y="2073"/>
                  </a:lnTo>
                  <a:lnTo>
                    <a:pt x="467" y="2088"/>
                  </a:lnTo>
                  <a:lnTo>
                    <a:pt x="463" y="2102"/>
                  </a:lnTo>
                  <a:lnTo>
                    <a:pt x="457" y="2115"/>
                  </a:lnTo>
                  <a:lnTo>
                    <a:pt x="449" y="2128"/>
                  </a:lnTo>
                  <a:lnTo>
                    <a:pt x="446" y="2135"/>
                  </a:lnTo>
                  <a:lnTo>
                    <a:pt x="443" y="2141"/>
                  </a:lnTo>
                  <a:lnTo>
                    <a:pt x="443" y="2146"/>
                  </a:lnTo>
                  <a:lnTo>
                    <a:pt x="443" y="2152"/>
                  </a:lnTo>
                  <a:lnTo>
                    <a:pt x="446" y="2158"/>
                  </a:lnTo>
                  <a:lnTo>
                    <a:pt x="448" y="2163"/>
                  </a:lnTo>
                  <a:lnTo>
                    <a:pt x="452" y="2168"/>
                  </a:lnTo>
                  <a:lnTo>
                    <a:pt x="456" y="2172"/>
                  </a:lnTo>
                  <a:lnTo>
                    <a:pt x="461" y="2175"/>
                  </a:lnTo>
                  <a:lnTo>
                    <a:pt x="466" y="2177"/>
                  </a:lnTo>
                  <a:lnTo>
                    <a:pt x="472" y="2179"/>
                  </a:lnTo>
                  <a:lnTo>
                    <a:pt x="478" y="2179"/>
                  </a:lnTo>
                  <a:lnTo>
                    <a:pt x="483" y="2178"/>
                  </a:lnTo>
                  <a:lnTo>
                    <a:pt x="488" y="2176"/>
                  </a:lnTo>
                  <a:lnTo>
                    <a:pt x="494" y="2172"/>
                  </a:lnTo>
                  <a:lnTo>
                    <a:pt x="499" y="2166"/>
                  </a:lnTo>
                  <a:lnTo>
                    <a:pt x="508" y="2154"/>
                  </a:lnTo>
                  <a:lnTo>
                    <a:pt x="515" y="2142"/>
                  </a:lnTo>
                  <a:lnTo>
                    <a:pt x="521" y="2132"/>
                  </a:lnTo>
                  <a:lnTo>
                    <a:pt x="526" y="2122"/>
                  </a:lnTo>
                  <a:lnTo>
                    <a:pt x="528" y="2112"/>
                  </a:lnTo>
                  <a:lnTo>
                    <a:pt x="530" y="2102"/>
                  </a:lnTo>
                  <a:lnTo>
                    <a:pt x="532" y="2089"/>
                  </a:lnTo>
                  <a:lnTo>
                    <a:pt x="530" y="2075"/>
                  </a:lnTo>
                  <a:lnTo>
                    <a:pt x="566" y="2090"/>
                  </a:lnTo>
                  <a:lnTo>
                    <a:pt x="598" y="2104"/>
                  </a:lnTo>
                  <a:lnTo>
                    <a:pt x="626" y="2118"/>
                  </a:lnTo>
                  <a:lnTo>
                    <a:pt x="651" y="2131"/>
                  </a:lnTo>
                  <a:lnTo>
                    <a:pt x="686" y="2151"/>
                  </a:lnTo>
                  <a:lnTo>
                    <a:pt x="698" y="2159"/>
                  </a:lnTo>
                  <a:lnTo>
                    <a:pt x="702" y="2159"/>
                  </a:lnTo>
                  <a:lnTo>
                    <a:pt x="713" y="2159"/>
                  </a:lnTo>
                  <a:lnTo>
                    <a:pt x="715" y="2159"/>
                  </a:lnTo>
                  <a:lnTo>
                    <a:pt x="716" y="2161"/>
                  </a:lnTo>
                  <a:lnTo>
                    <a:pt x="719" y="2163"/>
                  </a:lnTo>
                  <a:lnTo>
                    <a:pt x="721" y="2165"/>
                  </a:lnTo>
                  <a:lnTo>
                    <a:pt x="725" y="2172"/>
                  </a:lnTo>
                  <a:lnTo>
                    <a:pt x="727" y="2181"/>
                  </a:lnTo>
                  <a:lnTo>
                    <a:pt x="733" y="2204"/>
                  </a:lnTo>
                  <a:lnTo>
                    <a:pt x="737" y="2229"/>
                  </a:lnTo>
                  <a:lnTo>
                    <a:pt x="738" y="2236"/>
                  </a:lnTo>
                  <a:lnTo>
                    <a:pt x="741" y="2242"/>
                  </a:lnTo>
                  <a:lnTo>
                    <a:pt x="745" y="2245"/>
                  </a:lnTo>
                  <a:lnTo>
                    <a:pt x="749" y="2248"/>
                  </a:lnTo>
                  <a:lnTo>
                    <a:pt x="754" y="2250"/>
                  </a:lnTo>
                  <a:lnTo>
                    <a:pt x="760" y="2250"/>
                  </a:lnTo>
                  <a:lnTo>
                    <a:pt x="766" y="2250"/>
                  </a:lnTo>
                  <a:lnTo>
                    <a:pt x="772" y="2248"/>
                  </a:lnTo>
                  <a:lnTo>
                    <a:pt x="778" y="2245"/>
                  </a:lnTo>
                  <a:lnTo>
                    <a:pt x="782" y="2242"/>
                  </a:lnTo>
                  <a:lnTo>
                    <a:pt x="787" y="2238"/>
                  </a:lnTo>
                  <a:lnTo>
                    <a:pt x="792" y="2232"/>
                  </a:lnTo>
                  <a:lnTo>
                    <a:pt x="795" y="2228"/>
                  </a:lnTo>
                  <a:lnTo>
                    <a:pt x="798" y="2221"/>
                  </a:lnTo>
                  <a:lnTo>
                    <a:pt x="799" y="2215"/>
                  </a:lnTo>
                  <a:lnTo>
                    <a:pt x="799" y="2206"/>
                  </a:lnTo>
                  <a:lnTo>
                    <a:pt x="795" y="2182"/>
                  </a:lnTo>
                  <a:lnTo>
                    <a:pt x="791" y="2156"/>
                  </a:lnTo>
                  <a:lnTo>
                    <a:pt x="785" y="2130"/>
                  </a:lnTo>
                  <a:lnTo>
                    <a:pt x="779" y="2106"/>
                  </a:lnTo>
                  <a:lnTo>
                    <a:pt x="797" y="2106"/>
                  </a:lnTo>
                  <a:lnTo>
                    <a:pt x="817" y="2105"/>
                  </a:lnTo>
                  <a:lnTo>
                    <a:pt x="839" y="2104"/>
                  </a:lnTo>
                  <a:lnTo>
                    <a:pt x="861" y="2103"/>
                  </a:lnTo>
                  <a:lnTo>
                    <a:pt x="886" y="2102"/>
                  </a:lnTo>
                  <a:lnTo>
                    <a:pt x="912" y="2099"/>
                  </a:lnTo>
                  <a:lnTo>
                    <a:pt x="939" y="2098"/>
                  </a:lnTo>
                  <a:lnTo>
                    <a:pt x="968" y="2097"/>
                  </a:lnTo>
                  <a:lnTo>
                    <a:pt x="973" y="2111"/>
                  </a:lnTo>
                  <a:lnTo>
                    <a:pt x="980" y="2125"/>
                  </a:lnTo>
                  <a:lnTo>
                    <a:pt x="987" y="2139"/>
                  </a:lnTo>
                  <a:lnTo>
                    <a:pt x="997" y="2151"/>
                  </a:lnTo>
                  <a:lnTo>
                    <a:pt x="1005" y="2164"/>
                  </a:lnTo>
                  <a:lnTo>
                    <a:pt x="1016" y="2176"/>
                  </a:lnTo>
                  <a:lnTo>
                    <a:pt x="1026" y="2186"/>
                  </a:lnTo>
                  <a:lnTo>
                    <a:pt x="1039" y="2197"/>
                  </a:lnTo>
                  <a:lnTo>
                    <a:pt x="1045" y="2201"/>
                  </a:lnTo>
                  <a:lnTo>
                    <a:pt x="1051" y="2203"/>
                  </a:lnTo>
                  <a:lnTo>
                    <a:pt x="1057" y="2204"/>
                  </a:lnTo>
                  <a:lnTo>
                    <a:pt x="1061" y="2203"/>
                  </a:lnTo>
                  <a:lnTo>
                    <a:pt x="1067" y="2202"/>
                  </a:lnTo>
                  <a:lnTo>
                    <a:pt x="1072" y="2199"/>
                  </a:lnTo>
                  <a:lnTo>
                    <a:pt x="1077" y="2196"/>
                  </a:lnTo>
                  <a:lnTo>
                    <a:pt x="1081" y="2191"/>
                  </a:lnTo>
                  <a:lnTo>
                    <a:pt x="1084" y="2186"/>
                  </a:lnTo>
                  <a:lnTo>
                    <a:pt x="1086" y="2181"/>
                  </a:lnTo>
                  <a:lnTo>
                    <a:pt x="1089" y="2175"/>
                  </a:lnTo>
                  <a:lnTo>
                    <a:pt x="1089" y="2169"/>
                  </a:lnTo>
                  <a:lnTo>
                    <a:pt x="1087" y="2163"/>
                  </a:lnTo>
                  <a:lnTo>
                    <a:pt x="1085" y="2157"/>
                  </a:lnTo>
                  <a:lnTo>
                    <a:pt x="1081" y="2152"/>
                  </a:lnTo>
                  <a:lnTo>
                    <a:pt x="1077" y="2146"/>
                  </a:lnTo>
                  <a:lnTo>
                    <a:pt x="1064" y="2135"/>
                  </a:lnTo>
                  <a:lnTo>
                    <a:pt x="1052" y="2121"/>
                  </a:lnTo>
                  <a:lnTo>
                    <a:pt x="1043" y="2105"/>
                  </a:lnTo>
                  <a:lnTo>
                    <a:pt x="1034" y="2090"/>
                  </a:lnTo>
                  <a:lnTo>
                    <a:pt x="1070" y="2088"/>
                  </a:lnTo>
                  <a:lnTo>
                    <a:pt x="1106" y="2084"/>
                  </a:lnTo>
                  <a:lnTo>
                    <a:pt x="1144" y="2081"/>
                  </a:lnTo>
                  <a:lnTo>
                    <a:pt x="1183" y="2077"/>
                  </a:lnTo>
                  <a:lnTo>
                    <a:pt x="1185" y="2091"/>
                  </a:lnTo>
                  <a:lnTo>
                    <a:pt x="1187" y="2106"/>
                  </a:lnTo>
                  <a:lnTo>
                    <a:pt x="1191" y="2121"/>
                  </a:lnTo>
                  <a:lnTo>
                    <a:pt x="1196" y="2135"/>
                  </a:lnTo>
                  <a:lnTo>
                    <a:pt x="1199" y="2141"/>
                  </a:lnTo>
                  <a:lnTo>
                    <a:pt x="1203" y="2146"/>
                  </a:lnTo>
                  <a:lnTo>
                    <a:pt x="1207" y="2150"/>
                  </a:lnTo>
                  <a:lnTo>
                    <a:pt x="1212" y="2152"/>
                  </a:lnTo>
                  <a:lnTo>
                    <a:pt x="1218" y="2154"/>
                  </a:lnTo>
                  <a:lnTo>
                    <a:pt x="1224" y="2154"/>
                  </a:lnTo>
                  <a:lnTo>
                    <a:pt x="1230" y="2152"/>
                  </a:lnTo>
                  <a:lnTo>
                    <a:pt x="1234" y="2150"/>
                  </a:lnTo>
                  <a:lnTo>
                    <a:pt x="1240" y="2148"/>
                  </a:lnTo>
                  <a:lnTo>
                    <a:pt x="1245" y="2144"/>
                  </a:lnTo>
                  <a:lnTo>
                    <a:pt x="1249" y="2139"/>
                  </a:lnTo>
                  <a:lnTo>
                    <a:pt x="1252" y="2135"/>
                  </a:lnTo>
                  <a:lnTo>
                    <a:pt x="1254" y="2129"/>
                  </a:lnTo>
                  <a:lnTo>
                    <a:pt x="1256" y="2123"/>
                  </a:lnTo>
                  <a:lnTo>
                    <a:pt x="1256" y="2117"/>
                  </a:lnTo>
                  <a:lnTo>
                    <a:pt x="1253" y="2110"/>
                  </a:lnTo>
                  <a:lnTo>
                    <a:pt x="1250" y="2099"/>
                  </a:lnTo>
                  <a:lnTo>
                    <a:pt x="1247" y="2090"/>
                  </a:lnTo>
                  <a:lnTo>
                    <a:pt x="1246" y="2081"/>
                  </a:lnTo>
                  <a:lnTo>
                    <a:pt x="1245" y="2071"/>
                  </a:lnTo>
                  <a:lnTo>
                    <a:pt x="1267" y="2068"/>
                  </a:lnTo>
                  <a:lnTo>
                    <a:pt x="1292" y="2065"/>
                  </a:lnTo>
                  <a:lnTo>
                    <a:pt x="1316" y="2062"/>
                  </a:lnTo>
                  <a:lnTo>
                    <a:pt x="1339" y="2059"/>
                  </a:lnTo>
                  <a:lnTo>
                    <a:pt x="1364" y="2056"/>
                  </a:lnTo>
                  <a:lnTo>
                    <a:pt x="1389" y="2052"/>
                  </a:lnTo>
                  <a:lnTo>
                    <a:pt x="1413" y="2049"/>
                  </a:lnTo>
                  <a:lnTo>
                    <a:pt x="1438" y="2045"/>
                  </a:lnTo>
                  <a:lnTo>
                    <a:pt x="1445" y="2056"/>
                  </a:lnTo>
                  <a:lnTo>
                    <a:pt x="1451" y="2068"/>
                  </a:lnTo>
                  <a:lnTo>
                    <a:pt x="1456" y="2079"/>
                  </a:lnTo>
                  <a:lnTo>
                    <a:pt x="1461" y="2091"/>
                  </a:lnTo>
                  <a:lnTo>
                    <a:pt x="1465" y="2103"/>
                  </a:lnTo>
                  <a:lnTo>
                    <a:pt x="1468" y="2116"/>
                  </a:lnTo>
                  <a:lnTo>
                    <a:pt x="1471" y="2128"/>
                  </a:lnTo>
                  <a:lnTo>
                    <a:pt x="1473" y="2141"/>
                  </a:lnTo>
                  <a:lnTo>
                    <a:pt x="1475" y="2148"/>
                  </a:lnTo>
                  <a:lnTo>
                    <a:pt x="1477" y="2154"/>
                  </a:lnTo>
                  <a:lnTo>
                    <a:pt x="1482" y="2158"/>
                  </a:lnTo>
                  <a:lnTo>
                    <a:pt x="1485" y="2162"/>
                  </a:lnTo>
                  <a:lnTo>
                    <a:pt x="1491" y="2165"/>
                  </a:lnTo>
                  <a:lnTo>
                    <a:pt x="1496" y="2166"/>
                  </a:lnTo>
                  <a:lnTo>
                    <a:pt x="1502" y="2168"/>
                  </a:lnTo>
                  <a:lnTo>
                    <a:pt x="1508" y="2168"/>
                  </a:lnTo>
                  <a:lnTo>
                    <a:pt x="1513" y="2166"/>
                  </a:lnTo>
                  <a:lnTo>
                    <a:pt x="1519" y="2164"/>
                  </a:lnTo>
                  <a:lnTo>
                    <a:pt x="1524" y="2161"/>
                  </a:lnTo>
                  <a:lnTo>
                    <a:pt x="1529" y="2157"/>
                  </a:lnTo>
                  <a:lnTo>
                    <a:pt x="1531" y="2152"/>
                  </a:lnTo>
                  <a:lnTo>
                    <a:pt x="1534" y="2146"/>
                  </a:lnTo>
                  <a:lnTo>
                    <a:pt x="1535" y="2141"/>
                  </a:lnTo>
                  <a:lnTo>
                    <a:pt x="1535" y="2134"/>
                  </a:lnTo>
                  <a:lnTo>
                    <a:pt x="1530" y="2108"/>
                  </a:lnTo>
                  <a:lnTo>
                    <a:pt x="1523" y="2082"/>
                  </a:lnTo>
                  <a:lnTo>
                    <a:pt x="1515" y="2057"/>
                  </a:lnTo>
                  <a:lnTo>
                    <a:pt x="1504" y="2033"/>
                  </a:lnTo>
                  <a:lnTo>
                    <a:pt x="1541" y="2028"/>
                  </a:lnTo>
                  <a:lnTo>
                    <a:pt x="1577" y="2021"/>
                  </a:lnTo>
                  <a:lnTo>
                    <a:pt x="1614" y="2012"/>
                  </a:lnTo>
                  <a:lnTo>
                    <a:pt x="1650" y="2004"/>
                  </a:lnTo>
                  <a:lnTo>
                    <a:pt x="1654" y="2025"/>
                  </a:lnTo>
                  <a:lnTo>
                    <a:pt x="1659" y="2045"/>
                  </a:lnTo>
                  <a:lnTo>
                    <a:pt x="1665" y="2066"/>
                  </a:lnTo>
                  <a:lnTo>
                    <a:pt x="1671" y="2085"/>
                  </a:lnTo>
                  <a:lnTo>
                    <a:pt x="1679" y="2105"/>
                  </a:lnTo>
                  <a:lnTo>
                    <a:pt x="1688" y="2125"/>
                  </a:lnTo>
                  <a:lnTo>
                    <a:pt x="1697" y="2144"/>
                  </a:lnTo>
                  <a:lnTo>
                    <a:pt x="1708" y="2163"/>
                  </a:lnTo>
                  <a:lnTo>
                    <a:pt x="1711" y="2169"/>
                  </a:lnTo>
                  <a:lnTo>
                    <a:pt x="1716" y="2174"/>
                  </a:lnTo>
                  <a:lnTo>
                    <a:pt x="1721" y="2176"/>
                  </a:lnTo>
                  <a:lnTo>
                    <a:pt x="1727" y="2178"/>
                  </a:lnTo>
                  <a:lnTo>
                    <a:pt x="1732" y="2179"/>
                  </a:lnTo>
                  <a:lnTo>
                    <a:pt x="1738" y="2179"/>
                  </a:lnTo>
                  <a:lnTo>
                    <a:pt x="1744" y="2179"/>
                  </a:lnTo>
                  <a:lnTo>
                    <a:pt x="1750" y="2177"/>
                  </a:lnTo>
                  <a:lnTo>
                    <a:pt x="1756" y="2175"/>
                  </a:lnTo>
                  <a:lnTo>
                    <a:pt x="1760" y="2171"/>
                  </a:lnTo>
                  <a:lnTo>
                    <a:pt x="1764" y="2168"/>
                  </a:lnTo>
                  <a:lnTo>
                    <a:pt x="1767" y="2163"/>
                  </a:lnTo>
                  <a:lnTo>
                    <a:pt x="1768" y="2157"/>
                  </a:lnTo>
                  <a:lnTo>
                    <a:pt x="1769" y="2151"/>
                  </a:lnTo>
                  <a:lnTo>
                    <a:pt x="1768" y="2145"/>
                  </a:lnTo>
                  <a:lnTo>
                    <a:pt x="1764" y="2139"/>
                  </a:lnTo>
                  <a:lnTo>
                    <a:pt x="1755" y="2122"/>
                  </a:lnTo>
                  <a:lnTo>
                    <a:pt x="1747" y="2103"/>
                  </a:lnTo>
                  <a:lnTo>
                    <a:pt x="1738" y="2085"/>
                  </a:lnTo>
                  <a:lnTo>
                    <a:pt x="1731" y="2066"/>
                  </a:lnTo>
                  <a:lnTo>
                    <a:pt x="1725" y="2048"/>
                  </a:lnTo>
                  <a:lnTo>
                    <a:pt x="1720" y="2029"/>
                  </a:lnTo>
                  <a:lnTo>
                    <a:pt x="1715" y="2010"/>
                  </a:lnTo>
                  <a:lnTo>
                    <a:pt x="1711" y="1990"/>
                  </a:lnTo>
                  <a:lnTo>
                    <a:pt x="1745" y="1982"/>
                  </a:lnTo>
                  <a:lnTo>
                    <a:pt x="1780" y="1972"/>
                  </a:lnTo>
                  <a:lnTo>
                    <a:pt x="1814" y="1963"/>
                  </a:lnTo>
                  <a:lnTo>
                    <a:pt x="1848" y="1953"/>
                  </a:lnTo>
                  <a:lnTo>
                    <a:pt x="1870" y="1977"/>
                  </a:lnTo>
                  <a:lnTo>
                    <a:pt x="1894" y="1999"/>
                  </a:lnTo>
                  <a:lnTo>
                    <a:pt x="1907" y="2009"/>
                  </a:lnTo>
                  <a:lnTo>
                    <a:pt x="1920" y="2019"/>
                  </a:lnTo>
                  <a:lnTo>
                    <a:pt x="1933" y="2029"/>
                  </a:lnTo>
                  <a:lnTo>
                    <a:pt x="1947" y="2037"/>
                  </a:lnTo>
                  <a:lnTo>
                    <a:pt x="1953" y="2039"/>
                  </a:lnTo>
                  <a:lnTo>
                    <a:pt x="1958" y="2041"/>
                  </a:lnTo>
                  <a:lnTo>
                    <a:pt x="1966" y="2039"/>
                  </a:lnTo>
                  <a:lnTo>
                    <a:pt x="1970" y="2037"/>
                  </a:lnTo>
                  <a:lnTo>
                    <a:pt x="1976" y="2035"/>
                  </a:lnTo>
                  <a:lnTo>
                    <a:pt x="1981" y="2031"/>
                  </a:lnTo>
                  <a:lnTo>
                    <a:pt x="1986" y="2026"/>
                  </a:lnTo>
                  <a:lnTo>
                    <a:pt x="1988" y="2021"/>
                  </a:lnTo>
                  <a:lnTo>
                    <a:pt x="1990" y="2015"/>
                  </a:lnTo>
                  <a:lnTo>
                    <a:pt x="1990" y="2009"/>
                  </a:lnTo>
                  <a:lnTo>
                    <a:pt x="1990" y="2003"/>
                  </a:lnTo>
                  <a:lnTo>
                    <a:pt x="1988" y="1997"/>
                  </a:lnTo>
                  <a:lnTo>
                    <a:pt x="1986" y="1992"/>
                  </a:lnTo>
                  <a:lnTo>
                    <a:pt x="1982" y="1988"/>
                  </a:lnTo>
                  <a:lnTo>
                    <a:pt x="1977" y="1984"/>
                  </a:lnTo>
                  <a:lnTo>
                    <a:pt x="1971" y="1980"/>
                  </a:lnTo>
                  <a:lnTo>
                    <a:pt x="1956" y="1970"/>
                  </a:lnTo>
                  <a:lnTo>
                    <a:pt x="1941" y="1958"/>
                  </a:lnTo>
                  <a:lnTo>
                    <a:pt x="1927" y="1945"/>
                  </a:lnTo>
                  <a:lnTo>
                    <a:pt x="1913" y="1932"/>
                  </a:lnTo>
                  <a:lnTo>
                    <a:pt x="1937" y="1924"/>
                  </a:lnTo>
                  <a:lnTo>
                    <a:pt x="1961" y="1916"/>
                  </a:lnTo>
                  <a:lnTo>
                    <a:pt x="1984" y="1907"/>
                  </a:lnTo>
                  <a:lnTo>
                    <a:pt x="2008" y="1898"/>
                  </a:lnTo>
                  <a:lnTo>
                    <a:pt x="2023" y="1909"/>
                  </a:lnTo>
                  <a:lnTo>
                    <a:pt x="2039" y="1919"/>
                  </a:lnTo>
                  <a:lnTo>
                    <a:pt x="2055" y="1929"/>
                  </a:lnTo>
                  <a:lnTo>
                    <a:pt x="2072" y="1938"/>
                  </a:lnTo>
                  <a:lnTo>
                    <a:pt x="2077" y="1940"/>
                  </a:lnTo>
                  <a:lnTo>
                    <a:pt x="2083" y="1942"/>
                  </a:lnTo>
                  <a:lnTo>
                    <a:pt x="2089" y="1940"/>
                  </a:lnTo>
                  <a:lnTo>
                    <a:pt x="2095" y="1938"/>
                  </a:lnTo>
                  <a:lnTo>
                    <a:pt x="2100" y="1936"/>
                  </a:lnTo>
                  <a:lnTo>
                    <a:pt x="2106" y="1932"/>
                  </a:lnTo>
                  <a:lnTo>
                    <a:pt x="2109" y="1928"/>
                  </a:lnTo>
                  <a:lnTo>
                    <a:pt x="2113" y="1922"/>
                  </a:lnTo>
                  <a:lnTo>
                    <a:pt x="2114" y="1916"/>
                  </a:lnTo>
                  <a:lnTo>
                    <a:pt x="2115" y="1910"/>
                  </a:lnTo>
                  <a:lnTo>
                    <a:pt x="2114" y="1904"/>
                  </a:lnTo>
                  <a:lnTo>
                    <a:pt x="2113" y="1898"/>
                  </a:lnTo>
                  <a:lnTo>
                    <a:pt x="2109" y="1893"/>
                  </a:lnTo>
                  <a:lnTo>
                    <a:pt x="2106" y="1889"/>
                  </a:lnTo>
                  <a:lnTo>
                    <a:pt x="2101" y="1884"/>
                  </a:lnTo>
                  <a:lnTo>
                    <a:pt x="2096" y="1882"/>
                  </a:lnTo>
                  <a:lnTo>
                    <a:pt x="2087" y="1876"/>
                  </a:lnTo>
                  <a:lnTo>
                    <a:pt x="2077" y="1870"/>
                  </a:lnTo>
                  <a:lnTo>
                    <a:pt x="2116" y="1852"/>
                  </a:lnTo>
                  <a:lnTo>
                    <a:pt x="2154" y="1835"/>
                  </a:lnTo>
                  <a:lnTo>
                    <a:pt x="2192" y="1816"/>
                  </a:lnTo>
                  <a:lnTo>
                    <a:pt x="2228" y="1796"/>
                  </a:lnTo>
                  <a:lnTo>
                    <a:pt x="2242" y="1806"/>
                  </a:lnTo>
                  <a:lnTo>
                    <a:pt x="2258" y="1817"/>
                  </a:lnTo>
                  <a:lnTo>
                    <a:pt x="2272" y="1830"/>
                  </a:lnTo>
                  <a:lnTo>
                    <a:pt x="2286" y="1842"/>
                  </a:lnTo>
                  <a:lnTo>
                    <a:pt x="2312" y="1867"/>
                  </a:lnTo>
                  <a:lnTo>
                    <a:pt x="2338" y="1895"/>
                  </a:lnTo>
                  <a:lnTo>
                    <a:pt x="2342" y="1899"/>
                  </a:lnTo>
                  <a:lnTo>
                    <a:pt x="2348" y="1903"/>
                  </a:lnTo>
                  <a:lnTo>
                    <a:pt x="2354" y="1904"/>
                  </a:lnTo>
                  <a:lnTo>
                    <a:pt x="2360" y="1905"/>
                  </a:lnTo>
                  <a:lnTo>
                    <a:pt x="2366" y="1905"/>
                  </a:lnTo>
                  <a:lnTo>
                    <a:pt x="2372" y="1903"/>
                  </a:lnTo>
                  <a:lnTo>
                    <a:pt x="2378" y="1900"/>
                  </a:lnTo>
                  <a:lnTo>
                    <a:pt x="2382" y="1898"/>
                  </a:lnTo>
                  <a:lnTo>
                    <a:pt x="2387" y="1893"/>
                  </a:lnTo>
                  <a:lnTo>
                    <a:pt x="2391" y="1890"/>
                  </a:lnTo>
                  <a:lnTo>
                    <a:pt x="2393" y="1884"/>
                  </a:lnTo>
                  <a:lnTo>
                    <a:pt x="2394" y="1879"/>
                  </a:lnTo>
                  <a:lnTo>
                    <a:pt x="2395" y="1873"/>
                  </a:lnTo>
                  <a:lnTo>
                    <a:pt x="2394" y="1867"/>
                  </a:lnTo>
                  <a:lnTo>
                    <a:pt x="2392" y="1863"/>
                  </a:lnTo>
                  <a:lnTo>
                    <a:pt x="2387" y="1857"/>
                  </a:lnTo>
                  <a:lnTo>
                    <a:pt x="2363" y="1831"/>
                  </a:lnTo>
                  <a:lnTo>
                    <a:pt x="2339" y="1806"/>
                  </a:lnTo>
                  <a:lnTo>
                    <a:pt x="2313" y="1783"/>
                  </a:lnTo>
                  <a:lnTo>
                    <a:pt x="2286" y="1760"/>
                  </a:lnTo>
                  <a:lnTo>
                    <a:pt x="2313" y="1743"/>
                  </a:lnTo>
                  <a:lnTo>
                    <a:pt x="2339" y="1724"/>
                  </a:lnTo>
                  <a:lnTo>
                    <a:pt x="2365" y="1705"/>
                  </a:lnTo>
                  <a:lnTo>
                    <a:pt x="2389" y="1685"/>
                  </a:lnTo>
                  <a:lnTo>
                    <a:pt x="2396" y="1678"/>
                  </a:lnTo>
                  <a:lnTo>
                    <a:pt x="2405" y="1671"/>
                  </a:lnTo>
                  <a:lnTo>
                    <a:pt x="2420" y="1680"/>
                  </a:lnTo>
                  <a:lnTo>
                    <a:pt x="2436" y="1691"/>
                  </a:lnTo>
                  <a:lnTo>
                    <a:pt x="2452" y="1701"/>
                  </a:lnTo>
                  <a:lnTo>
                    <a:pt x="2467" y="1712"/>
                  </a:lnTo>
                  <a:lnTo>
                    <a:pt x="2473" y="1717"/>
                  </a:lnTo>
                  <a:lnTo>
                    <a:pt x="2479" y="1718"/>
                  </a:lnTo>
                  <a:lnTo>
                    <a:pt x="2485" y="1719"/>
                  </a:lnTo>
                  <a:lnTo>
                    <a:pt x="2491" y="1719"/>
                  </a:lnTo>
                  <a:lnTo>
                    <a:pt x="2496" y="1717"/>
                  </a:lnTo>
                  <a:lnTo>
                    <a:pt x="2501" y="1714"/>
                  </a:lnTo>
                  <a:lnTo>
                    <a:pt x="2506" y="1711"/>
                  </a:lnTo>
                  <a:lnTo>
                    <a:pt x="2509" y="1706"/>
                  </a:lnTo>
                  <a:lnTo>
                    <a:pt x="2513" y="1701"/>
                  </a:lnTo>
                  <a:lnTo>
                    <a:pt x="2515" y="1696"/>
                  </a:lnTo>
                  <a:lnTo>
                    <a:pt x="2517" y="1691"/>
                  </a:lnTo>
                  <a:lnTo>
                    <a:pt x="2517" y="1685"/>
                  </a:lnTo>
                  <a:lnTo>
                    <a:pt x="2517" y="1679"/>
                  </a:lnTo>
                  <a:lnTo>
                    <a:pt x="2514" y="1673"/>
                  </a:lnTo>
                  <a:lnTo>
                    <a:pt x="2511" y="1669"/>
                  </a:lnTo>
                  <a:lnTo>
                    <a:pt x="2505" y="1664"/>
                  </a:lnTo>
                  <a:lnTo>
                    <a:pt x="2492" y="1653"/>
                  </a:lnTo>
                  <a:lnTo>
                    <a:pt x="2478" y="1644"/>
                  </a:lnTo>
                  <a:lnTo>
                    <a:pt x="2464" y="1634"/>
                  </a:lnTo>
                  <a:lnTo>
                    <a:pt x="2449" y="1626"/>
                  </a:lnTo>
                  <a:lnTo>
                    <a:pt x="2465" y="1607"/>
                  </a:lnTo>
                  <a:lnTo>
                    <a:pt x="2479" y="1588"/>
                  </a:lnTo>
                  <a:lnTo>
                    <a:pt x="2491" y="1570"/>
                  </a:lnTo>
                  <a:lnTo>
                    <a:pt x="2500" y="1551"/>
                  </a:lnTo>
                  <a:lnTo>
                    <a:pt x="2508" y="1532"/>
                  </a:lnTo>
                  <a:lnTo>
                    <a:pt x="2515" y="1513"/>
                  </a:lnTo>
                  <a:lnTo>
                    <a:pt x="2520" y="1494"/>
                  </a:lnTo>
                  <a:lnTo>
                    <a:pt x="2524" y="1475"/>
                  </a:lnTo>
                  <a:lnTo>
                    <a:pt x="2544" y="1470"/>
                  </a:lnTo>
                  <a:lnTo>
                    <a:pt x="2564" y="1464"/>
                  </a:lnTo>
                  <a:lnTo>
                    <a:pt x="2584" y="1459"/>
                  </a:lnTo>
                  <a:lnTo>
                    <a:pt x="2604" y="1453"/>
                  </a:lnTo>
                  <a:lnTo>
                    <a:pt x="2611" y="1451"/>
                  </a:lnTo>
                  <a:lnTo>
                    <a:pt x="2617" y="1448"/>
                  </a:lnTo>
                  <a:lnTo>
                    <a:pt x="2621" y="1444"/>
                  </a:lnTo>
                  <a:lnTo>
                    <a:pt x="2625" y="1439"/>
                  </a:lnTo>
                  <a:lnTo>
                    <a:pt x="2627" y="1433"/>
                  </a:lnTo>
                  <a:lnTo>
                    <a:pt x="2628" y="1427"/>
                  </a:lnTo>
                  <a:lnTo>
                    <a:pt x="2630" y="1421"/>
                  </a:lnTo>
                  <a:lnTo>
                    <a:pt x="2630" y="1415"/>
                  </a:lnTo>
                  <a:lnTo>
                    <a:pt x="2628" y="1411"/>
                  </a:lnTo>
                  <a:lnTo>
                    <a:pt x="2626" y="1405"/>
                  </a:lnTo>
                  <a:lnTo>
                    <a:pt x="2624" y="1400"/>
                  </a:lnTo>
                  <a:lnTo>
                    <a:pt x="2619" y="1397"/>
                  </a:lnTo>
                  <a:lnTo>
                    <a:pt x="2615" y="1393"/>
                  </a:lnTo>
                  <a:lnTo>
                    <a:pt x="2610" y="1392"/>
                  </a:lnTo>
                  <a:lnTo>
                    <a:pt x="2604" y="1391"/>
                  </a:lnTo>
                  <a:lnTo>
                    <a:pt x="2597" y="1392"/>
                  </a:lnTo>
                  <a:close/>
                </a:path>
              </a:pathLst>
            </a:custGeom>
            <a:solidFill>
              <a:srgbClr val="ACCACE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6653" tIns="58327" rIns="116653" bIns="58327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434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137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5" name="Freeform 45"/>
            <p:cNvSpPr>
              <a:spLocks noEditPoints="1"/>
            </p:cNvSpPr>
            <p:nvPr/>
          </p:nvSpPr>
          <p:spPr bwMode="auto">
            <a:xfrm>
              <a:off x="500" y="2140"/>
              <a:ext cx="668" cy="567"/>
            </a:xfrm>
            <a:custGeom>
              <a:avLst/>
              <a:gdLst>
                <a:gd name="T0" fmla="*/ 1830 w 2674"/>
                <a:gd name="T1" fmla="*/ 1964 h 2270"/>
                <a:gd name="T2" fmla="*/ 2033 w 2674"/>
                <a:gd name="T3" fmla="*/ 1895 h 2270"/>
                <a:gd name="T4" fmla="*/ 2378 w 2674"/>
                <a:gd name="T5" fmla="*/ 1904 h 2270"/>
                <a:gd name="T6" fmla="*/ 2515 w 2674"/>
                <a:gd name="T7" fmla="*/ 1714 h 2270"/>
                <a:gd name="T8" fmla="*/ 2628 w 2674"/>
                <a:gd name="T9" fmla="*/ 1449 h 2270"/>
                <a:gd name="T10" fmla="*/ 2549 w 2674"/>
                <a:gd name="T11" fmla="*/ 1217 h 2270"/>
                <a:gd name="T12" fmla="*/ 2424 w 2674"/>
                <a:gd name="T13" fmla="*/ 1101 h 2270"/>
                <a:gd name="T14" fmla="*/ 2179 w 2674"/>
                <a:gd name="T15" fmla="*/ 998 h 2270"/>
                <a:gd name="T16" fmla="*/ 2128 w 2674"/>
                <a:gd name="T17" fmla="*/ 957 h 2270"/>
                <a:gd name="T18" fmla="*/ 2179 w 2674"/>
                <a:gd name="T19" fmla="*/ 725 h 2270"/>
                <a:gd name="T20" fmla="*/ 1992 w 2674"/>
                <a:gd name="T21" fmla="*/ 713 h 2270"/>
                <a:gd name="T22" fmla="*/ 1767 w 2674"/>
                <a:gd name="T23" fmla="*/ 550 h 2270"/>
                <a:gd name="T24" fmla="*/ 1601 w 2674"/>
                <a:gd name="T25" fmla="*/ 406 h 2270"/>
                <a:gd name="T26" fmla="*/ 1430 w 2674"/>
                <a:gd name="T27" fmla="*/ 253 h 2270"/>
                <a:gd name="T28" fmla="*/ 1181 w 2674"/>
                <a:gd name="T29" fmla="*/ 128 h 2270"/>
                <a:gd name="T30" fmla="*/ 949 w 2674"/>
                <a:gd name="T31" fmla="*/ 164 h 2270"/>
                <a:gd name="T32" fmla="*/ 678 w 2674"/>
                <a:gd name="T33" fmla="*/ 349 h 2270"/>
                <a:gd name="T34" fmla="*/ 469 w 2674"/>
                <a:gd name="T35" fmla="*/ 490 h 2270"/>
                <a:gd name="T36" fmla="*/ 389 w 2674"/>
                <a:gd name="T37" fmla="*/ 704 h 2270"/>
                <a:gd name="T38" fmla="*/ 293 w 2674"/>
                <a:gd name="T39" fmla="*/ 969 h 2270"/>
                <a:gd name="T40" fmla="*/ 136 w 2674"/>
                <a:gd name="T41" fmla="*/ 1299 h 2270"/>
                <a:gd name="T42" fmla="*/ 52 w 2674"/>
                <a:gd name="T43" fmla="*/ 1487 h 2270"/>
                <a:gd name="T44" fmla="*/ 146 w 2674"/>
                <a:gd name="T45" fmla="*/ 1807 h 2270"/>
                <a:gd name="T46" fmla="*/ 291 w 2674"/>
                <a:gd name="T47" fmla="*/ 1992 h 2270"/>
                <a:gd name="T48" fmla="*/ 496 w 2674"/>
                <a:gd name="T49" fmla="*/ 2179 h 2270"/>
                <a:gd name="T50" fmla="*/ 795 w 2674"/>
                <a:gd name="T51" fmla="*/ 2225 h 2270"/>
                <a:gd name="T52" fmla="*/ 1082 w 2674"/>
                <a:gd name="T53" fmla="*/ 2201 h 2270"/>
                <a:gd name="T54" fmla="*/ 1253 w 2674"/>
                <a:gd name="T55" fmla="*/ 2150 h 2270"/>
                <a:gd name="T56" fmla="*/ 1523 w 2674"/>
                <a:gd name="T57" fmla="*/ 2167 h 2270"/>
                <a:gd name="T58" fmla="*/ 1670 w 2674"/>
                <a:gd name="T59" fmla="*/ 2106 h 2270"/>
                <a:gd name="T60" fmla="*/ 1458 w 2674"/>
                <a:gd name="T61" fmla="*/ 2108 h 2270"/>
                <a:gd name="T62" fmla="*/ 1201 w 2674"/>
                <a:gd name="T63" fmla="*/ 2172 h 2270"/>
                <a:gd name="T64" fmla="*/ 1055 w 2674"/>
                <a:gd name="T65" fmla="*/ 2240 h 2270"/>
                <a:gd name="T66" fmla="*/ 749 w 2674"/>
                <a:gd name="T67" fmla="*/ 2252 h 2270"/>
                <a:gd name="T68" fmla="*/ 461 w 2674"/>
                <a:gd name="T69" fmla="*/ 2207 h 2270"/>
                <a:gd name="T70" fmla="*/ 292 w 2674"/>
                <a:gd name="T71" fmla="*/ 2037 h 2270"/>
                <a:gd name="T72" fmla="*/ 160 w 2674"/>
                <a:gd name="T73" fmla="*/ 1866 h 2270"/>
                <a:gd name="T74" fmla="*/ 46 w 2674"/>
                <a:gd name="T75" fmla="*/ 1548 h 2270"/>
                <a:gd name="T76" fmla="*/ 63 w 2674"/>
                <a:gd name="T77" fmla="*/ 1336 h 2270"/>
                <a:gd name="T78" fmla="*/ 127 w 2674"/>
                <a:gd name="T79" fmla="*/ 1117 h 2270"/>
                <a:gd name="T80" fmla="*/ 204 w 2674"/>
                <a:gd name="T81" fmla="*/ 909 h 2270"/>
                <a:gd name="T82" fmla="*/ 317 w 2674"/>
                <a:gd name="T83" fmla="*/ 708 h 2270"/>
                <a:gd name="T84" fmla="*/ 428 w 2674"/>
                <a:gd name="T85" fmla="*/ 520 h 2270"/>
                <a:gd name="T86" fmla="*/ 569 w 2674"/>
                <a:gd name="T87" fmla="*/ 352 h 2270"/>
                <a:gd name="T88" fmla="*/ 716 w 2674"/>
                <a:gd name="T89" fmla="*/ 205 h 2270"/>
                <a:gd name="T90" fmla="*/ 929 w 2674"/>
                <a:gd name="T91" fmla="*/ 50 h 2270"/>
                <a:gd name="T92" fmla="*/ 1163 w 2674"/>
                <a:gd name="T93" fmla="*/ 64 h 2270"/>
                <a:gd name="T94" fmla="*/ 1422 w 2674"/>
                <a:gd name="T95" fmla="*/ 205 h 2270"/>
                <a:gd name="T96" fmla="*/ 1518 w 2674"/>
                <a:gd name="T97" fmla="*/ 380 h 2270"/>
                <a:gd name="T98" fmla="*/ 1633 w 2674"/>
                <a:gd name="T99" fmla="*/ 515 h 2270"/>
                <a:gd name="T100" fmla="*/ 1860 w 2674"/>
                <a:gd name="T101" fmla="*/ 696 h 2270"/>
                <a:gd name="T102" fmla="*/ 1989 w 2674"/>
                <a:gd name="T103" fmla="*/ 794 h 2270"/>
                <a:gd name="T104" fmla="*/ 2204 w 2674"/>
                <a:gd name="T105" fmla="*/ 685 h 2270"/>
                <a:gd name="T106" fmla="*/ 2244 w 2674"/>
                <a:gd name="T107" fmla="*/ 902 h 2270"/>
                <a:gd name="T108" fmla="*/ 2316 w 2674"/>
                <a:gd name="T109" fmla="*/ 978 h 2270"/>
                <a:gd name="T110" fmla="*/ 2548 w 2674"/>
                <a:gd name="T111" fmla="*/ 1037 h 2270"/>
                <a:gd name="T112" fmla="*/ 2575 w 2674"/>
                <a:gd name="T113" fmla="*/ 1156 h 2270"/>
                <a:gd name="T114" fmla="*/ 2614 w 2674"/>
                <a:gd name="T115" fmla="*/ 1393 h 2270"/>
                <a:gd name="T116" fmla="*/ 2526 w 2674"/>
                <a:gd name="T117" fmla="*/ 1612 h 2270"/>
                <a:gd name="T118" fmla="*/ 2429 w 2674"/>
                <a:gd name="T119" fmla="*/ 1720 h 2270"/>
                <a:gd name="T120" fmla="*/ 2358 w 2674"/>
                <a:gd name="T121" fmla="*/ 1944 h 2270"/>
                <a:gd name="T122" fmla="*/ 2066 w 2674"/>
                <a:gd name="T123" fmla="*/ 1970 h 2270"/>
                <a:gd name="T124" fmla="*/ 1918 w 2674"/>
                <a:gd name="T125" fmla="*/ 2052 h 22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674" h="2270">
                  <a:moveTo>
                    <a:pt x="1690" y="2000"/>
                  </a:moveTo>
                  <a:lnTo>
                    <a:pt x="1693" y="2022"/>
                  </a:lnTo>
                  <a:lnTo>
                    <a:pt x="1697" y="2041"/>
                  </a:lnTo>
                  <a:lnTo>
                    <a:pt x="1701" y="2060"/>
                  </a:lnTo>
                  <a:lnTo>
                    <a:pt x="1707" y="2079"/>
                  </a:lnTo>
                  <a:lnTo>
                    <a:pt x="1713" y="2098"/>
                  </a:lnTo>
                  <a:lnTo>
                    <a:pt x="1721" y="2118"/>
                  </a:lnTo>
                  <a:lnTo>
                    <a:pt x="1730" y="2137"/>
                  </a:lnTo>
                  <a:lnTo>
                    <a:pt x="1738" y="2156"/>
                  </a:lnTo>
                  <a:lnTo>
                    <a:pt x="1749" y="2174"/>
                  </a:lnTo>
                  <a:lnTo>
                    <a:pt x="1751" y="2177"/>
                  </a:lnTo>
                  <a:lnTo>
                    <a:pt x="1753" y="2179"/>
                  </a:lnTo>
                  <a:lnTo>
                    <a:pt x="1757" y="2180"/>
                  </a:lnTo>
                  <a:lnTo>
                    <a:pt x="1760" y="2180"/>
                  </a:lnTo>
                  <a:lnTo>
                    <a:pt x="1766" y="2178"/>
                  </a:lnTo>
                  <a:lnTo>
                    <a:pt x="1769" y="2176"/>
                  </a:lnTo>
                  <a:lnTo>
                    <a:pt x="1767" y="2172"/>
                  </a:lnTo>
                  <a:lnTo>
                    <a:pt x="1757" y="2152"/>
                  </a:lnTo>
                  <a:lnTo>
                    <a:pt x="1747" y="2132"/>
                  </a:lnTo>
                  <a:lnTo>
                    <a:pt x="1739" y="2112"/>
                  </a:lnTo>
                  <a:lnTo>
                    <a:pt x="1732" y="2093"/>
                  </a:lnTo>
                  <a:lnTo>
                    <a:pt x="1725" y="2073"/>
                  </a:lnTo>
                  <a:lnTo>
                    <a:pt x="1719" y="2054"/>
                  </a:lnTo>
                  <a:lnTo>
                    <a:pt x="1716" y="2035"/>
                  </a:lnTo>
                  <a:lnTo>
                    <a:pt x="1712" y="2015"/>
                  </a:lnTo>
                  <a:lnTo>
                    <a:pt x="1709" y="1995"/>
                  </a:lnTo>
                  <a:lnTo>
                    <a:pt x="1727" y="1991"/>
                  </a:lnTo>
                  <a:lnTo>
                    <a:pt x="1763" y="1982"/>
                  </a:lnTo>
                  <a:lnTo>
                    <a:pt x="1797" y="1973"/>
                  </a:lnTo>
                  <a:lnTo>
                    <a:pt x="1830" y="1964"/>
                  </a:lnTo>
                  <a:lnTo>
                    <a:pt x="1863" y="1954"/>
                  </a:lnTo>
                  <a:lnTo>
                    <a:pt x="1876" y="1951"/>
                  </a:lnTo>
                  <a:lnTo>
                    <a:pt x="1885" y="1960"/>
                  </a:lnTo>
                  <a:lnTo>
                    <a:pt x="1906" y="1982"/>
                  </a:lnTo>
                  <a:lnTo>
                    <a:pt x="1929" y="2004"/>
                  </a:lnTo>
                  <a:lnTo>
                    <a:pt x="1940" y="2013"/>
                  </a:lnTo>
                  <a:lnTo>
                    <a:pt x="1953" y="2022"/>
                  </a:lnTo>
                  <a:lnTo>
                    <a:pt x="1966" y="2032"/>
                  </a:lnTo>
                  <a:lnTo>
                    <a:pt x="1979" y="2040"/>
                  </a:lnTo>
                  <a:lnTo>
                    <a:pt x="1984" y="2039"/>
                  </a:lnTo>
                  <a:lnTo>
                    <a:pt x="1986" y="2038"/>
                  </a:lnTo>
                  <a:lnTo>
                    <a:pt x="1989" y="2037"/>
                  </a:lnTo>
                  <a:lnTo>
                    <a:pt x="1990" y="2034"/>
                  </a:lnTo>
                  <a:lnTo>
                    <a:pt x="1991" y="2032"/>
                  </a:lnTo>
                  <a:lnTo>
                    <a:pt x="1991" y="2030"/>
                  </a:lnTo>
                  <a:lnTo>
                    <a:pt x="1990" y="2027"/>
                  </a:lnTo>
                  <a:lnTo>
                    <a:pt x="1989" y="2026"/>
                  </a:lnTo>
                  <a:lnTo>
                    <a:pt x="1986" y="2022"/>
                  </a:lnTo>
                  <a:lnTo>
                    <a:pt x="1983" y="2021"/>
                  </a:lnTo>
                  <a:lnTo>
                    <a:pt x="1964" y="2010"/>
                  </a:lnTo>
                  <a:lnTo>
                    <a:pt x="1948" y="1995"/>
                  </a:lnTo>
                  <a:lnTo>
                    <a:pt x="1932" y="1982"/>
                  </a:lnTo>
                  <a:lnTo>
                    <a:pt x="1919" y="1970"/>
                  </a:lnTo>
                  <a:lnTo>
                    <a:pt x="1895" y="1945"/>
                  </a:lnTo>
                  <a:lnTo>
                    <a:pt x="1929" y="1934"/>
                  </a:lnTo>
                  <a:lnTo>
                    <a:pt x="1952" y="1926"/>
                  </a:lnTo>
                  <a:lnTo>
                    <a:pt x="1976" y="1918"/>
                  </a:lnTo>
                  <a:lnTo>
                    <a:pt x="1999" y="1908"/>
                  </a:lnTo>
                  <a:lnTo>
                    <a:pt x="2022" y="1900"/>
                  </a:lnTo>
                  <a:lnTo>
                    <a:pt x="2033" y="1895"/>
                  </a:lnTo>
                  <a:lnTo>
                    <a:pt x="2043" y="1902"/>
                  </a:lnTo>
                  <a:lnTo>
                    <a:pt x="2056" y="1912"/>
                  </a:lnTo>
                  <a:lnTo>
                    <a:pt x="2071" y="1921"/>
                  </a:lnTo>
                  <a:lnTo>
                    <a:pt x="2086" y="1931"/>
                  </a:lnTo>
                  <a:lnTo>
                    <a:pt x="2104" y="1941"/>
                  </a:lnTo>
                  <a:lnTo>
                    <a:pt x="2108" y="1940"/>
                  </a:lnTo>
                  <a:lnTo>
                    <a:pt x="2111" y="1939"/>
                  </a:lnTo>
                  <a:lnTo>
                    <a:pt x="2112" y="1937"/>
                  </a:lnTo>
                  <a:lnTo>
                    <a:pt x="2114" y="1935"/>
                  </a:lnTo>
                  <a:lnTo>
                    <a:pt x="2115" y="1931"/>
                  </a:lnTo>
                  <a:lnTo>
                    <a:pt x="2114" y="1927"/>
                  </a:lnTo>
                  <a:lnTo>
                    <a:pt x="2110" y="1925"/>
                  </a:lnTo>
                  <a:lnTo>
                    <a:pt x="2108" y="1922"/>
                  </a:lnTo>
                  <a:lnTo>
                    <a:pt x="2101" y="1918"/>
                  </a:lnTo>
                  <a:lnTo>
                    <a:pt x="2094" y="1914"/>
                  </a:lnTo>
                  <a:lnTo>
                    <a:pt x="2052" y="1888"/>
                  </a:lnTo>
                  <a:lnTo>
                    <a:pt x="2091" y="1872"/>
                  </a:lnTo>
                  <a:lnTo>
                    <a:pt x="2130" y="1854"/>
                  </a:lnTo>
                  <a:lnTo>
                    <a:pt x="2168" y="1837"/>
                  </a:lnTo>
                  <a:lnTo>
                    <a:pt x="2204" y="1818"/>
                  </a:lnTo>
                  <a:lnTo>
                    <a:pt x="2238" y="1799"/>
                  </a:lnTo>
                  <a:lnTo>
                    <a:pt x="2250" y="1792"/>
                  </a:lnTo>
                  <a:lnTo>
                    <a:pt x="2262" y="1799"/>
                  </a:lnTo>
                  <a:lnTo>
                    <a:pt x="2277" y="1809"/>
                  </a:lnTo>
                  <a:lnTo>
                    <a:pt x="2292" y="1821"/>
                  </a:lnTo>
                  <a:lnTo>
                    <a:pt x="2307" y="1834"/>
                  </a:lnTo>
                  <a:lnTo>
                    <a:pt x="2321" y="1847"/>
                  </a:lnTo>
                  <a:lnTo>
                    <a:pt x="2349" y="1873"/>
                  </a:lnTo>
                  <a:lnTo>
                    <a:pt x="2375" y="1901"/>
                  </a:lnTo>
                  <a:lnTo>
                    <a:pt x="2378" y="1904"/>
                  </a:lnTo>
                  <a:lnTo>
                    <a:pt x="2381" y="1905"/>
                  </a:lnTo>
                  <a:lnTo>
                    <a:pt x="2384" y="1905"/>
                  </a:lnTo>
                  <a:lnTo>
                    <a:pt x="2387" y="1905"/>
                  </a:lnTo>
                  <a:lnTo>
                    <a:pt x="2393" y="1901"/>
                  </a:lnTo>
                  <a:lnTo>
                    <a:pt x="2395" y="1898"/>
                  </a:lnTo>
                  <a:lnTo>
                    <a:pt x="2395" y="1897"/>
                  </a:lnTo>
                  <a:lnTo>
                    <a:pt x="2393" y="1894"/>
                  </a:lnTo>
                  <a:lnTo>
                    <a:pt x="2369" y="1868"/>
                  </a:lnTo>
                  <a:lnTo>
                    <a:pt x="2345" y="1845"/>
                  </a:lnTo>
                  <a:lnTo>
                    <a:pt x="2321" y="1821"/>
                  </a:lnTo>
                  <a:lnTo>
                    <a:pt x="2294" y="1800"/>
                  </a:lnTo>
                  <a:lnTo>
                    <a:pt x="2270" y="1780"/>
                  </a:lnTo>
                  <a:lnTo>
                    <a:pt x="2296" y="1764"/>
                  </a:lnTo>
                  <a:lnTo>
                    <a:pt x="2323" y="1746"/>
                  </a:lnTo>
                  <a:lnTo>
                    <a:pt x="2349" y="1727"/>
                  </a:lnTo>
                  <a:lnTo>
                    <a:pt x="2374" y="1708"/>
                  </a:lnTo>
                  <a:lnTo>
                    <a:pt x="2397" y="1689"/>
                  </a:lnTo>
                  <a:lnTo>
                    <a:pt x="2403" y="1685"/>
                  </a:lnTo>
                  <a:lnTo>
                    <a:pt x="2408" y="1680"/>
                  </a:lnTo>
                  <a:lnTo>
                    <a:pt x="2423" y="1666"/>
                  </a:lnTo>
                  <a:lnTo>
                    <a:pt x="2437" y="1674"/>
                  </a:lnTo>
                  <a:lnTo>
                    <a:pt x="2456" y="1686"/>
                  </a:lnTo>
                  <a:lnTo>
                    <a:pt x="2473" y="1696"/>
                  </a:lnTo>
                  <a:lnTo>
                    <a:pt x="2488" y="1707"/>
                  </a:lnTo>
                  <a:lnTo>
                    <a:pt x="2502" y="1718"/>
                  </a:lnTo>
                  <a:lnTo>
                    <a:pt x="2506" y="1719"/>
                  </a:lnTo>
                  <a:lnTo>
                    <a:pt x="2508" y="1719"/>
                  </a:lnTo>
                  <a:lnTo>
                    <a:pt x="2510" y="1719"/>
                  </a:lnTo>
                  <a:lnTo>
                    <a:pt x="2514" y="1716"/>
                  </a:lnTo>
                  <a:lnTo>
                    <a:pt x="2515" y="1714"/>
                  </a:lnTo>
                  <a:lnTo>
                    <a:pt x="2517" y="1711"/>
                  </a:lnTo>
                  <a:lnTo>
                    <a:pt x="2517" y="1708"/>
                  </a:lnTo>
                  <a:lnTo>
                    <a:pt x="2517" y="1707"/>
                  </a:lnTo>
                  <a:lnTo>
                    <a:pt x="2516" y="1705"/>
                  </a:lnTo>
                  <a:lnTo>
                    <a:pt x="2514" y="1702"/>
                  </a:lnTo>
                  <a:lnTo>
                    <a:pt x="2502" y="1694"/>
                  </a:lnTo>
                  <a:lnTo>
                    <a:pt x="2489" y="1685"/>
                  </a:lnTo>
                  <a:lnTo>
                    <a:pt x="2475" y="1676"/>
                  </a:lnTo>
                  <a:lnTo>
                    <a:pt x="2460" y="1667"/>
                  </a:lnTo>
                  <a:lnTo>
                    <a:pt x="2438" y="1653"/>
                  </a:lnTo>
                  <a:lnTo>
                    <a:pt x="2455" y="1634"/>
                  </a:lnTo>
                  <a:lnTo>
                    <a:pt x="2469" y="1616"/>
                  </a:lnTo>
                  <a:lnTo>
                    <a:pt x="2482" y="1599"/>
                  </a:lnTo>
                  <a:lnTo>
                    <a:pt x="2493" y="1582"/>
                  </a:lnTo>
                  <a:lnTo>
                    <a:pt x="2502" y="1565"/>
                  </a:lnTo>
                  <a:lnTo>
                    <a:pt x="2509" y="1547"/>
                  </a:lnTo>
                  <a:lnTo>
                    <a:pt x="2516" y="1529"/>
                  </a:lnTo>
                  <a:lnTo>
                    <a:pt x="2521" y="1512"/>
                  </a:lnTo>
                  <a:lnTo>
                    <a:pt x="2523" y="1494"/>
                  </a:lnTo>
                  <a:lnTo>
                    <a:pt x="2526" y="1480"/>
                  </a:lnTo>
                  <a:lnTo>
                    <a:pt x="2540" y="1476"/>
                  </a:lnTo>
                  <a:lnTo>
                    <a:pt x="2555" y="1472"/>
                  </a:lnTo>
                  <a:lnTo>
                    <a:pt x="2569" y="1468"/>
                  </a:lnTo>
                  <a:lnTo>
                    <a:pt x="2582" y="1465"/>
                  </a:lnTo>
                  <a:lnTo>
                    <a:pt x="2595" y="1461"/>
                  </a:lnTo>
                  <a:lnTo>
                    <a:pt x="2608" y="1457"/>
                  </a:lnTo>
                  <a:lnTo>
                    <a:pt x="2621" y="1454"/>
                  </a:lnTo>
                  <a:lnTo>
                    <a:pt x="2624" y="1453"/>
                  </a:lnTo>
                  <a:lnTo>
                    <a:pt x="2627" y="1452"/>
                  </a:lnTo>
                  <a:lnTo>
                    <a:pt x="2628" y="1449"/>
                  </a:lnTo>
                  <a:lnTo>
                    <a:pt x="2629" y="1447"/>
                  </a:lnTo>
                  <a:lnTo>
                    <a:pt x="2629" y="1442"/>
                  </a:lnTo>
                  <a:lnTo>
                    <a:pt x="2629" y="1440"/>
                  </a:lnTo>
                  <a:lnTo>
                    <a:pt x="2629" y="1436"/>
                  </a:lnTo>
                  <a:lnTo>
                    <a:pt x="2628" y="1435"/>
                  </a:lnTo>
                  <a:lnTo>
                    <a:pt x="2626" y="1435"/>
                  </a:lnTo>
                  <a:lnTo>
                    <a:pt x="2624" y="1435"/>
                  </a:lnTo>
                  <a:lnTo>
                    <a:pt x="2610" y="1439"/>
                  </a:lnTo>
                  <a:lnTo>
                    <a:pt x="2594" y="1442"/>
                  </a:lnTo>
                  <a:lnTo>
                    <a:pt x="2579" y="1446"/>
                  </a:lnTo>
                  <a:lnTo>
                    <a:pt x="2564" y="1449"/>
                  </a:lnTo>
                  <a:lnTo>
                    <a:pt x="2509" y="1462"/>
                  </a:lnTo>
                  <a:lnTo>
                    <a:pt x="2506" y="1437"/>
                  </a:lnTo>
                  <a:lnTo>
                    <a:pt x="2503" y="1421"/>
                  </a:lnTo>
                  <a:lnTo>
                    <a:pt x="2501" y="1404"/>
                  </a:lnTo>
                  <a:lnTo>
                    <a:pt x="2497" y="1388"/>
                  </a:lnTo>
                  <a:lnTo>
                    <a:pt x="2493" y="1370"/>
                  </a:lnTo>
                  <a:lnTo>
                    <a:pt x="2487" y="1353"/>
                  </a:lnTo>
                  <a:lnTo>
                    <a:pt x="2480" y="1335"/>
                  </a:lnTo>
                  <a:lnTo>
                    <a:pt x="2470" y="1316"/>
                  </a:lnTo>
                  <a:lnTo>
                    <a:pt x="2460" y="1299"/>
                  </a:lnTo>
                  <a:lnTo>
                    <a:pt x="2450" y="1276"/>
                  </a:lnTo>
                  <a:lnTo>
                    <a:pt x="2477" y="1266"/>
                  </a:lnTo>
                  <a:lnTo>
                    <a:pt x="2489" y="1261"/>
                  </a:lnTo>
                  <a:lnTo>
                    <a:pt x="2500" y="1255"/>
                  </a:lnTo>
                  <a:lnTo>
                    <a:pt x="2511" y="1248"/>
                  </a:lnTo>
                  <a:lnTo>
                    <a:pt x="2521" y="1241"/>
                  </a:lnTo>
                  <a:lnTo>
                    <a:pt x="2531" y="1234"/>
                  </a:lnTo>
                  <a:lnTo>
                    <a:pt x="2541" y="1226"/>
                  </a:lnTo>
                  <a:lnTo>
                    <a:pt x="2549" y="1217"/>
                  </a:lnTo>
                  <a:lnTo>
                    <a:pt x="2557" y="1208"/>
                  </a:lnTo>
                  <a:lnTo>
                    <a:pt x="2559" y="1206"/>
                  </a:lnTo>
                  <a:lnTo>
                    <a:pt x="2560" y="1203"/>
                  </a:lnTo>
                  <a:lnTo>
                    <a:pt x="2560" y="1202"/>
                  </a:lnTo>
                  <a:lnTo>
                    <a:pt x="2560" y="1200"/>
                  </a:lnTo>
                  <a:lnTo>
                    <a:pt x="2557" y="1197"/>
                  </a:lnTo>
                  <a:lnTo>
                    <a:pt x="2554" y="1195"/>
                  </a:lnTo>
                  <a:lnTo>
                    <a:pt x="2551" y="1194"/>
                  </a:lnTo>
                  <a:lnTo>
                    <a:pt x="2548" y="1194"/>
                  </a:lnTo>
                  <a:lnTo>
                    <a:pt x="2546" y="1194"/>
                  </a:lnTo>
                  <a:lnTo>
                    <a:pt x="2543" y="1197"/>
                  </a:lnTo>
                  <a:lnTo>
                    <a:pt x="2535" y="1207"/>
                  </a:lnTo>
                  <a:lnTo>
                    <a:pt x="2526" y="1215"/>
                  </a:lnTo>
                  <a:lnTo>
                    <a:pt x="2516" y="1223"/>
                  </a:lnTo>
                  <a:lnTo>
                    <a:pt x="2507" y="1230"/>
                  </a:lnTo>
                  <a:lnTo>
                    <a:pt x="2495" y="1237"/>
                  </a:lnTo>
                  <a:lnTo>
                    <a:pt x="2483" y="1243"/>
                  </a:lnTo>
                  <a:lnTo>
                    <a:pt x="2471" y="1249"/>
                  </a:lnTo>
                  <a:lnTo>
                    <a:pt x="2457" y="1254"/>
                  </a:lnTo>
                  <a:lnTo>
                    <a:pt x="2443" y="1259"/>
                  </a:lnTo>
                  <a:lnTo>
                    <a:pt x="2434" y="1246"/>
                  </a:lnTo>
                  <a:lnTo>
                    <a:pt x="2418" y="1228"/>
                  </a:lnTo>
                  <a:lnTo>
                    <a:pt x="2403" y="1209"/>
                  </a:lnTo>
                  <a:lnTo>
                    <a:pt x="2387" y="1190"/>
                  </a:lnTo>
                  <a:lnTo>
                    <a:pt x="2368" y="1171"/>
                  </a:lnTo>
                  <a:lnTo>
                    <a:pt x="2350" y="1151"/>
                  </a:lnTo>
                  <a:lnTo>
                    <a:pt x="2373" y="1137"/>
                  </a:lnTo>
                  <a:lnTo>
                    <a:pt x="2390" y="1125"/>
                  </a:lnTo>
                  <a:lnTo>
                    <a:pt x="2407" y="1114"/>
                  </a:lnTo>
                  <a:lnTo>
                    <a:pt x="2424" y="1101"/>
                  </a:lnTo>
                  <a:lnTo>
                    <a:pt x="2441" y="1088"/>
                  </a:lnTo>
                  <a:lnTo>
                    <a:pt x="2455" y="1076"/>
                  </a:lnTo>
                  <a:lnTo>
                    <a:pt x="2470" y="1065"/>
                  </a:lnTo>
                  <a:lnTo>
                    <a:pt x="2486" y="1054"/>
                  </a:lnTo>
                  <a:lnTo>
                    <a:pt x="2501" y="1043"/>
                  </a:lnTo>
                  <a:lnTo>
                    <a:pt x="2502" y="1042"/>
                  </a:lnTo>
                  <a:lnTo>
                    <a:pt x="2503" y="1040"/>
                  </a:lnTo>
                  <a:lnTo>
                    <a:pt x="2504" y="1038"/>
                  </a:lnTo>
                  <a:lnTo>
                    <a:pt x="2503" y="1036"/>
                  </a:lnTo>
                  <a:lnTo>
                    <a:pt x="2501" y="1031"/>
                  </a:lnTo>
                  <a:lnTo>
                    <a:pt x="2497" y="1029"/>
                  </a:lnTo>
                  <a:lnTo>
                    <a:pt x="2495" y="1028"/>
                  </a:lnTo>
                  <a:lnTo>
                    <a:pt x="2493" y="1028"/>
                  </a:lnTo>
                  <a:lnTo>
                    <a:pt x="2490" y="1028"/>
                  </a:lnTo>
                  <a:lnTo>
                    <a:pt x="2488" y="1029"/>
                  </a:lnTo>
                  <a:lnTo>
                    <a:pt x="2474" y="1040"/>
                  </a:lnTo>
                  <a:lnTo>
                    <a:pt x="2461" y="1049"/>
                  </a:lnTo>
                  <a:lnTo>
                    <a:pt x="2447" y="1060"/>
                  </a:lnTo>
                  <a:lnTo>
                    <a:pt x="2434" y="1070"/>
                  </a:lnTo>
                  <a:lnTo>
                    <a:pt x="2414" y="1085"/>
                  </a:lnTo>
                  <a:lnTo>
                    <a:pt x="2394" y="1101"/>
                  </a:lnTo>
                  <a:lnTo>
                    <a:pt x="2373" y="1116"/>
                  </a:lnTo>
                  <a:lnTo>
                    <a:pt x="2350" y="1129"/>
                  </a:lnTo>
                  <a:lnTo>
                    <a:pt x="2336" y="1138"/>
                  </a:lnTo>
                  <a:lnTo>
                    <a:pt x="2324" y="1127"/>
                  </a:lnTo>
                  <a:lnTo>
                    <a:pt x="2298" y="1102"/>
                  </a:lnTo>
                  <a:lnTo>
                    <a:pt x="2271" y="1077"/>
                  </a:lnTo>
                  <a:lnTo>
                    <a:pt x="2242" y="1050"/>
                  </a:lnTo>
                  <a:lnTo>
                    <a:pt x="2210" y="1023"/>
                  </a:lnTo>
                  <a:lnTo>
                    <a:pt x="2179" y="998"/>
                  </a:lnTo>
                  <a:lnTo>
                    <a:pt x="2217" y="987"/>
                  </a:lnTo>
                  <a:lnTo>
                    <a:pt x="2234" y="980"/>
                  </a:lnTo>
                  <a:lnTo>
                    <a:pt x="2249" y="972"/>
                  </a:lnTo>
                  <a:lnTo>
                    <a:pt x="2263" y="965"/>
                  </a:lnTo>
                  <a:lnTo>
                    <a:pt x="2275" y="956"/>
                  </a:lnTo>
                  <a:lnTo>
                    <a:pt x="2287" y="945"/>
                  </a:lnTo>
                  <a:lnTo>
                    <a:pt x="2297" y="935"/>
                  </a:lnTo>
                  <a:lnTo>
                    <a:pt x="2307" y="922"/>
                  </a:lnTo>
                  <a:lnTo>
                    <a:pt x="2315" y="909"/>
                  </a:lnTo>
                  <a:lnTo>
                    <a:pt x="2316" y="905"/>
                  </a:lnTo>
                  <a:lnTo>
                    <a:pt x="2316" y="904"/>
                  </a:lnTo>
                  <a:lnTo>
                    <a:pt x="2312" y="902"/>
                  </a:lnTo>
                  <a:lnTo>
                    <a:pt x="2307" y="901"/>
                  </a:lnTo>
                  <a:lnTo>
                    <a:pt x="2303" y="901"/>
                  </a:lnTo>
                  <a:lnTo>
                    <a:pt x="2301" y="902"/>
                  </a:lnTo>
                  <a:lnTo>
                    <a:pt x="2298" y="903"/>
                  </a:lnTo>
                  <a:lnTo>
                    <a:pt x="2296" y="905"/>
                  </a:lnTo>
                  <a:lnTo>
                    <a:pt x="2291" y="914"/>
                  </a:lnTo>
                  <a:lnTo>
                    <a:pt x="2287" y="921"/>
                  </a:lnTo>
                  <a:lnTo>
                    <a:pt x="2281" y="927"/>
                  </a:lnTo>
                  <a:lnTo>
                    <a:pt x="2275" y="934"/>
                  </a:lnTo>
                  <a:lnTo>
                    <a:pt x="2262" y="944"/>
                  </a:lnTo>
                  <a:lnTo>
                    <a:pt x="2247" y="955"/>
                  </a:lnTo>
                  <a:lnTo>
                    <a:pt x="2230" y="963"/>
                  </a:lnTo>
                  <a:lnTo>
                    <a:pt x="2211" y="970"/>
                  </a:lnTo>
                  <a:lnTo>
                    <a:pt x="2190" y="975"/>
                  </a:lnTo>
                  <a:lnTo>
                    <a:pt x="2166" y="980"/>
                  </a:lnTo>
                  <a:lnTo>
                    <a:pt x="2157" y="981"/>
                  </a:lnTo>
                  <a:lnTo>
                    <a:pt x="2150" y="975"/>
                  </a:lnTo>
                  <a:lnTo>
                    <a:pt x="2128" y="957"/>
                  </a:lnTo>
                  <a:lnTo>
                    <a:pt x="2105" y="938"/>
                  </a:lnTo>
                  <a:lnTo>
                    <a:pt x="2082" y="921"/>
                  </a:lnTo>
                  <a:lnTo>
                    <a:pt x="2058" y="903"/>
                  </a:lnTo>
                  <a:lnTo>
                    <a:pt x="2028" y="878"/>
                  </a:lnTo>
                  <a:lnTo>
                    <a:pt x="2064" y="864"/>
                  </a:lnTo>
                  <a:lnTo>
                    <a:pt x="2076" y="861"/>
                  </a:lnTo>
                  <a:lnTo>
                    <a:pt x="2086" y="855"/>
                  </a:lnTo>
                  <a:lnTo>
                    <a:pt x="2097" y="849"/>
                  </a:lnTo>
                  <a:lnTo>
                    <a:pt x="2106" y="843"/>
                  </a:lnTo>
                  <a:lnTo>
                    <a:pt x="2117" y="837"/>
                  </a:lnTo>
                  <a:lnTo>
                    <a:pt x="2125" y="830"/>
                  </a:lnTo>
                  <a:lnTo>
                    <a:pt x="2135" y="823"/>
                  </a:lnTo>
                  <a:lnTo>
                    <a:pt x="2143" y="815"/>
                  </a:lnTo>
                  <a:lnTo>
                    <a:pt x="2151" y="806"/>
                  </a:lnTo>
                  <a:lnTo>
                    <a:pt x="2158" y="798"/>
                  </a:lnTo>
                  <a:lnTo>
                    <a:pt x="2165" y="789"/>
                  </a:lnTo>
                  <a:lnTo>
                    <a:pt x="2171" y="779"/>
                  </a:lnTo>
                  <a:lnTo>
                    <a:pt x="2178" y="770"/>
                  </a:lnTo>
                  <a:lnTo>
                    <a:pt x="2183" y="759"/>
                  </a:lnTo>
                  <a:lnTo>
                    <a:pt x="2189" y="749"/>
                  </a:lnTo>
                  <a:lnTo>
                    <a:pt x="2194" y="738"/>
                  </a:lnTo>
                  <a:lnTo>
                    <a:pt x="2194" y="736"/>
                  </a:lnTo>
                  <a:lnTo>
                    <a:pt x="2194" y="733"/>
                  </a:lnTo>
                  <a:lnTo>
                    <a:pt x="2194" y="731"/>
                  </a:lnTo>
                  <a:lnTo>
                    <a:pt x="2192" y="729"/>
                  </a:lnTo>
                  <a:lnTo>
                    <a:pt x="2190" y="728"/>
                  </a:lnTo>
                  <a:lnTo>
                    <a:pt x="2188" y="725"/>
                  </a:lnTo>
                  <a:lnTo>
                    <a:pt x="2184" y="725"/>
                  </a:lnTo>
                  <a:lnTo>
                    <a:pt x="2181" y="724"/>
                  </a:lnTo>
                  <a:lnTo>
                    <a:pt x="2179" y="725"/>
                  </a:lnTo>
                  <a:lnTo>
                    <a:pt x="2177" y="729"/>
                  </a:lnTo>
                  <a:lnTo>
                    <a:pt x="2171" y="742"/>
                  </a:lnTo>
                  <a:lnTo>
                    <a:pt x="2165" y="755"/>
                  </a:lnTo>
                  <a:lnTo>
                    <a:pt x="2158" y="766"/>
                  </a:lnTo>
                  <a:lnTo>
                    <a:pt x="2151" y="777"/>
                  </a:lnTo>
                  <a:lnTo>
                    <a:pt x="2143" y="788"/>
                  </a:lnTo>
                  <a:lnTo>
                    <a:pt x="2134" y="797"/>
                  </a:lnTo>
                  <a:lnTo>
                    <a:pt x="2124" y="806"/>
                  </a:lnTo>
                  <a:lnTo>
                    <a:pt x="2115" y="816"/>
                  </a:lnTo>
                  <a:lnTo>
                    <a:pt x="2104" y="823"/>
                  </a:lnTo>
                  <a:lnTo>
                    <a:pt x="2094" y="830"/>
                  </a:lnTo>
                  <a:lnTo>
                    <a:pt x="2082" y="837"/>
                  </a:lnTo>
                  <a:lnTo>
                    <a:pt x="2069" y="843"/>
                  </a:lnTo>
                  <a:lnTo>
                    <a:pt x="2057" y="848"/>
                  </a:lnTo>
                  <a:lnTo>
                    <a:pt x="2043" y="852"/>
                  </a:lnTo>
                  <a:lnTo>
                    <a:pt x="2029" y="856"/>
                  </a:lnTo>
                  <a:lnTo>
                    <a:pt x="2015" y="859"/>
                  </a:lnTo>
                  <a:lnTo>
                    <a:pt x="2005" y="862"/>
                  </a:lnTo>
                  <a:lnTo>
                    <a:pt x="1997" y="856"/>
                  </a:lnTo>
                  <a:lnTo>
                    <a:pt x="1977" y="839"/>
                  </a:lnTo>
                  <a:lnTo>
                    <a:pt x="1956" y="824"/>
                  </a:lnTo>
                  <a:lnTo>
                    <a:pt x="1935" y="808"/>
                  </a:lnTo>
                  <a:lnTo>
                    <a:pt x="1913" y="791"/>
                  </a:lnTo>
                  <a:lnTo>
                    <a:pt x="1871" y="759"/>
                  </a:lnTo>
                  <a:lnTo>
                    <a:pt x="1910" y="746"/>
                  </a:lnTo>
                  <a:lnTo>
                    <a:pt x="1931" y="738"/>
                  </a:lnTo>
                  <a:lnTo>
                    <a:pt x="1952" y="730"/>
                  </a:lnTo>
                  <a:lnTo>
                    <a:pt x="1972" y="722"/>
                  </a:lnTo>
                  <a:lnTo>
                    <a:pt x="1991" y="713"/>
                  </a:lnTo>
                  <a:lnTo>
                    <a:pt x="1992" y="713"/>
                  </a:lnTo>
                  <a:lnTo>
                    <a:pt x="1995" y="711"/>
                  </a:lnTo>
                  <a:lnTo>
                    <a:pt x="1996" y="708"/>
                  </a:lnTo>
                  <a:lnTo>
                    <a:pt x="1996" y="703"/>
                  </a:lnTo>
                  <a:lnTo>
                    <a:pt x="1995" y="701"/>
                  </a:lnTo>
                  <a:lnTo>
                    <a:pt x="1992" y="698"/>
                  </a:lnTo>
                  <a:lnTo>
                    <a:pt x="1991" y="697"/>
                  </a:lnTo>
                  <a:lnTo>
                    <a:pt x="1989" y="696"/>
                  </a:lnTo>
                  <a:lnTo>
                    <a:pt x="1986" y="696"/>
                  </a:lnTo>
                  <a:lnTo>
                    <a:pt x="1984" y="697"/>
                  </a:lnTo>
                  <a:lnTo>
                    <a:pt x="1955" y="710"/>
                  </a:lnTo>
                  <a:lnTo>
                    <a:pt x="1923" y="722"/>
                  </a:lnTo>
                  <a:lnTo>
                    <a:pt x="1892" y="732"/>
                  </a:lnTo>
                  <a:lnTo>
                    <a:pt x="1859" y="741"/>
                  </a:lnTo>
                  <a:lnTo>
                    <a:pt x="1850" y="743"/>
                  </a:lnTo>
                  <a:lnTo>
                    <a:pt x="1842" y="737"/>
                  </a:lnTo>
                  <a:lnTo>
                    <a:pt x="1811" y="713"/>
                  </a:lnTo>
                  <a:lnTo>
                    <a:pt x="1780" y="690"/>
                  </a:lnTo>
                  <a:lnTo>
                    <a:pt x="1750" y="666"/>
                  </a:lnTo>
                  <a:lnTo>
                    <a:pt x="1720" y="643"/>
                  </a:lnTo>
                  <a:lnTo>
                    <a:pt x="1703" y="629"/>
                  </a:lnTo>
                  <a:lnTo>
                    <a:pt x="1717" y="612"/>
                  </a:lnTo>
                  <a:lnTo>
                    <a:pt x="1726" y="600"/>
                  </a:lnTo>
                  <a:lnTo>
                    <a:pt x="1736" y="591"/>
                  </a:lnTo>
                  <a:lnTo>
                    <a:pt x="1746" y="580"/>
                  </a:lnTo>
                  <a:lnTo>
                    <a:pt x="1756" y="571"/>
                  </a:lnTo>
                  <a:lnTo>
                    <a:pt x="1764" y="564"/>
                  </a:lnTo>
                  <a:lnTo>
                    <a:pt x="1766" y="562"/>
                  </a:lnTo>
                  <a:lnTo>
                    <a:pt x="1769" y="558"/>
                  </a:lnTo>
                  <a:lnTo>
                    <a:pt x="1769" y="553"/>
                  </a:lnTo>
                  <a:lnTo>
                    <a:pt x="1767" y="550"/>
                  </a:lnTo>
                  <a:lnTo>
                    <a:pt x="1763" y="546"/>
                  </a:lnTo>
                  <a:lnTo>
                    <a:pt x="1758" y="545"/>
                  </a:lnTo>
                  <a:lnTo>
                    <a:pt x="1743" y="558"/>
                  </a:lnTo>
                  <a:lnTo>
                    <a:pt x="1732" y="569"/>
                  </a:lnTo>
                  <a:lnTo>
                    <a:pt x="1721" y="579"/>
                  </a:lnTo>
                  <a:lnTo>
                    <a:pt x="1711" y="590"/>
                  </a:lnTo>
                  <a:lnTo>
                    <a:pt x="1701" y="600"/>
                  </a:lnTo>
                  <a:lnTo>
                    <a:pt x="1689" y="617"/>
                  </a:lnTo>
                  <a:lnTo>
                    <a:pt x="1671" y="604"/>
                  </a:lnTo>
                  <a:lnTo>
                    <a:pt x="1631" y="570"/>
                  </a:lnTo>
                  <a:lnTo>
                    <a:pt x="1593" y="538"/>
                  </a:lnTo>
                  <a:lnTo>
                    <a:pt x="1558" y="507"/>
                  </a:lnTo>
                  <a:lnTo>
                    <a:pt x="1525" y="478"/>
                  </a:lnTo>
                  <a:lnTo>
                    <a:pt x="1491" y="446"/>
                  </a:lnTo>
                  <a:lnTo>
                    <a:pt x="1537" y="440"/>
                  </a:lnTo>
                  <a:lnTo>
                    <a:pt x="1556" y="437"/>
                  </a:lnTo>
                  <a:lnTo>
                    <a:pt x="1577" y="433"/>
                  </a:lnTo>
                  <a:lnTo>
                    <a:pt x="1598" y="427"/>
                  </a:lnTo>
                  <a:lnTo>
                    <a:pt x="1620" y="419"/>
                  </a:lnTo>
                  <a:lnTo>
                    <a:pt x="1621" y="418"/>
                  </a:lnTo>
                  <a:lnTo>
                    <a:pt x="1624" y="416"/>
                  </a:lnTo>
                  <a:lnTo>
                    <a:pt x="1625" y="413"/>
                  </a:lnTo>
                  <a:lnTo>
                    <a:pt x="1625" y="409"/>
                  </a:lnTo>
                  <a:lnTo>
                    <a:pt x="1624" y="405"/>
                  </a:lnTo>
                  <a:lnTo>
                    <a:pt x="1621" y="403"/>
                  </a:lnTo>
                  <a:lnTo>
                    <a:pt x="1620" y="402"/>
                  </a:lnTo>
                  <a:lnTo>
                    <a:pt x="1618" y="400"/>
                  </a:lnTo>
                  <a:lnTo>
                    <a:pt x="1616" y="400"/>
                  </a:lnTo>
                  <a:lnTo>
                    <a:pt x="1613" y="402"/>
                  </a:lnTo>
                  <a:lnTo>
                    <a:pt x="1601" y="406"/>
                  </a:lnTo>
                  <a:lnTo>
                    <a:pt x="1590" y="410"/>
                  </a:lnTo>
                  <a:lnTo>
                    <a:pt x="1578" y="413"/>
                  </a:lnTo>
                  <a:lnTo>
                    <a:pt x="1567" y="417"/>
                  </a:lnTo>
                  <a:lnTo>
                    <a:pt x="1545" y="420"/>
                  </a:lnTo>
                  <a:lnTo>
                    <a:pt x="1524" y="424"/>
                  </a:lnTo>
                  <a:lnTo>
                    <a:pt x="1507" y="425"/>
                  </a:lnTo>
                  <a:lnTo>
                    <a:pt x="1490" y="427"/>
                  </a:lnTo>
                  <a:lnTo>
                    <a:pt x="1473" y="429"/>
                  </a:lnTo>
                  <a:lnTo>
                    <a:pt x="1466" y="422"/>
                  </a:lnTo>
                  <a:lnTo>
                    <a:pt x="1442" y="397"/>
                  </a:lnTo>
                  <a:lnTo>
                    <a:pt x="1420" y="373"/>
                  </a:lnTo>
                  <a:lnTo>
                    <a:pt x="1398" y="350"/>
                  </a:lnTo>
                  <a:lnTo>
                    <a:pt x="1379" y="326"/>
                  </a:lnTo>
                  <a:lnTo>
                    <a:pt x="1358" y="300"/>
                  </a:lnTo>
                  <a:lnTo>
                    <a:pt x="1390" y="291"/>
                  </a:lnTo>
                  <a:lnTo>
                    <a:pt x="1410" y="285"/>
                  </a:lnTo>
                  <a:lnTo>
                    <a:pt x="1427" y="276"/>
                  </a:lnTo>
                  <a:lnTo>
                    <a:pt x="1445" y="266"/>
                  </a:lnTo>
                  <a:lnTo>
                    <a:pt x="1460" y="254"/>
                  </a:lnTo>
                  <a:lnTo>
                    <a:pt x="1461" y="253"/>
                  </a:lnTo>
                  <a:lnTo>
                    <a:pt x="1464" y="251"/>
                  </a:lnTo>
                  <a:lnTo>
                    <a:pt x="1464" y="247"/>
                  </a:lnTo>
                  <a:lnTo>
                    <a:pt x="1462" y="244"/>
                  </a:lnTo>
                  <a:lnTo>
                    <a:pt x="1461" y="240"/>
                  </a:lnTo>
                  <a:lnTo>
                    <a:pt x="1459" y="238"/>
                  </a:lnTo>
                  <a:lnTo>
                    <a:pt x="1457" y="237"/>
                  </a:lnTo>
                  <a:lnTo>
                    <a:pt x="1454" y="237"/>
                  </a:lnTo>
                  <a:lnTo>
                    <a:pt x="1451" y="239"/>
                  </a:lnTo>
                  <a:lnTo>
                    <a:pt x="1440" y="246"/>
                  </a:lnTo>
                  <a:lnTo>
                    <a:pt x="1430" y="253"/>
                  </a:lnTo>
                  <a:lnTo>
                    <a:pt x="1419" y="259"/>
                  </a:lnTo>
                  <a:lnTo>
                    <a:pt x="1407" y="265"/>
                  </a:lnTo>
                  <a:lnTo>
                    <a:pt x="1395" y="270"/>
                  </a:lnTo>
                  <a:lnTo>
                    <a:pt x="1382" y="273"/>
                  </a:lnTo>
                  <a:lnTo>
                    <a:pt x="1369" y="277"/>
                  </a:lnTo>
                  <a:lnTo>
                    <a:pt x="1355" y="280"/>
                  </a:lnTo>
                  <a:lnTo>
                    <a:pt x="1344" y="283"/>
                  </a:lnTo>
                  <a:lnTo>
                    <a:pt x="1335" y="272"/>
                  </a:lnTo>
                  <a:lnTo>
                    <a:pt x="1320" y="254"/>
                  </a:lnTo>
                  <a:lnTo>
                    <a:pt x="1305" y="238"/>
                  </a:lnTo>
                  <a:lnTo>
                    <a:pt x="1289" y="223"/>
                  </a:lnTo>
                  <a:lnTo>
                    <a:pt x="1274" y="210"/>
                  </a:lnTo>
                  <a:lnTo>
                    <a:pt x="1258" y="197"/>
                  </a:lnTo>
                  <a:lnTo>
                    <a:pt x="1241" y="185"/>
                  </a:lnTo>
                  <a:lnTo>
                    <a:pt x="1225" y="174"/>
                  </a:lnTo>
                  <a:lnTo>
                    <a:pt x="1208" y="165"/>
                  </a:lnTo>
                  <a:lnTo>
                    <a:pt x="1193" y="157"/>
                  </a:lnTo>
                  <a:lnTo>
                    <a:pt x="1198" y="140"/>
                  </a:lnTo>
                  <a:lnTo>
                    <a:pt x="1201" y="126"/>
                  </a:lnTo>
                  <a:lnTo>
                    <a:pt x="1205" y="112"/>
                  </a:lnTo>
                  <a:lnTo>
                    <a:pt x="1206" y="106"/>
                  </a:lnTo>
                  <a:lnTo>
                    <a:pt x="1206" y="101"/>
                  </a:lnTo>
                  <a:lnTo>
                    <a:pt x="1204" y="99"/>
                  </a:lnTo>
                  <a:lnTo>
                    <a:pt x="1201" y="97"/>
                  </a:lnTo>
                  <a:lnTo>
                    <a:pt x="1199" y="97"/>
                  </a:lnTo>
                  <a:lnTo>
                    <a:pt x="1196" y="97"/>
                  </a:lnTo>
                  <a:lnTo>
                    <a:pt x="1192" y="98"/>
                  </a:lnTo>
                  <a:lnTo>
                    <a:pt x="1189" y="99"/>
                  </a:lnTo>
                  <a:lnTo>
                    <a:pt x="1186" y="113"/>
                  </a:lnTo>
                  <a:lnTo>
                    <a:pt x="1181" y="128"/>
                  </a:lnTo>
                  <a:lnTo>
                    <a:pt x="1176" y="150"/>
                  </a:lnTo>
                  <a:lnTo>
                    <a:pt x="1155" y="144"/>
                  </a:lnTo>
                  <a:lnTo>
                    <a:pt x="1140" y="140"/>
                  </a:lnTo>
                  <a:lnTo>
                    <a:pt x="1126" y="138"/>
                  </a:lnTo>
                  <a:lnTo>
                    <a:pt x="1112" y="135"/>
                  </a:lnTo>
                  <a:lnTo>
                    <a:pt x="1096" y="134"/>
                  </a:lnTo>
                  <a:lnTo>
                    <a:pt x="1081" y="134"/>
                  </a:lnTo>
                  <a:lnTo>
                    <a:pt x="1067" y="134"/>
                  </a:lnTo>
                  <a:lnTo>
                    <a:pt x="1052" y="137"/>
                  </a:lnTo>
                  <a:lnTo>
                    <a:pt x="1036" y="138"/>
                  </a:lnTo>
                  <a:lnTo>
                    <a:pt x="1019" y="141"/>
                  </a:lnTo>
                  <a:lnTo>
                    <a:pt x="1012" y="124"/>
                  </a:lnTo>
                  <a:lnTo>
                    <a:pt x="1006" y="104"/>
                  </a:lnTo>
                  <a:lnTo>
                    <a:pt x="1000" y="85"/>
                  </a:lnTo>
                  <a:lnTo>
                    <a:pt x="994" y="66"/>
                  </a:lnTo>
                  <a:lnTo>
                    <a:pt x="989" y="47"/>
                  </a:lnTo>
                  <a:lnTo>
                    <a:pt x="986" y="45"/>
                  </a:lnTo>
                  <a:lnTo>
                    <a:pt x="980" y="44"/>
                  </a:lnTo>
                  <a:lnTo>
                    <a:pt x="976" y="46"/>
                  </a:lnTo>
                  <a:lnTo>
                    <a:pt x="974" y="50"/>
                  </a:lnTo>
                  <a:lnTo>
                    <a:pt x="973" y="54"/>
                  </a:lnTo>
                  <a:lnTo>
                    <a:pt x="974" y="59"/>
                  </a:lnTo>
                  <a:lnTo>
                    <a:pt x="977" y="74"/>
                  </a:lnTo>
                  <a:lnTo>
                    <a:pt x="982" y="91"/>
                  </a:lnTo>
                  <a:lnTo>
                    <a:pt x="988" y="107"/>
                  </a:lnTo>
                  <a:lnTo>
                    <a:pt x="993" y="125"/>
                  </a:lnTo>
                  <a:lnTo>
                    <a:pt x="1000" y="145"/>
                  </a:lnTo>
                  <a:lnTo>
                    <a:pt x="980" y="152"/>
                  </a:lnTo>
                  <a:lnTo>
                    <a:pt x="965" y="158"/>
                  </a:lnTo>
                  <a:lnTo>
                    <a:pt x="949" y="164"/>
                  </a:lnTo>
                  <a:lnTo>
                    <a:pt x="934" y="171"/>
                  </a:lnTo>
                  <a:lnTo>
                    <a:pt x="919" y="178"/>
                  </a:lnTo>
                  <a:lnTo>
                    <a:pt x="887" y="196"/>
                  </a:lnTo>
                  <a:lnTo>
                    <a:pt x="855" y="216"/>
                  </a:lnTo>
                  <a:lnTo>
                    <a:pt x="846" y="221"/>
                  </a:lnTo>
                  <a:lnTo>
                    <a:pt x="835" y="217"/>
                  </a:lnTo>
                  <a:lnTo>
                    <a:pt x="819" y="210"/>
                  </a:lnTo>
                  <a:lnTo>
                    <a:pt x="803" y="203"/>
                  </a:lnTo>
                  <a:lnTo>
                    <a:pt x="789" y="196"/>
                  </a:lnTo>
                  <a:lnTo>
                    <a:pt x="776" y="188"/>
                  </a:lnTo>
                  <a:lnTo>
                    <a:pt x="770" y="186"/>
                  </a:lnTo>
                  <a:lnTo>
                    <a:pt x="766" y="185"/>
                  </a:lnTo>
                  <a:lnTo>
                    <a:pt x="763" y="186"/>
                  </a:lnTo>
                  <a:lnTo>
                    <a:pt x="761" y="188"/>
                  </a:lnTo>
                  <a:lnTo>
                    <a:pt x="760" y="192"/>
                  </a:lnTo>
                  <a:lnTo>
                    <a:pt x="760" y="197"/>
                  </a:lnTo>
                  <a:lnTo>
                    <a:pt x="760" y="199"/>
                  </a:lnTo>
                  <a:lnTo>
                    <a:pt x="761" y="200"/>
                  </a:lnTo>
                  <a:lnTo>
                    <a:pt x="769" y="205"/>
                  </a:lnTo>
                  <a:lnTo>
                    <a:pt x="777" y="210"/>
                  </a:lnTo>
                  <a:lnTo>
                    <a:pt x="787" y="214"/>
                  </a:lnTo>
                  <a:lnTo>
                    <a:pt x="796" y="219"/>
                  </a:lnTo>
                  <a:lnTo>
                    <a:pt x="827" y="234"/>
                  </a:lnTo>
                  <a:lnTo>
                    <a:pt x="800" y="256"/>
                  </a:lnTo>
                  <a:lnTo>
                    <a:pt x="776" y="276"/>
                  </a:lnTo>
                  <a:lnTo>
                    <a:pt x="751" y="297"/>
                  </a:lnTo>
                  <a:lnTo>
                    <a:pt x="728" y="320"/>
                  </a:lnTo>
                  <a:lnTo>
                    <a:pt x="703" y="345"/>
                  </a:lnTo>
                  <a:lnTo>
                    <a:pt x="693" y="356"/>
                  </a:lnTo>
                  <a:lnTo>
                    <a:pt x="678" y="349"/>
                  </a:lnTo>
                  <a:lnTo>
                    <a:pt x="664" y="343"/>
                  </a:lnTo>
                  <a:lnTo>
                    <a:pt x="649" y="337"/>
                  </a:lnTo>
                  <a:lnTo>
                    <a:pt x="634" y="332"/>
                  </a:lnTo>
                  <a:lnTo>
                    <a:pt x="618" y="329"/>
                  </a:lnTo>
                  <a:lnTo>
                    <a:pt x="615" y="329"/>
                  </a:lnTo>
                  <a:lnTo>
                    <a:pt x="613" y="330"/>
                  </a:lnTo>
                  <a:lnTo>
                    <a:pt x="611" y="332"/>
                  </a:lnTo>
                  <a:lnTo>
                    <a:pt x="610" y="334"/>
                  </a:lnTo>
                  <a:lnTo>
                    <a:pt x="610" y="336"/>
                  </a:lnTo>
                  <a:lnTo>
                    <a:pt x="610" y="339"/>
                  </a:lnTo>
                  <a:lnTo>
                    <a:pt x="611" y="343"/>
                  </a:lnTo>
                  <a:lnTo>
                    <a:pt x="614" y="345"/>
                  </a:lnTo>
                  <a:lnTo>
                    <a:pt x="618" y="347"/>
                  </a:lnTo>
                  <a:lnTo>
                    <a:pt x="634" y="351"/>
                  </a:lnTo>
                  <a:lnTo>
                    <a:pt x="650" y="357"/>
                  </a:lnTo>
                  <a:lnTo>
                    <a:pt x="681" y="369"/>
                  </a:lnTo>
                  <a:lnTo>
                    <a:pt x="660" y="392"/>
                  </a:lnTo>
                  <a:lnTo>
                    <a:pt x="637" y="417"/>
                  </a:lnTo>
                  <a:lnTo>
                    <a:pt x="616" y="444"/>
                  </a:lnTo>
                  <a:lnTo>
                    <a:pt x="594" y="471"/>
                  </a:lnTo>
                  <a:lnTo>
                    <a:pt x="572" y="498"/>
                  </a:lnTo>
                  <a:lnTo>
                    <a:pt x="564" y="510"/>
                  </a:lnTo>
                  <a:lnTo>
                    <a:pt x="550" y="507"/>
                  </a:lnTo>
                  <a:lnTo>
                    <a:pt x="535" y="503"/>
                  </a:lnTo>
                  <a:lnTo>
                    <a:pt x="517" y="499"/>
                  </a:lnTo>
                  <a:lnTo>
                    <a:pt x="501" y="495"/>
                  </a:lnTo>
                  <a:lnTo>
                    <a:pt x="482" y="489"/>
                  </a:lnTo>
                  <a:lnTo>
                    <a:pt x="476" y="487"/>
                  </a:lnTo>
                  <a:lnTo>
                    <a:pt x="472" y="489"/>
                  </a:lnTo>
                  <a:lnTo>
                    <a:pt x="469" y="490"/>
                  </a:lnTo>
                  <a:lnTo>
                    <a:pt x="467" y="493"/>
                  </a:lnTo>
                  <a:lnTo>
                    <a:pt x="467" y="497"/>
                  </a:lnTo>
                  <a:lnTo>
                    <a:pt x="468" y="502"/>
                  </a:lnTo>
                  <a:lnTo>
                    <a:pt x="469" y="504"/>
                  </a:lnTo>
                  <a:lnTo>
                    <a:pt x="482" y="507"/>
                  </a:lnTo>
                  <a:lnTo>
                    <a:pt x="495" y="511"/>
                  </a:lnTo>
                  <a:lnTo>
                    <a:pt x="508" y="516"/>
                  </a:lnTo>
                  <a:lnTo>
                    <a:pt x="521" y="518"/>
                  </a:lnTo>
                  <a:lnTo>
                    <a:pt x="551" y="526"/>
                  </a:lnTo>
                  <a:lnTo>
                    <a:pt x="534" y="552"/>
                  </a:lnTo>
                  <a:lnTo>
                    <a:pt x="510" y="585"/>
                  </a:lnTo>
                  <a:lnTo>
                    <a:pt x="488" y="619"/>
                  </a:lnTo>
                  <a:lnTo>
                    <a:pt x="465" y="653"/>
                  </a:lnTo>
                  <a:lnTo>
                    <a:pt x="444" y="689"/>
                  </a:lnTo>
                  <a:lnTo>
                    <a:pt x="434" y="706"/>
                  </a:lnTo>
                  <a:lnTo>
                    <a:pt x="416" y="697"/>
                  </a:lnTo>
                  <a:lnTo>
                    <a:pt x="403" y="691"/>
                  </a:lnTo>
                  <a:lnTo>
                    <a:pt x="390" y="684"/>
                  </a:lnTo>
                  <a:lnTo>
                    <a:pt x="379" y="678"/>
                  </a:lnTo>
                  <a:lnTo>
                    <a:pt x="369" y="672"/>
                  </a:lnTo>
                  <a:lnTo>
                    <a:pt x="364" y="670"/>
                  </a:lnTo>
                  <a:lnTo>
                    <a:pt x="359" y="670"/>
                  </a:lnTo>
                  <a:lnTo>
                    <a:pt x="357" y="670"/>
                  </a:lnTo>
                  <a:lnTo>
                    <a:pt x="354" y="672"/>
                  </a:lnTo>
                  <a:lnTo>
                    <a:pt x="352" y="676"/>
                  </a:lnTo>
                  <a:lnTo>
                    <a:pt x="352" y="681"/>
                  </a:lnTo>
                  <a:lnTo>
                    <a:pt x="354" y="684"/>
                  </a:lnTo>
                  <a:lnTo>
                    <a:pt x="365" y="691"/>
                  </a:lnTo>
                  <a:lnTo>
                    <a:pt x="377" y="697"/>
                  </a:lnTo>
                  <a:lnTo>
                    <a:pt x="389" y="704"/>
                  </a:lnTo>
                  <a:lnTo>
                    <a:pt x="403" y="711"/>
                  </a:lnTo>
                  <a:lnTo>
                    <a:pt x="424" y="722"/>
                  </a:lnTo>
                  <a:lnTo>
                    <a:pt x="412" y="742"/>
                  </a:lnTo>
                  <a:lnTo>
                    <a:pt x="394" y="775"/>
                  </a:lnTo>
                  <a:lnTo>
                    <a:pt x="375" y="808"/>
                  </a:lnTo>
                  <a:lnTo>
                    <a:pt x="357" y="842"/>
                  </a:lnTo>
                  <a:lnTo>
                    <a:pt x="338" y="876"/>
                  </a:lnTo>
                  <a:lnTo>
                    <a:pt x="330" y="894"/>
                  </a:lnTo>
                  <a:lnTo>
                    <a:pt x="312" y="887"/>
                  </a:lnTo>
                  <a:lnTo>
                    <a:pt x="296" y="881"/>
                  </a:lnTo>
                  <a:lnTo>
                    <a:pt x="278" y="875"/>
                  </a:lnTo>
                  <a:lnTo>
                    <a:pt x="262" y="870"/>
                  </a:lnTo>
                  <a:lnTo>
                    <a:pt x="244" y="867"/>
                  </a:lnTo>
                  <a:lnTo>
                    <a:pt x="242" y="867"/>
                  </a:lnTo>
                  <a:lnTo>
                    <a:pt x="241" y="867"/>
                  </a:lnTo>
                  <a:lnTo>
                    <a:pt x="238" y="868"/>
                  </a:lnTo>
                  <a:lnTo>
                    <a:pt x="238" y="869"/>
                  </a:lnTo>
                  <a:lnTo>
                    <a:pt x="236" y="872"/>
                  </a:lnTo>
                  <a:lnTo>
                    <a:pt x="236" y="875"/>
                  </a:lnTo>
                  <a:lnTo>
                    <a:pt x="236" y="878"/>
                  </a:lnTo>
                  <a:lnTo>
                    <a:pt x="238" y="882"/>
                  </a:lnTo>
                  <a:lnTo>
                    <a:pt x="241" y="884"/>
                  </a:lnTo>
                  <a:lnTo>
                    <a:pt x="244" y="885"/>
                  </a:lnTo>
                  <a:lnTo>
                    <a:pt x="259" y="889"/>
                  </a:lnTo>
                  <a:lnTo>
                    <a:pt x="273" y="892"/>
                  </a:lnTo>
                  <a:lnTo>
                    <a:pt x="288" y="897"/>
                  </a:lnTo>
                  <a:lnTo>
                    <a:pt x="299" y="901"/>
                  </a:lnTo>
                  <a:lnTo>
                    <a:pt x="322" y="909"/>
                  </a:lnTo>
                  <a:lnTo>
                    <a:pt x="311" y="931"/>
                  </a:lnTo>
                  <a:lnTo>
                    <a:pt x="293" y="969"/>
                  </a:lnTo>
                  <a:lnTo>
                    <a:pt x="275" y="1008"/>
                  </a:lnTo>
                  <a:lnTo>
                    <a:pt x="258" y="1045"/>
                  </a:lnTo>
                  <a:lnTo>
                    <a:pt x="241" y="1084"/>
                  </a:lnTo>
                  <a:lnTo>
                    <a:pt x="231" y="1107"/>
                  </a:lnTo>
                  <a:lnTo>
                    <a:pt x="202" y="1090"/>
                  </a:lnTo>
                  <a:lnTo>
                    <a:pt x="192" y="1084"/>
                  </a:lnTo>
                  <a:lnTo>
                    <a:pt x="184" y="1080"/>
                  </a:lnTo>
                  <a:lnTo>
                    <a:pt x="175" y="1074"/>
                  </a:lnTo>
                  <a:lnTo>
                    <a:pt x="166" y="1068"/>
                  </a:lnTo>
                  <a:lnTo>
                    <a:pt x="162" y="1067"/>
                  </a:lnTo>
                  <a:lnTo>
                    <a:pt x="158" y="1065"/>
                  </a:lnTo>
                  <a:lnTo>
                    <a:pt x="155" y="1067"/>
                  </a:lnTo>
                  <a:lnTo>
                    <a:pt x="151" y="1069"/>
                  </a:lnTo>
                  <a:lnTo>
                    <a:pt x="150" y="1073"/>
                  </a:lnTo>
                  <a:lnTo>
                    <a:pt x="150" y="1077"/>
                  </a:lnTo>
                  <a:lnTo>
                    <a:pt x="151" y="1081"/>
                  </a:lnTo>
                  <a:lnTo>
                    <a:pt x="168" y="1091"/>
                  </a:lnTo>
                  <a:lnTo>
                    <a:pt x="184" y="1101"/>
                  </a:lnTo>
                  <a:lnTo>
                    <a:pt x="196" y="1108"/>
                  </a:lnTo>
                  <a:lnTo>
                    <a:pt x="209" y="1115"/>
                  </a:lnTo>
                  <a:lnTo>
                    <a:pt x="224" y="1124"/>
                  </a:lnTo>
                  <a:lnTo>
                    <a:pt x="217" y="1142"/>
                  </a:lnTo>
                  <a:lnTo>
                    <a:pt x="204" y="1173"/>
                  </a:lnTo>
                  <a:lnTo>
                    <a:pt x="192" y="1204"/>
                  </a:lnTo>
                  <a:lnTo>
                    <a:pt x="180" y="1235"/>
                  </a:lnTo>
                  <a:lnTo>
                    <a:pt x="170" y="1266"/>
                  </a:lnTo>
                  <a:lnTo>
                    <a:pt x="168" y="1273"/>
                  </a:lnTo>
                  <a:lnTo>
                    <a:pt x="165" y="1280"/>
                  </a:lnTo>
                  <a:lnTo>
                    <a:pt x="156" y="1306"/>
                  </a:lnTo>
                  <a:lnTo>
                    <a:pt x="136" y="1299"/>
                  </a:lnTo>
                  <a:lnTo>
                    <a:pt x="124" y="1295"/>
                  </a:lnTo>
                  <a:lnTo>
                    <a:pt x="113" y="1290"/>
                  </a:lnTo>
                  <a:lnTo>
                    <a:pt x="102" y="1284"/>
                  </a:lnTo>
                  <a:lnTo>
                    <a:pt x="87" y="1279"/>
                  </a:lnTo>
                  <a:lnTo>
                    <a:pt x="84" y="1277"/>
                  </a:lnTo>
                  <a:lnTo>
                    <a:pt x="82" y="1279"/>
                  </a:lnTo>
                  <a:lnTo>
                    <a:pt x="79" y="1281"/>
                  </a:lnTo>
                  <a:lnTo>
                    <a:pt x="77" y="1283"/>
                  </a:lnTo>
                  <a:lnTo>
                    <a:pt x="77" y="1287"/>
                  </a:lnTo>
                  <a:lnTo>
                    <a:pt x="77" y="1291"/>
                  </a:lnTo>
                  <a:lnTo>
                    <a:pt x="78" y="1294"/>
                  </a:lnTo>
                  <a:lnTo>
                    <a:pt x="79" y="1295"/>
                  </a:lnTo>
                  <a:lnTo>
                    <a:pt x="82" y="1296"/>
                  </a:lnTo>
                  <a:lnTo>
                    <a:pt x="95" y="1302"/>
                  </a:lnTo>
                  <a:lnTo>
                    <a:pt x="107" y="1308"/>
                  </a:lnTo>
                  <a:lnTo>
                    <a:pt x="119" y="1313"/>
                  </a:lnTo>
                  <a:lnTo>
                    <a:pt x="132" y="1316"/>
                  </a:lnTo>
                  <a:lnTo>
                    <a:pt x="151" y="1323"/>
                  </a:lnTo>
                  <a:lnTo>
                    <a:pt x="146" y="1342"/>
                  </a:lnTo>
                  <a:lnTo>
                    <a:pt x="138" y="1375"/>
                  </a:lnTo>
                  <a:lnTo>
                    <a:pt x="132" y="1407"/>
                  </a:lnTo>
                  <a:lnTo>
                    <a:pt x="129" y="1439"/>
                  </a:lnTo>
                  <a:lnTo>
                    <a:pt x="125" y="1469"/>
                  </a:lnTo>
                  <a:lnTo>
                    <a:pt x="124" y="1490"/>
                  </a:lnTo>
                  <a:lnTo>
                    <a:pt x="103" y="1489"/>
                  </a:lnTo>
                  <a:lnTo>
                    <a:pt x="91" y="1489"/>
                  </a:lnTo>
                  <a:lnTo>
                    <a:pt x="79" y="1488"/>
                  </a:lnTo>
                  <a:lnTo>
                    <a:pt x="67" y="1488"/>
                  </a:lnTo>
                  <a:lnTo>
                    <a:pt x="56" y="1487"/>
                  </a:lnTo>
                  <a:lnTo>
                    <a:pt x="52" y="1487"/>
                  </a:lnTo>
                  <a:lnTo>
                    <a:pt x="50" y="1488"/>
                  </a:lnTo>
                  <a:lnTo>
                    <a:pt x="49" y="1489"/>
                  </a:lnTo>
                  <a:lnTo>
                    <a:pt x="46" y="1490"/>
                  </a:lnTo>
                  <a:lnTo>
                    <a:pt x="45" y="1495"/>
                  </a:lnTo>
                  <a:lnTo>
                    <a:pt x="44" y="1499"/>
                  </a:lnTo>
                  <a:lnTo>
                    <a:pt x="44" y="1502"/>
                  </a:lnTo>
                  <a:lnTo>
                    <a:pt x="45" y="1503"/>
                  </a:lnTo>
                  <a:lnTo>
                    <a:pt x="47" y="1505"/>
                  </a:lnTo>
                  <a:lnTo>
                    <a:pt x="50" y="1505"/>
                  </a:lnTo>
                  <a:lnTo>
                    <a:pt x="63" y="1506"/>
                  </a:lnTo>
                  <a:lnTo>
                    <a:pt x="77" y="1507"/>
                  </a:lnTo>
                  <a:lnTo>
                    <a:pt x="91" y="1508"/>
                  </a:lnTo>
                  <a:lnTo>
                    <a:pt x="104" y="1508"/>
                  </a:lnTo>
                  <a:lnTo>
                    <a:pt x="124" y="1509"/>
                  </a:lnTo>
                  <a:lnTo>
                    <a:pt x="125" y="1529"/>
                  </a:lnTo>
                  <a:lnTo>
                    <a:pt x="127" y="1559"/>
                  </a:lnTo>
                  <a:lnTo>
                    <a:pt x="131" y="1588"/>
                  </a:lnTo>
                  <a:lnTo>
                    <a:pt x="137" y="1616"/>
                  </a:lnTo>
                  <a:lnTo>
                    <a:pt x="144" y="1643"/>
                  </a:lnTo>
                  <a:lnTo>
                    <a:pt x="152" y="1672"/>
                  </a:lnTo>
                  <a:lnTo>
                    <a:pt x="163" y="1698"/>
                  </a:lnTo>
                  <a:lnTo>
                    <a:pt x="175" y="1725"/>
                  </a:lnTo>
                  <a:lnTo>
                    <a:pt x="189" y="1749"/>
                  </a:lnTo>
                  <a:lnTo>
                    <a:pt x="197" y="1766"/>
                  </a:lnTo>
                  <a:lnTo>
                    <a:pt x="184" y="1776"/>
                  </a:lnTo>
                  <a:lnTo>
                    <a:pt x="175" y="1785"/>
                  </a:lnTo>
                  <a:lnTo>
                    <a:pt x="165" y="1793"/>
                  </a:lnTo>
                  <a:lnTo>
                    <a:pt x="157" y="1800"/>
                  </a:lnTo>
                  <a:lnTo>
                    <a:pt x="149" y="1806"/>
                  </a:lnTo>
                  <a:lnTo>
                    <a:pt x="146" y="1807"/>
                  </a:lnTo>
                  <a:lnTo>
                    <a:pt x="145" y="1809"/>
                  </a:lnTo>
                  <a:lnTo>
                    <a:pt x="145" y="1812"/>
                  </a:lnTo>
                  <a:lnTo>
                    <a:pt x="145" y="1815"/>
                  </a:lnTo>
                  <a:lnTo>
                    <a:pt x="148" y="1819"/>
                  </a:lnTo>
                  <a:lnTo>
                    <a:pt x="151" y="1821"/>
                  </a:lnTo>
                  <a:lnTo>
                    <a:pt x="153" y="1822"/>
                  </a:lnTo>
                  <a:lnTo>
                    <a:pt x="156" y="1822"/>
                  </a:lnTo>
                  <a:lnTo>
                    <a:pt x="158" y="1821"/>
                  </a:lnTo>
                  <a:lnTo>
                    <a:pt x="159" y="1820"/>
                  </a:lnTo>
                  <a:lnTo>
                    <a:pt x="175" y="1808"/>
                  </a:lnTo>
                  <a:lnTo>
                    <a:pt x="190" y="1796"/>
                  </a:lnTo>
                  <a:lnTo>
                    <a:pt x="208" y="1781"/>
                  </a:lnTo>
                  <a:lnTo>
                    <a:pt x="222" y="1800"/>
                  </a:lnTo>
                  <a:lnTo>
                    <a:pt x="242" y="1825"/>
                  </a:lnTo>
                  <a:lnTo>
                    <a:pt x="263" y="1849"/>
                  </a:lnTo>
                  <a:lnTo>
                    <a:pt x="286" y="1874"/>
                  </a:lnTo>
                  <a:lnTo>
                    <a:pt x="312" y="1897"/>
                  </a:lnTo>
                  <a:lnTo>
                    <a:pt x="324" y="1908"/>
                  </a:lnTo>
                  <a:lnTo>
                    <a:pt x="317" y="1924"/>
                  </a:lnTo>
                  <a:lnTo>
                    <a:pt x="308" y="1940"/>
                  </a:lnTo>
                  <a:lnTo>
                    <a:pt x="298" y="1955"/>
                  </a:lnTo>
                  <a:lnTo>
                    <a:pt x="288" y="1970"/>
                  </a:lnTo>
                  <a:lnTo>
                    <a:pt x="276" y="1981"/>
                  </a:lnTo>
                  <a:lnTo>
                    <a:pt x="273" y="1985"/>
                  </a:lnTo>
                  <a:lnTo>
                    <a:pt x="275" y="1986"/>
                  </a:lnTo>
                  <a:lnTo>
                    <a:pt x="277" y="1990"/>
                  </a:lnTo>
                  <a:lnTo>
                    <a:pt x="283" y="1992"/>
                  </a:lnTo>
                  <a:lnTo>
                    <a:pt x="285" y="1993"/>
                  </a:lnTo>
                  <a:lnTo>
                    <a:pt x="289" y="1993"/>
                  </a:lnTo>
                  <a:lnTo>
                    <a:pt x="291" y="1992"/>
                  </a:lnTo>
                  <a:lnTo>
                    <a:pt x="293" y="1990"/>
                  </a:lnTo>
                  <a:lnTo>
                    <a:pt x="303" y="1979"/>
                  </a:lnTo>
                  <a:lnTo>
                    <a:pt x="312" y="1968"/>
                  </a:lnTo>
                  <a:lnTo>
                    <a:pt x="321" y="1955"/>
                  </a:lnTo>
                  <a:lnTo>
                    <a:pt x="328" y="1942"/>
                  </a:lnTo>
                  <a:lnTo>
                    <a:pt x="341" y="1920"/>
                  </a:lnTo>
                  <a:lnTo>
                    <a:pt x="361" y="1935"/>
                  </a:lnTo>
                  <a:lnTo>
                    <a:pt x="392" y="1958"/>
                  </a:lnTo>
                  <a:lnTo>
                    <a:pt x="425" y="1979"/>
                  </a:lnTo>
                  <a:lnTo>
                    <a:pt x="461" y="1999"/>
                  </a:lnTo>
                  <a:lnTo>
                    <a:pt x="497" y="2018"/>
                  </a:lnTo>
                  <a:lnTo>
                    <a:pt x="508" y="2022"/>
                  </a:lnTo>
                  <a:lnTo>
                    <a:pt x="510" y="2034"/>
                  </a:lnTo>
                  <a:lnTo>
                    <a:pt x="511" y="2048"/>
                  </a:lnTo>
                  <a:lnTo>
                    <a:pt x="514" y="2064"/>
                  </a:lnTo>
                  <a:lnTo>
                    <a:pt x="514" y="2080"/>
                  </a:lnTo>
                  <a:lnTo>
                    <a:pt x="512" y="2097"/>
                  </a:lnTo>
                  <a:lnTo>
                    <a:pt x="510" y="2113"/>
                  </a:lnTo>
                  <a:lnTo>
                    <a:pt x="505" y="2131"/>
                  </a:lnTo>
                  <a:lnTo>
                    <a:pt x="503" y="2139"/>
                  </a:lnTo>
                  <a:lnTo>
                    <a:pt x="498" y="2147"/>
                  </a:lnTo>
                  <a:lnTo>
                    <a:pt x="495" y="2156"/>
                  </a:lnTo>
                  <a:lnTo>
                    <a:pt x="489" y="2163"/>
                  </a:lnTo>
                  <a:lnTo>
                    <a:pt x="488" y="2165"/>
                  </a:lnTo>
                  <a:lnTo>
                    <a:pt x="487" y="2167"/>
                  </a:lnTo>
                  <a:lnTo>
                    <a:pt x="487" y="2170"/>
                  </a:lnTo>
                  <a:lnTo>
                    <a:pt x="489" y="2173"/>
                  </a:lnTo>
                  <a:lnTo>
                    <a:pt x="490" y="2176"/>
                  </a:lnTo>
                  <a:lnTo>
                    <a:pt x="494" y="2178"/>
                  </a:lnTo>
                  <a:lnTo>
                    <a:pt x="496" y="2179"/>
                  </a:lnTo>
                  <a:lnTo>
                    <a:pt x="498" y="2179"/>
                  </a:lnTo>
                  <a:lnTo>
                    <a:pt x="500" y="2179"/>
                  </a:lnTo>
                  <a:lnTo>
                    <a:pt x="503" y="2176"/>
                  </a:lnTo>
                  <a:lnTo>
                    <a:pt x="510" y="2165"/>
                  </a:lnTo>
                  <a:lnTo>
                    <a:pt x="516" y="2152"/>
                  </a:lnTo>
                  <a:lnTo>
                    <a:pt x="522" y="2140"/>
                  </a:lnTo>
                  <a:lnTo>
                    <a:pt x="525" y="2127"/>
                  </a:lnTo>
                  <a:lnTo>
                    <a:pt x="529" y="2113"/>
                  </a:lnTo>
                  <a:lnTo>
                    <a:pt x="530" y="2099"/>
                  </a:lnTo>
                  <a:lnTo>
                    <a:pt x="531" y="2084"/>
                  </a:lnTo>
                  <a:lnTo>
                    <a:pt x="531" y="2067"/>
                  </a:lnTo>
                  <a:lnTo>
                    <a:pt x="530" y="2033"/>
                  </a:lnTo>
                  <a:lnTo>
                    <a:pt x="562" y="2046"/>
                  </a:lnTo>
                  <a:lnTo>
                    <a:pt x="591" y="2058"/>
                  </a:lnTo>
                  <a:lnTo>
                    <a:pt x="620" y="2068"/>
                  </a:lnTo>
                  <a:lnTo>
                    <a:pt x="645" y="2078"/>
                  </a:lnTo>
                  <a:lnTo>
                    <a:pt x="669" y="2085"/>
                  </a:lnTo>
                  <a:lnTo>
                    <a:pt x="704" y="2094"/>
                  </a:lnTo>
                  <a:lnTo>
                    <a:pt x="723" y="2099"/>
                  </a:lnTo>
                  <a:lnTo>
                    <a:pt x="750" y="2099"/>
                  </a:lnTo>
                  <a:lnTo>
                    <a:pt x="755" y="2113"/>
                  </a:lnTo>
                  <a:lnTo>
                    <a:pt x="763" y="2138"/>
                  </a:lnTo>
                  <a:lnTo>
                    <a:pt x="770" y="2164"/>
                  </a:lnTo>
                  <a:lnTo>
                    <a:pt x="776" y="2191"/>
                  </a:lnTo>
                  <a:lnTo>
                    <a:pt x="780" y="2218"/>
                  </a:lnTo>
                  <a:lnTo>
                    <a:pt x="781" y="2221"/>
                  </a:lnTo>
                  <a:lnTo>
                    <a:pt x="783" y="2225"/>
                  </a:lnTo>
                  <a:lnTo>
                    <a:pt x="787" y="2226"/>
                  </a:lnTo>
                  <a:lnTo>
                    <a:pt x="790" y="2226"/>
                  </a:lnTo>
                  <a:lnTo>
                    <a:pt x="795" y="2225"/>
                  </a:lnTo>
                  <a:lnTo>
                    <a:pt x="797" y="2223"/>
                  </a:lnTo>
                  <a:lnTo>
                    <a:pt x="799" y="2220"/>
                  </a:lnTo>
                  <a:lnTo>
                    <a:pt x="799" y="2217"/>
                  </a:lnTo>
                  <a:lnTo>
                    <a:pt x="795" y="2194"/>
                  </a:lnTo>
                  <a:lnTo>
                    <a:pt x="791" y="2172"/>
                  </a:lnTo>
                  <a:lnTo>
                    <a:pt x="786" y="2150"/>
                  </a:lnTo>
                  <a:lnTo>
                    <a:pt x="780" y="2127"/>
                  </a:lnTo>
                  <a:lnTo>
                    <a:pt x="770" y="2100"/>
                  </a:lnTo>
                  <a:lnTo>
                    <a:pt x="800" y="2099"/>
                  </a:lnTo>
                  <a:lnTo>
                    <a:pt x="822" y="2099"/>
                  </a:lnTo>
                  <a:lnTo>
                    <a:pt x="846" y="2099"/>
                  </a:lnTo>
                  <a:lnTo>
                    <a:pt x="869" y="2098"/>
                  </a:lnTo>
                  <a:lnTo>
                    <a:pt x="893" y="2098"/>
                  </a:lnTo>
                  <a:lnTo>
                    <a:pt x="916" y="2097"/>
                  </a:lnTo>
                  <a:lnTo>
                    <a:pt x="941" y="2095"/>
                  </a:lnTo>
                  <a:lnTo>
                    <a:pt x="965" y="2094"/>
                  </a:lnTo>
                  <a:lnTo>
                    <a:pt x="989" y="2093"/>
                  </a:lnTo>
                  <a:lnTo>
                    <a:pt x="1006" y="2092"/>
                  </a:lnTo>
                  <a:lnTo>
                    <a:pt x="1010" y="2108"/>
                  </a:lnTo>
                  <a:lnTo>
                    <a:pt x="1016" y="2121"/>
                  </a:lnTo>
                  <a:lnTo>
                    <a:pt x="1022" y="2134"/>
                  </a:lnTo>
                  <a:lnTo>
                    <a:pt x="1028" y="2147"/>
                  </a:lnTo>
                  <a:lnTo>
                    <a:pt x="1036" y="2159"/>
                  </a:lnTo>
                  <a:lnTo>
                    <a:pt x="1045" y="2170"/>
                  </a:lnTo>
                  <a:lnTo>
                    <a:pt x="1054" y="2180"/>
                  </a:lnTo>
                  <a:lnTo>
                    <a:pt x="1063" y="2191"/>
                  </a:lnTo>
                  <a:lnTo>
                    <a:pt x="1074" y="2200"/>
                  </a:lnTo>
                  <a:lnTo>
                    <a:pt x="1078" y="2203"/>
                  </a:lnTo>
                  <a:lnTo>
                    <a:pt x="1080" y="2203"/>
                  </a:lnTo>
                  <a:lnTo>
                    <a:pt x="1082" y="2201"/>
                  </a:lnTo>
                  <a:lnTo>
                    <a:pt x="1085" y="2200"/>
                  </a:lnTo>
                  <a:lnTo>
                    <a:pt x="1087" y="2197"/>
                  </a:lnTo>
                  <a:lnTo>
                    <a:pt x="1088" y="2193"/>
                  </a:lnTo>
                  <a:lnTo>
                    <a:pt x="1088" y="2191"/>
                  </a:lnTo>
                  <a:lnTo>
                    <a:pt x="1088" y="2188"/>
                  </a:lnTo>
                  <a:lnTo>
                    <a:pt x="1087" y="2187"/>
                  </a:lnTo>
                  <a:lnTo>
                    <a:pt x="1085" y="2185"/>
                  </a:lnTo>
                  <a:lnTo>
                    <a:pt x="1070" y="2172"/>
                  </a:lnTo>
                  <a:lnTo>
                    <a:pt x="1058" y="2157"/>
                  </a:lnTo>
                  <a:lnTo>
                    <a:pt x="1046" y="2139"/>
                  </a:lnTo>
                  <a:lnTo>
                    <a:pt x="1036" y="2120"/>
                  </a:lnTo>
                  <a:lnTo>
                    <a:pt x="1022" y="2092"/>
                  </a:lnTo>
                  <a:lnTo>
                    <a:pt x="1055" y="2090"/>
                  </a:lnTo>
                  <a:lnTo>
                    <a:pt x="1092" y="2087"/>
                  </a:lnTo>
                  <a:lnTo>
                    <a:pt x="1128" y="2084"/>
                  </a:lnTo>
                  <a:lnTo>
                    <a:pt x="1166" y="2081"/>
                  </a:lnTo>
                  <a:lnTo>
                    <a:pt x="1202" y="2078"/>
                  </a:lnTo>
                  <a:lnTo>
                    <a:pt x="1224" y="2075"/>
                  </a:lnTo>
                  <a:lnTo>
                    <a:pt x="1226" y="2095"/>
                  </a:lnTo>
                  <a:lnTo>
                    <a:pt x="1228" y="2112"/>
                  </a:lnTo>
                  <a:lnTo>
                    <a:pt x="1232" y="2126"/>
                  </a:lnTo>
                  <a:lnTo>
                    <a:pt x="1235" y="2138"/>
                  </a:lnTo>
                  <a:lnTo>
                    <a:pt x="1239" y="2150"/>
                  </a:lnTo>
                  <a:lnTo>
                    <a:pt x="1240" y="2152"/>
                  </a:lnTo>
                  <a:lnTo>
                    <a:pt x="1241" y="2153"/>
                  </a:lnTo>
                  <a:lnTo>
                    <a:pt x="1242" y="2153"/>
                  </a:lnTo>
                  <a:lnTo>
                    <a:pt x="1245" y="2153"/>
                  </a:lnTo>
                  <a:lnTo>
                    <a:pt x="1247" y="2153"/>
                  </a:lnTo>
                  <a:lnTo>
                    <a:pt x="1251" y="2152"/>
                  </a:lnTo>
                  <a:lnTo>
                    <a:pt x="1253" y="2150"/>
                  </a:lnTo>
                  <a:lnTo>
                    <a:pt x="1254" y="2147"/>
                  </a:lnTo>
                  <a:lnTo>
                    <a:pt x="1255" y="2144"/>
                  </a:lnTo>
                  <a:lnTo>
                    <a:pt x="1255" y="2139"/>
                  </a:lnTo>
                  <a:lnTo>
                    <a:pt x="1251" y="2127"/>
                  </a:lnTo>
                  <a:lnTo>
                    <a:pt x="1248" y="2115"/>
                  </a:lnTo>
                  <a:lnTo>
                    <a:pt x="1246" y="2104"/>
                  </a:lnTo>
                  <a:lnTo>
                    <a:pt x="1245" y="2093"/>
                  </a:lnTo>
                  <a:lnTo>
                    <a:pt x="1241" y="2067"/>
                  </a:lnTo>
                  <a:lnTo>
                    <a:pt x="1264" y="2065"/>
                  </a:lnTo>
                  <a:lnTo>
                    <a:pt x="1287" y="2063"/>
                  </a:lnTo>
                  <a:lnTo>
                    <a:pt x="1312" y="2059"/>
                  </a:lnTo>
                  <a:lnTo>
                    <a:pt x="1337" y="2057"/>
                  </a:lnTo>
                  <a:lnTo>
                    <a:pt x="1360" y="2054"/>
                  </a:lnTo>
                  <a:lnTo>
                    <a:pt x="1385" y="2052"/>
                  </a:lnTo>
                  <a:lnTo>
                    <a:pt x="1408" y="2048"/>
                  </a:lnTo>
                  <a:lnTo>
                    <a:pt x="1433" y="2046"/>
                  </a:lnTo>
                  <a:lnTo>
                    <a:pt x="1457" y="2043"/>
                  </a:lnTo>
                  <a:lnTo>
                    <a:pt x="1471" y="2041"/>
                  </a:lnTo>
                  <a:lnTo>
                    <a:pt x="1479" y="2054"/>
                  </a:lnTo>
                  <a:lnTo>
                    <a:pt x="1486" y="2066"/>
                  </a:lnTo>
                  <a:lnTo>
                    <a:pt x="1492" y="2078"/>
                  </a:lnTo>
                  <a:lnTo>
                    <a:pt x="1498" y="2091"/>
                  </a:lnTo>
                  <a:lnTo>
                    <a:pt x="1503" y="2104"/>
                  </a:lnTo>
                  <a:lnTo>
                    <a:pt x="1507" y="2117"/>
                  </a:lnTo>
                  <a:lnTo>
                    <a:pt x="1511" y="2131"/>
                  </a:lnTo>
                  <a:lnTo>
                    <a:pt x="1514" y="2145"/>
                  </a:lnTo>
                  <a:lnTo>
                    <a:pt x="1517" y="2160"/>
                  </a:lnTo>
                  <a:lnTo>
                    <a:pt x="1518" y="2164"/>
                  </a:lnTo>
                  <a:lnTo>
                    <a:pt x="1519" y="2166"/>
                  </a:lnTo>
                  <a:lnTo>
                    <a:pt x="1523" y="2167"/>
                  </a:lnTo>
                  <a:lnTo>
                    <a:pt x="1525" y="2167"/>
                  </a:lnTo>
                  <a:lnTo>
                    <a:pt x="1531" y="2166"/>
                  </a:lnTo>
                  <a:lnTo>
                    <a:pt x="1534" y="2164"/>
                  </a:lnTo>
                  <a:lnTo>
                    <a:pt x="1535" y="2163"/>
                  </a:lnTo>
                  <a:lnTo>
                    <a:pt x="1535" y="2158"/>
                  </a:lnTo>
                  <a:lnTo>
                    <a:pt x="1531" y="2134"/>
                  </a:lnTo>
                  <a:lnTo>
                    <a:pt x="1525" y="2110"/>
                  </a:lnTo>
                  <a:lnTo>
                    <a:pt x="1517" y="2087"/>
                  </a:lnTo>
                  <a:lnTo>
                    <a:pt x="1506" y="2065"/>
                  </a:lnTo>
                  <a:lnTo>
                    <a:pt x="1493" y="2039"/>
                  </a:lnTo>
                  <a:lnTo>
                    <a:pt x="1523" y="2034"/>
                  </a:lnTo>
                  <a:lnTo>
                    <a:pt x="1559" y="2027"/>
                  </a:lnTo>
                  <a:lnTo>
                    <a:pt x="1596" y="2020"/>
                  </a:lnTo>
                  <a:lnTo>
                    <a:pt x="1632" y="2013"/>
                  </a:lnTo>
                  <a:lnTo>
                    <a:pt x="1667" y="2005"/>
                  </a:lnTo>
                  <a:lnTo>
                    <a:pt x="1690" y="2000"/>
                  </a:lnTo>
                  <a:close/>
                  <a:moveTo>
                    <a:pt x="1765" y="2224"/>
                  </a:moveTo>
                  <a:lnTo>
                    <a:pt x="1757" y="2224"/>
                  </a:lnTo>
                  <a:lnTo>
                    <a:pt x="1749" y="2223"/>
                  </a:lnTo>
                  <a:lnTo>
                    <a:pt x="1740" y="2221"/>
                  </a:lnTo>
                  <a:lnTo>
                    <a:pt x="1733" y="2218"/>
                  </a:lnTo>
                  <a:lnTo>
                    <a:pt x="1726" y="2213"/>
                  </a:lnTo>
                  <a:lnTo>
                    <a:pt x="1720" y="2208"/>
                  </a:lnTo>
                  <a:lnTo>
                    <a:pt x="1714" y="2203"/>
                  </a:lnTo>
                  <a:lnTo>
                    <a:pt x="1710" y="2196"/>
                  </a:lnTo>
                  <a:lnTo>
                    <a:pt x="1700" y="2178"/>
                  </a:lnTo>
                  <a:lnTo>
                    <a:pt x="1692" y="2160"/>
                  </a:lnTo>
                  <a:lnTo>
                    <a:pt x="1684" y="2141"/>
                  </a:lnTo>
                  <a:lnTo>
                    <a:pt x="1677" y="2124"/>
                  </a:lnTo>
                  <a:lnTo>
                    <a:pt x="1670" y="2106"/>
                  </a:lnTo>
                  <a:lnTo>
                    <a:pt x="1664" y="2088"/>
                  </a:lnTo>
                  <a:lnTo>
                    <a:pt x="1659" y="2071"/>
                  </a:lnTo>
                  <a:lnTo>
                    <a:pt x="1654" y="2053"/>
                  </a:lnTo>
                  <a:lnTo>
                    <a:pt x="1631" y="2058"/>
                  </a:lnTo>
                  <a:lnTo>
                    <a:pt x="1606" y="2063"/>
                  </a:lnTo>
                  <a:lnTo>
                    <a:pt x="1583" y="2067"/>
                  </a:lnTo>
                  <a:lnTo>
                    <a:pt x="1558" y="2072"/>
                  </a:lnTo>
                  <a:lnTo>
                    <a:pt x="1565" y="2092"/>
                  </a:lnTo>
                  <a:lnTo>
                    <a:pt x="1571" y="2112"/>
                  </a:lnTo>
                  <a:lnTo>
                    <a:pt x="1576" y="2132"/>
                  </a:lnTo>
                  <a:lnTo>
                    <a:pt x="1579" y="2153"/>
                  </a:lnTo>
                  <a:lnTo>
                    <a:pt x="1579" y="2163"/>
                  </a:lnTo>
                  <a:lnTo>
                    <a:pt x="1578" y="2173"/>
                  </a:lnTo>
                  <a:lnTo>
                    <a:pt x="1574" y="2183"/>
                  </a:lnTo>
                  <a:lnTo>
                    <a:pt x="1568" y="2191"/>
                  </a:lnTo>
                  <a:lnTo>
                    <a:pt x="1561" y="2198"/>
                  </a:lnTo>
                  <a:lnTo>
                    <a:pt x="1553" y="2204"/>
                  </a:lnTo>
                  <a:lnTo>
                    <a:pt x="1544" y="2208"/>
                  </a:lnTo>
                  <a:lnTo>
                    <a:pt x="1533" y="2211"/>
                  </a:lnTo>
                  <a:lnTo>
                    <a:pt x="1521" y="2211"/>
                  </a:lnTo>
                  <a:lnTo>
                    <a:pt x="1512" y="2210"/>
                  </a:lnTo>
                  <a:lnTo>
                    <a:pt x="1501" y="2206"/>
                  </a:lnTo>
                  <a:lnTo>
                    <a:pt x="1493" y="2200"/>
                  </a:lnTo>
                  <a:lnTo>
                    <a:pt x="1486" y="2194"/>
                  </a:lnTo>
                  <a:lnTo>
                    <a:pt x="1480" y="2186"/>
                  </a:lnTo>
                  <a:lnTo>
                    <a:pt x="1475" y="2177"/>
                  </a:lnTo>
                  <a:lnTo>
                    <a:pt x="1473" y="2166"/>
                  </a:lnTo>
                  <a:lnTo>
                    <a:pt x="1470" y="2146"/>
                  </a:lnTo>
                  <a:lnTo>
                    <a:pt x="1465" y="2126"/>
                  </a:lnTo>
                  <a:lnTo>
                    <a:pt x="1458" y="2108"/>
                  </a:lnTo>
                  <a:lnTo>
                    <a:pt x="1450" y="2091"/>
                  </a:lnTo>
                  <a:lnTo>
                    <a:pt x="1411" y="2097"/>
                  </a:lnTo>
                  <a:lnTo>
                    <a:pt x="1371" y="2101"/>
                  </a:lnTo>
                  <a:lnTo>
                    <a:pt x="1332" y="2107"/>
                  </a:lnTo>
                  <a:lnTo>
                    <a:pt x="1292" y="2112"/>
                  </a:lnTo>
                  <a:lnTo>
                    <a:pt x="1294" y="2118"/>
                  </a:lnTo>
                  <a:lnTo>
                    <a:pt x="1295" y="2124"/>
                  </a:lnTo>
                  <a:lnTo>
                    <a:pt x="1298" y="2130"/>
                  </a:lnTo>
                  <a:lnTo>
                    <a:pt x="1299" y="2137"/>
                  </a:lnTo>
                  <a:lnTo>
                    <a:pt x="1299" y="2143"/>
                  </a:lnTo>
                  <a:lnTo>
                    <a:pt x="1299" y="2148"/>
                  </a:lnTo>
                  <a:lnTo>
                    <a:pt x="1298" y="2153"/>
                  </a:lnTo>
                  <a:lnTo>
                    <a:pt x="1297" y="2159"/>
                  </a:lnTo>
                  <a:lnTo>
                    <a:pt x="1294" y="2165"/>
                  </a:lnTo>
                  <a:lnTo>
                    <a:pt x="1292" y="2171"/>
                  </a:lnTo>
                  <a:lnTo>
                    <a:pt x="1288" y="2176"/>
                  </a:lnTo>
                  <a:lnTo>
                    <a:pt x="1284" y="2180"/>
                  </a:lnTo>
                  <a:lnTo>
                    <a:pt x="1279" y="2185"/>
                  </a:lnTo>
                  <a:lnTo>
                    <a:pt x="1274" y="2188"/>
                  </a:lnTo>
                  <a:lnTo>
                    <a:pt x="1268" y="2191"/>
                  </a:lnTo>
                  <a:lnTo>
                    <a:pt x="1262" y="2194"/>
                  </a:lnTo>
                  <a:lnTo>
                    <a:pt x="1256" y="2196"/>
                  </a:lnTo>
                  <a:lnTo>
                    <a:pt x="1249" y="2197"/>
                  </a:lnTo>
                  <a:lnTo>
                    <a:pt x="1241" y="2197"/>
                  </a:lnTo>
                  <a:lnTo>
                    <a:pt x="1233" y="2197"/>
                  </a:lnTo>
                  <a:lnTo>
                    <a:pt x="1225" y="2193"/>
                  </a:lnTo>
                  <a:lnTo>
                    <a:pt x="1218" y="2190"/>
                  </a:lnTo>
                  <a:lnTo>
                    <a:pt x="1212" y="2185"/>
                  </a:lnTo>
                  <a:lnTo>
                    <a:pt x="1206" y="2179"/>
                  </a:lnTo>
                  <a:lnTo>
                    <a:pt x="1201" y="2172"/>
                  </a:lnTo>
                  <a:lnTo>
                    <a:pt x="1198" y="2164"/>
                  </a:lnTo>
                  <a:lnTo>
                    <a:pt x="1194" y="2154"/>
                  </a:lnTo>
                  <a:lnTo>
                    <a:pt x="1192" y="2145"/>
                  </a:lnTo>
                  <a:lnTo>
                    <a:pt x="1188" y="2134"/>
                  </a:lnTo>
                  <a:lnTo>
                    <a:pt x="1186" y="2123"/>
                  </a:lnTo>
                  <a:lnTo>
                    <a:pt x="1163" y="2125"/>
                  </a:lnTo>
                  <a:lnTo>
                    <a:pt x="1140" y="2127"/>
                  </a:lnTo>
                  <a:lnTo>
                    <a:pt x="1116" y="2128"/>
                  </a:lnTo>
                  <a:lnTo>
                    <a:pt x="1093" y="2131"/>
                  </a:lnTo>
                  <a:lnTo>
                    <a:pt x="1102" y="2141"/>
                  </a:lnTo>
                  <a:lnTo>
                    <a:pt x="1113" y="2151"/>
                  </a:lnTo>
                  <a:lnTo>
                    <a:pt x="1119" y="2157"/>
                  </a:lnTo>
                  <a:lnTo>
                    <a:pt x="1123" y="2163"/>
                  </a:lnTo>
                  <a:lnTo>
                    <a:pt x="1127" y="2170"/>
                  </a:lnTo>
                  <a:lnTo>
                    <a:pt x="1131" y="2176"/>
                  </a:lnTo>
                  <a:lnTo>
                    <a:pt x="1132" y="2184"/>
                  </a:lnTo>
                  <a:lnTo>
                    <a:pt x="1133" y="2191"/>
                  </a:lnTo>
                  <a:lnTo>
                    <a:pt x="1132" y="2198"/>
                  </a:lnTo>
                  <a:lnTo>
                    <a:pt x="1131" y="2206"/>
                  </a:lnTo>
                  <a:lnTo>
                    <a:pt x="1127" y="2213"/>
                  </a:lnTo>
                  <a:lnTo>
                    <a:pt x="1123" y="2221"/>
                  </a:lnTo>
                  <a:lnTo>
                    <a:pt x="1119" y="2227"/>
                  </a:lnTo>
                  <a:lnTo>
                    <a:pt x="1113" y="2233"/>
                  </a:lnTo>
                  <a:lnTo>
                    <a:pt x="1107" y="2238"/>
                  </a:lnTo>
                  <a:lnTo>
                    <a:pt x="1100" y="2241"/>
                  </a:lnTo>
                  <a:lnTo>
                    <a:pt x="1093" y="2244"/>
                  </a:lnTo>
                  <a:lnTo>
                    <a:pt x="1085" y="2246"/>
                  </a:lnTo>
                  <a:lnTo>
                    <a:pt x="1075" y="2246"/>
                  </a:lnTo>
                  <a:lnTo>
                    <a:pt x="1065" y="2244"/>
                  </a:lnTo>
                  <a:lnTo>
                    <a:pt x="1055" y="2240"/>
                  </a:lnTo>
                  <a:lnTo>
                    <a:pt x="1047" y="2234"/>
                  </a:lnTo>
                  <a:lnTo>
                    <a:pt x="1035" y="2224"/>
                  </a:lnTo>
                  <a:lnTo>
                    <a:pt x="1025" y="2213"/>
                  </a:lnTo>
                  <a:lnTo>
                    <a:pt x="1014" y="2203"/>
                  </a:lnTo>
                  <a:lnTo>
                    <a:pt x="1005" y="2191"/>
                  </a:lnTo>
                  <a:lnTo>
                    <a:pt x="996" y="2178"/>
                  </a:lnTo>
                  <a:lnTo>
                    <a:pt x="988" y="2165"/>
                  </a:lnTo>
                  <a:lnTo>
                    <a:pt x="981" y="2152"/>
                  </a:lnTo>
                  <a:lnTo>
                    <a:pt x="975" y="2138"/>
                  </a:lnTo>
                  <a:lnTo>
                    <a:pt x="937" y="2139"/>
                  </a:lnTo>
                  <a:lnTo>
                    <a:pt x="901" y="2140"/>
                  </a:lnTo>
                  <a:lnTo>
                    <a:pt x="864" y="2141"/>
                  </a:lnTo>
                  <a:lnTo>
                    <a:pt x="829" y="2143"/>
                  </a:lnTo>
                  <a:lnTo>
                    <a:pt x="833" y="2159"/>
                  </a:lnTo>
                  <a:lnTo>
                    <a:pt x="836" y="2177"/>
                  </a:lnTo>
                  <a:lnTo>
                    <a:pt x="840" y="2193"/>
                  </a:lnTo>
                  <a:lnTo>
                    <a:pt x="842" y="2211"/>
                  </a:lnTo>
                  <a:lnTo>
                    <a:pt x="842" y="2221"/>
                  </a:lnTo>
                  <a:lnTo>
                    <a:pt x="841" y="2231"/>
                  </a:lnTo>
                  <a:lnTo>
                    <a:pt x="837" y="2240"/>
                  </a:lnTo>
                  <a:lnTo>
                    <a:pt x="833" y="2249"/>
                  </a:lnTo>
                  <a:lnTo>
                    <a:pt x="826" y="2257"/>
                  </a:lnTo>
                  <a:lnTo>
                    <a:pt x="816" y="2263"/>
                  </a:lnTo>
                  <a:lnTo>
                    <a:pt x="807" y="2267"/>
                  </a:lnTo>
                  <a:lnTo>
                    <a:pt x="796" y="2270"/>
                  </a:lnTo>
                  <a:lnTo>
                    <a:pt x="786" y="2270"/>
                  </a:lnTo>
                  <a:lnTo>
                    <a:pt x="775" y="2267"/>
                  </a:lnTo>
                  <a:lnTo>
                    <a:pt x="766" y="2264"/>
                  </a:lnTo>
                  <a:lnTo>
                    <a:pt x="756" y="2259"/>
                  </a:lnTo>
                  <a:lnTo>
                    <a:pt x="749" y="2252"/>
                  </a:lnTo>
                  <a:lnTo>
                    <a:pt x="743" y="2244"/>
                  </a:lnTo>
                  <a:lnTo>
                    <a:pt x="740" y="2234"/>
                  </a:lnTo>
                  <a:lnTo>
                    <a:pt x="737" y="2224"/>
                  </a:lnTo>
                  <a:lnTo>
                    <a:pt x="734" y="2203"/>
                  </a:lnTo>
                  <a:lnTo>
                    <a:pt x="729" y="2181"/>
                  </a:lnTo>
                  <a:lnTo>
                    <a:pt x="724" y="2161"/>
                  </a:lnTo>
                  <a:lnTo>
                    <a:pt x="718" y="2143"/>
                  </a:lnTo>
                  <a:lnTo>
                    <a:pt x="716" y="2143"/>
                  </a:lnTo>
                  <a:lnTo>
                    <a:pt x="703" y="2139"/>
                  </a:lnTo>
                  <a:lnTo>
                    <a:pt x="674" y="2132"/>
                  </a:lnTo>
                  <a:lnTo>
                    <a:pt x="630" y="2118"/>
                  </a:lnTo>
                  <a:lnTo>
                    <a:pt x="575" y="2099"/>
                  </a:lnTo>
                  <a:lnTo>
                    <a:pt x="572" y="2113"/>
                  </a:lnTo>
                  <a:lnTo>
                    <a:pt x="570" y="2127"/>
                  </a:lnTo>
                  <a:lnTo>
                    <a:pt x="568" y="2140"/>
                  </a:lnTo>
                  <a:lnTo>
                    <a:pt x="563" y="2153"/>
                  </a:lnTo>
                  <a:lnTo>
                    <a:pt x="558" y="2166"/>
                  </a:lnTo>
                  <a:lnTo>
                    <a:pt x="552" y="2178"/>
                  </a:lnTo>
                  <a:lnTo>
                    <a:pt x="545" y="2190"/>
                  </a:lnTo>
                  <a:lnTo>
                    <a:pt x="538" y="2201"/>
                  </a:lnTo>
                  <a:lnTo>
                    <a:pt x="531" y="2210"/>
                  </a:lnTo>
                  <a:lnTo>
                    <a:pt x="523" y="2216"/>
                  </a:lnTo>
                  <a:lnTo>
                    <a:pt x="514" y="2220"/>
                  </a:lnTo>
                  <a:lnTo>
                    <a:pt x="504" y="2223"/>
                  </a:lnTo>
                  <a:lnTo>
                    <a:pt x="496" y="2223"/>
                  </a:lnTo>
                  <a:lnTo>
                    <a:pt x="488" y="2223"/>
                  </a:lnTo>
                  <a:lnTo>
                    <a:pt x="481" y="2220"/>
                  </a:lnTo>
                  <a:lnTo>
                    <a:pt x="474" y="2217"/>
                  </a:lnTo>
                  <a:lnTo>
                    <a:pt x="467" y="2213"/>
                  </a:lnTo>
                  <a:lnTo>
                    <a:pt x="461" y="2207"/>
                  </a:lnTo>
                  <a:lnTo>
                    <a:pt x="456" y="2201"/>
                  </a:lnTo>
                  <a:lnTo>
                    <a:pt x="451" y="2196"/>
                  </a:lnTo>
                  <a:lnTo>
                    <a:pt x="448" y="2188"/>
                  </a:lnTo>
                  <a:lnTo>
                    <a:pt x="444" y="2181"/>
                  </a:lnTo>
                  <a:lnTo>
                    <a:pt x="443" y="2173"/>
                  </a:lnTo>
                  <a:lnTo>
                    <a:pt x="443" y="2166"/>
                  </a:lnTo>
                  <a:lnTo>
                    <a:pt x="444" y="2159"/>
                  </a:lnTo>
                  <a:lnTo>
                    <a:pt x="447" y="2151"/>
                  </a:lnTo>
                  <a:lnTo>
                    <a:pt x="449" y="2144"/>
                  </a:lnTo>
                  <a:lnTo>
                    <a:pt x="454" y="2138"/>
                  </a:lnTo>
                  <a:lnTo>
                    <a:pt x="459" y="2127"/>
                  </a:lnTo>
                  <a:lnTo>
                    <a:pt x="464" y="2118"/>
                  </a:lnTo>
                  <a:lnTo>
                    <a:pt x="467" y="2106"/>
                  </a:lnTo>
                  <a:lnTo>
                    <a:pt x="469" y="2095"/>
                  </a:lnTo>
                  <a:lnTo>
                    <a:pt x="470" y="2085"/>
                  </a:lnTo>
                  <a:lnTo>
                    <a:pt x="470" y="2073"/>
                  </a:lnTo>
                  <a:lnTo>
                    <a:pt x="469" y="2063"/>
                  </a:lnTo>
                  <a:lnTo>
                    <a:pt x="468" y="2052"/>
                  </a:lnTo>
                  <a:lnTo>
                    <a:pt x="438" y="2035"/>
                  </a:lnTo>
                  <a:lnTo>
                    <a:pt x="409" y="2020"/>
                  </a:lnTo>
                  <a:lnTo>
                    <a:pt x="381" y="2002"/>
                  </a:lnTo>
                  <a:lnTo>
                    <a:pt x="354" y="1985"/>
                  </a:lnTo>
                  <a:lnTo>
                    <a:pt x="348" y="1994"/>
                  </a:lnTo>
                  <a:lnTo>
                    <a:pt x="341" y="2004"/>
                  </a:lnTo>
                  <a:lnTo>
                    <a:pt x="332" y="2012"/>
                  </a:lnTo>
                  <a:lnTo>
                    <a:pt x="325" y="2020"/>
                  </a:lnTo>
                  <a:lnTo>
                    <a:pt x="318" y="2026"/>
                  </a:lnTo>
                  <a:lnTo>
                    <a:pt x="310" y="2031"/>
                  </a:lnTo>
                  <a:lnTo>
                    <a:pt x="302" y="2034"/>
                  </a:lnTo>
                  <a:lnTo>
                    <a:pt x="292" y="2037"/>
                  </a:lnTo>
                  <a:lnTo>
                    <a:pt x="284" y="2037"/>
                  </a:lnTo>
                  <a:lnTo>
                    <a:pt x="276" y="2035"/>
                  </a:lnTo>
                  <a:lnTo>
                    <a:pt x="266" y="2033"/>
                  </a:lnTo>
                  <a:lnTo>
                    <a:pt x="259" y="2030"/>
                  </a:lnTo>
                  <a:lnTo>
                    <a:pt x="251" y="2025"/>
                  </a:lnTo>
                  <a:lnTo>
                    <a:pt x="245" y="2019"/>
                  </a:lnTo>
                  <a:lnTo>
                    <a:pt x="239" y="2013"/>
                  </a:lnTo>
                  <a:lnTo>
                    <a:pt x="235" y="2005"/>
                  </a:lnTo>
                  <a:lnTo>
                    <a:pt x="232" y="1998"/>
                  </a:lnTo>
                  <a:lnTo>
                    <a:pt x="231" y="1991"/>
                  </a:lnTo>
                  <a:lnTo>
                    <a:pt x="230" y="1984"/>
                  </a:lnTo>
                  <a:lnTo>
                    <a:pt x="231" y="1977"/>
                  </a:lnTo>
                  <a:lnTo>
                    <a:pt x="232" y="1970"/>
                  </a:lnTo>
                  <a:lnTo>
                    <a:pt x="236" y="1964"/>
                  </a:lnTo>
                  <a:lnTo>
                    <a:pt x="239" y="1957"/>
                  </a:lnTo>
                  <a:lnTo>
                    <a:pt x="245" y="1951"/>
                  </a:lnTo>
                  <a:lnTo>
                    <a:pt x="251" y="1944"/>
                  </a:lnTo>
                  <a:lnTo>
                    <a:pt x="258" y="1935"/>
                  </a:lnTo>
                  <a:lnTo>
                    <a:pt x="264" y="1927"/>
                  </a:lnTo>
                  <a:lnTo>
                    <a:pt x="270" y="1918"/>
                  </a:lnTo>
                  <a:lnTo>
                    <a:pt x="251" y="1900"/>
                  </a:lnTo>
                  <a:lnTo>
                    <a:pt x="233" y="1882"/>
                  </a:lnTo>
                  <a:lnTo>
                    <a:pt x="217" y="1864"/>
                  </a:lnTo>
                  <a:lnTo>
                    <a:pt x="200" y="1845"/>
                  </a:lnTo>
                  <a:lnTo>
                    <a:pt x="193" y="1849"/>
                  </a:lnTo>
                  <a:lnTo>
                    <a:pt x="186" y="1855"/>
                  </a:lnTo>
                  <a:lnTo>
                    <a:pt x="180" y="1860"/>
                  </a:lnTo>
                  <a:lnTo>
                    <a:pt x="173" y="1862"/>
                  </a:lnTo>
                  <a:lnTo>
                    <a:pt x="168" y="1865"/>
                  </a:lnTo>
                  <a:lnTo>
                    <a:pt x="160" y="1866"/>
                  </a:lnTo>
                  <a:lnTo>
                    <a:pt x="152" y="1866"/>
                  </a:lnTo>
                  <a:lnTo>
                    <a:pt x="143" y="1865"/>
                  </a:lnTo>
                  <a:lnTo>
                    <a:pt x="135" y="1862"/>
                  </a:lnTo>
                  <a:lnTo>
                    <a:pt x="127" y="1859"/>
                  </a:lnTo>
                  <a:lnTo>
                    <a:pt x="120" y="1853"/>
                  </a:lnTo>
                  <a:lnTo>
                    <a:pt x="115" y="1847"/>
                  </a:lnTo>
                  <a:lnTo>
                    <a:pt x="109" y="1840"/>
                  </a:lnTo>
                  <a:lnTo>
                    <a:pt x="105" y="1831"/>
                  </a:lnTo>
                  <a:lnTo>
                    <a:pt x="102" y="1822"/>
                  </a:lnTo>
                  <a:lnTo>
                    <a:pt x="102" y="1814"/>
                  </a:lnTo>
                  <a:lnTo>
                    <a:pt x="102" y="1806"/>
                  </a:lnTo>
                  <a:lnTo>
                    <a:pt x="103" y="1798"/>
                  </a:lnTo>
                  <a:lnTo>
                    <a:pt x="105" y="1791"/>
                  </a:lnTo>
                  <a:lnTo>
                    <a:pt x="110" y="1784"/>
                  </a:lnTo>
                  <a:lnTo>
                    <a:pt x="116" y="1776"/>
                  </a:lnTo>
                  <a:lnTo>
                    <a:pt x="122" y="1771"/>
                  </a:lnTo>
                  <a:lnTo>
                    <a:pt x="131" y="1764"/>
                  </a:lnTo>
                  <a:lnTo>
                    <a:pt x="142" y="1755"/>
                  </a:lnTo>
                  <a:lnTo>
                    <a:pt x="130" y="1732"/>
                  </a:lnTo>
                  <a:lnTo>
                    <a:pt x="119" y="1707"/>
                  </a:lnTo>
                  <a:lnTo>
                    <a:pt x="110" y="1682"/>
                  </a:lnTo>
                  <a:lnTo>
                    <a:pt x="102" y="1656"/>
                  </a:lnTo>
                  <a:lnTo>
                    <a:pt x="96" y="1630"/>
                  </a:lnTo>
                  <a:lnTo>
                    <a:pt x="90" y="1605"/>
                  </a:lnTo>
                  <a:lnTo>
                    <a:pt x="85" y="1578"/>
                  </a:lnTo>
                  <a:lnTo>
                    <a:pt x="83" y="1552"/>
                  </a:lnTo>
                  <a:lnTo>
                    <a:pt x="73" y="1550"/>
                  </a:lnTo>
                  <a:lnTo>
                    <a:pt x="64" y="1549"/>
                  </a:lnTo>
                  <a:lnTo>
                    <a:pt x="56" y="1549"/>
                  </a:lnTo>
                  <a:lnTo>
                    <a:pt x="46" y="1548"/>
                  </a:lnTo>
                  <a:lnTo>
                    <a:pt x="37" y="1547"/>
                  </a:lnTo>
                  <a:lnTo>
                    <a:pt x="27" y="1543"/>
                  </a:lnTo>
                  <a:lnTo>
                    <a:pt x="20" y="1539"/>
                  </a:lnTo>
                  <a:lnTo>
                    <a:pt x="13" y="1533"/>
                  </a:lnTo>
                  <a:lnTo>
                    <a:pt x="9" y="1527"/>
                  </a:lnTo>
                  <a:lnTo>
                    <a:pt x="4" y="1519"/>
                  </a:lnTo>
                  <a:lnTo>
                    <a:pt x="2" y="1509"/>
                  </a:lnTo>
                  <a:lnTo>
                    <a:pt x="0" y="1500"/>
                  </a:lnTo>
                  <a:lnTo>
                    <a:pt x="2" y="1488"/>
                  </a:lnTo>
                  <a:lnTo>
                    <a:pt x="4" y="1477"/>
                  </a:lnTo>
                  <a:lnTo>
                    <a:pt x="10" y="1467"/>
                  </a:lnTo>
                  <a:lnTo>
                    <a:pt x="17" y="1459"/>
                  </a:lnTo>
                  <a:lnTo>
                    <a:pt x="20" y="1454"/>
                  </a:lnTo>
                  <a:lnTo>
                    <a:pt x="25" y="1452"/>
                  </a:lnTo>
                  <a:lnTo>
                    <a:pt x="30" y="1448"/>
                  </a:lnTo>
                  <a:lnTo>
                    <a:pt x="34" y="1446"/>
                  </a:lnTo>
                  <a:lnTo>
                    <a:pt x="40" y="1445"/>
                  </a:lnTo>
                  <a:lnTo>
                    <a:pt x="46" y="1443"/>
                  </a:lnTo>
                  <a:lnTo>
                    <a:pt x="52" y="1443"/>
                  </a:lnTo>
                  <a:lnTo>
                    <a:pt x="59" y="1443"/>
                  </a:lnTo>
                  <a:lnTo>
                    <a:pt x="71" y="1445"/>
                  </a:lnTo>
                  <a:lnTo>
                    <a:pt x="84" y="1445"/>
                  </a:lnTo>
                  <a:lnTo>
                    <a:pt x="86" y="1422"/>
                  </a:lnTo>
                  <a:lnTo>
                    <a:pt x="90" y="1399"/>
                  </a:lnTo>
                  <a:lnTo>
                    <a:pt x="95" y="1375"/>
                  </a:lnTo>
                  <a:lnTo>
                    <a:pt x="99" y="1352"/>
                  </a:lnTo>
                  <a:lnTo>
                    <a:pt x="90" y="1348"/>
                  </a:lnTo>
                  <a:lnTo>
                    <a:pt x="82" y="1344"/>
                  </a:lnTo>
                  <a:lnTo>
                    <a:pt x="72" y="1340"/>
                  </a:lnTo>
                  <a:lnTo>
                    <a:pt x="63" y="1336"/>
                  </a:lnTo>
                  <a:lnTo>
                    <a:pt x="56" y="1331"/>
                  </a:lnTo>
                  <a:lnTo>
                    <a:pt x="49" y="1327"/>
                  </a:lnTo>
                  <a:lnTo>
                    <a:pt x="43" y="1320"/>
                  </a:lnTo>
                  <a:lnTo>
                    <a:pt x="38" y="1314"/>
                  </a:lnTo>
                  <a:lnTo>
                    <a:pt x="36" y="1306"/>
                  </a:lnTo>
                  <a:lnTo>
                    <a:pt x="33" y="1297"/>
                  </a:lnTo>
                  <a:lnTo>
                    <a:pt x="32" y="1289"/>
                  </a:lnTo>
                  <a:lnTo>
                    <a:pt x="33" y="1280"/>
                  </a:lnTo>
                  <a:lnTo>
                    <a:pt x="36" y="1271"/>
                  </a:lnTo>
                  <a:lnTo>
                    <a:pt x="39" y="1263"/>
                  </a:lnTo>
                  <a:lnTo>
                    <a:pt x="43" y="1256"/>
                  </a:lnTo>
                  <a:lnTo>
                    <a:pt x="49" y="1249"/>
                  </a:lnTo>
                  <a:lnTo>
                    <a:pt x="55" y="1243"/>
                  </a:lnTo>
                  <a:lnTo>
                    <a:pt x="62" y="1240"/>
                  </a:lnTo>
                  <a:lnTo>
                    <a:pt x="70" y="1236"/>
                  </a:lnTo>
                  <a:lnTo>
                    <a:pt x="78" y="1235"/>
                  </a:lnTo>
                  <a:lnTo>
                    <a:pt x="85" y="1234"/>
                  </a:lnTo>
                  <a:lnTo>
                    <a:pt x="92" y="1235"/>
                  </a:lnTo>
                  <a:lnTo>
                    <a:pt x="99" y="1236"/>
                  </a:lnTo>
                  <a:lnTo>
                    <a:pt x="106" y="1238"/>
                  </a:lnTo>
                  <a:lnTo>
                    <a:pt x="118" y="1244"/>
                  </a:lnTo>
                  <a:lnTo>
                    <a:pt x="129" y="1249"/>
                  </a:lnTo>
                  <a:lnTo>
                    <a:pt x="138" y="1223"/>
                  </a:lnTo>
                  <a:lnTo>
                    <a:pt x="149" y="1196"/>
                  </a:lnTo>
                  <a:lnTo>
                    <a:pt x="159" y="1169"/>
                  </a:lnTo>
                  <a:lnTo>
                    <a:pt x="170" y="1143"/>
                  </a:lnTo>
                  <a:lnTo>
                    <a:pt x="166" y="1141"/>
                  </a:lnTo>
                  <a:lnTo>
                    <a:pt x="163" y="1138"/>
                  </a:lnTo>
                  <a:lnTo>
                    <a:pt x="145" y="1128"/>
                  </a:lnTo>
                  <a:lnTo>
                    <a:pt x="127" y="1117"/>
                  </a:lnTo>
                  <a:lnTo>
                    <a:pt x="119" y="1111"/>
                  </a:lnTo>
                  <a:lnTo>
                    <a:pt x="113" y="1104"/>
                  </a:lnTo>
                  <a:lnTo>
                    <a:pt x="109" y="1095"/>
                  </a:lnTo>
                  <a:lnTo>
                    <a:pt x="106" y="1084"/>
                  </a:lnTo>
                  <a:lnTo>
                    <a:pt x="105" y="1074"/>
                  </a:lnTo>
                  <a:lnTo>
                    <a:pt x="107" y="1062"/>
                  </a:lnTo>
                  <a:lnTo>
                    <a:pt x="109" y="1056"/>
                  </a:lnTo>
                  <a:lnTo>
                    <a:pt x="111" y="1051"/>
                  </a:lnTo>
                  <a:lnTo>
                    <a:pt x="113" y="1047"/>
                  </a:lnTo>
                  <a:lnTo>
                    <a:pt x="117" y="1042"/>
                  </a:lnTo>
                  <a:lnTo>
                    <a:pt x="124" y="1035"/>
                  </a:lnTo>
                  <a:lnTo>
                    <a:pt x="132" y="1029"/>
                  </a:lnTo>
                  <a:lnTo>
                    <a:pt x="140" y="1025"/>
                  </a:lnTo>
                  <a:lnTo>
                    <a:pt x="150" y="1023"/>
                  </a:lnTo>
                  <a:lnTo>
                    <a:pt x="160" y="1022"/>
                  </a:lnTo>
                  <a:lnTo>
                    <a:pt x="170" y="1023"/>
                  </a:lnTo>
                  <a:lnTo>
                    <a:pt x="179" y="1027"/>
                  </a:lnTo>
                  <a:lnTo>
                    <a:pt x="189" y="1031"/>
                  </a:lnTo>
                  <a:lnTo>
                    <a:pt x="199" y="1038"/>
                  </a:lnTo>
                  <a:lnTo>
                    <a:pt x="211" y="1044"/>
                  </a:lnTo>
                  <a:lnTo>
                    <a:pt x="223" y="1017"/>
                  </a:lnTo>
                  <a:lnTo>
                    <a:pt x="236" y="989"/>
                  </a:lnTo>
                  <a:lnTo>
                    <a:pt x="248" y="962"/>
                  </a:lnTo>
                  <a:lnTo>
                    <a:pt x="262" y="935"/>
                  </a:lnTo>
                  <a:lnTo>
                    <a:pt x="249" y="931"/>
                  </a:lnTo>
                  <a:lnTo>
                    <a:pt x="235" y="928"/>
                  </a:lnTo>
                  <a:lnTo>
                    <a:pt x="225" y="925"/>
                  </a:lnTo>
                  <a:lnTo>
                    <a:pt x="217" y="921"/>
                  </a:lnTo>
                  <a:lnTo>
                    <a:pt x="210" y="915"/>
                  </a:lnTo>
                  <a:lnTo>
                    <a:pt x="204" y="909"/>
                  </a:lnTo>
                  <a:lnTo>
                    <a:pt x="198" y="901"/>
                  </a:lnTo>
                  <a:lnTo>
                    <a:pt x="195" y="892"/>
                  </a:lnTo>
                  <a:lnTo>
                    <a:pt x="192" y="883"/>
                  </a:lnTo>
                  <a:lnTo>
                    <a:pt x="192" y="874"/>
                  </a:lnTo>
                  <a:lnTo>
                    <a:pt x="192" y="867"/>
                  </a:lnTo>
                  <a:lnTo>
                    <a:pt x="193" y="862"/>
                  </a:lnTo>
                  <a:lnTo>
                    <a:pt x="196" y="856"/>
                  </a:lnTo>
                  <a:lnTo>
                    <a:pt x="198" y="850"/>
                  </a:lnTo>
                  <a:lnTo>
                    <a:pt x="204" y="842"/>
                  </a:lnTo>
                  <a:lnTo>
                    <a:pt x="211" y="834"/>
                  </a:lnTo>
                  <a:lnTo>
                    <a:pt x="216" y="830"/>
                  </a:lnTo>
                  <a:lnTo>
                    <a:pt x="220" y="828"/>
                  </a:lnTo>
                  <a:lnTo>
                    <a:pt x="225" y="825"/>
                  </a:lnTo>
                  <a:lnTo>
                    <a:pt x="230" y="824"/>
                  </a:lnTo>
                  <a:lnTo>
                    <a:pt x="236" y="823"/>
                  </a:lnTo>
                  <a:lnTo>
                    <a:pt x="242" y="822"/>
                  </a:lnTo>
                  <a:lnTo>
                    <a:pt x="246" y="823"/>
                  </a:lnTo>
                  <a:lnTo>
                    <a:pt x="252" y="823"/>
                  </a:lnTo>
                  <a:lnTo>
                    <a:pt x="268" y="826"/>
                  </a:lnTo>
                  <a:lnTo>
                    <a:pt x="282" y="830"/>
                  </a:lnTo>
                  <a:lnTo>
                    <a:pt x="296" y="835"/>
                  </a:lnTo>
                  <a:lnTo>
                    <a:pt x="309" y="839"/>
                  </a:lnTo>
                  <a:lnTo>
                    <a:pt x="322" y="814"/>
                  </a:lnTo>
                  <a:lnTo>
                    <a:pt x="336" y="789"/>
                  </a:lnTo>
                  <a:lnTo>
                    <a:pt x="349" y="764"/>
                  </a:lnTo>
                  <a:lnTo>
                    <a:pt x="363" y="739"/>
                  </a:lnTo>
                  <a:lnTo>
                    <a:pt x="346" y="731"/>
                  </a:lnTo>
                  <a:lnTo>
                    <a:pt x="330" y="721"/>
                  </a:lnTo>
                  <a:lnTo>
                    <a:pt x="323" y="715"/>
                  </a:lnTo>
                  <a:lnTo>
                    <a:pt x="317" y="708"/>
                  </a:lnTo>
                  <a:lnTo>
                    <a:pt x="312" y="698"/>
                  </a:lnTo>
                  <a:lnTo>
                    <a:pt x="309" y="689"/>
                  </a:lnTo>
                  <a:lnTo>
                    <a:pt x="309" y="683"/>
                  </a:lnTo>
                  <a:lnTo>
                    <a:pt x="309" y="677"/>
                  </a:lnTo>
                  <a:lnTo>
                    <a:pt x="309" y="671"/>
                  </a:lnTo>
                  <a:lnTo>
                    <a:pt x="310" y="665"/>
                  </a:lnTo>
                  <a:lnTo>
                    <a:pt x="311" y="661"/>
                  </a:lnTo>
                  <a:lnTo>
                    <a:pt x="314" y="655"/>
                  </a:lnTo>
                  <a:lnTo>
                    <a:pt x="316" y="650"/>
                  </a:lnTo>
                  <a:lnTo>
                    <a:pt x="319" y="645"/>
                  </a:lnTo>
                  <a:lnTo>
                    <a:pt x="326" y="638"/>
                  </a:lnTo>
                  <a:lnTo>
                    <a:pt x="335" y="632"/>
                  </a:lnTo>
                  <a:lnTo>
                    <a:pt x="343" y="629"/>
                  </a:lnTo>
                  <a:lnTo>
                    <a:pt x="354" y="626"/>
                  </a:lnTo>
                  <a:lnTo>
                    <a:pt x="363" y="626"/>
                  </a:lnTo>
                  <a:lnTo>
                    <a:pt x="374" y="628"/>
                  </a:lnTo>
                  <a:lnTo>
                    <a:pt x="383" y="630"/>
                  </a:lnTo>
                  <a:lnTo>
                    <a:pt x="392" y="635"/>
                  </a:lnTo>
                  <a:lnTo>
                    <a:pt x="404" y="642"/>
                  </a:lnTo>
                  <a:lnTo>
                    <a:pt x="417" y="649"/>
                  </a:lnTo>
                  <a:lnTo>
                    <a:pt x="432" y="624"/>
                  </a:lnTo>
                  <a:lnTo>
                    <a:pt x="448" y="600"/>
                  </a:lnTo>
                  <a:lnTo>
                    <a:pt x="464" y="576"/>
                  </a:lnTo>
                  <a:lnTo>
                    <a:pt x="479" y="553"/>
                  </a:lnTo>
                  <a:lnTo>
                    <a:pt x="469" y="550"/>
                  </a:lnTo>
                  <a:lnTo>
                    <a:pt x="457" y="546"/>
                  </a:lnTo>
                  <a:lnTo>
                    <a:pt x="448" y="543"/>
                  </a:lnTo>
                  <a:lnTo>
                    <a:pt x="439" y="537"/>
                  </a:lnTo>
                  <a:lnTo>
                    <a:pt x="434" y="530"/>
                  </a:lnTo>
                  <a:lnTo>
                    <a:pt x="428" y="520"/>
                  </a:lnTo>
                  <a:lnTo>
                    <a:pt x="425" y="516"/>
                  </a:lnTo>
                  <a:lnTo>
                    <a:pt x="424" y="510"/>
                  </a:lnTo>
                  <a:lnTo>
                    <a:pt x="423" y="504"/>
                  </a:lnTo>
                  <a:lnTo>
                    <a:pt x="423" y="498"/>
                  </a:lnTo>
                  <a:lnTo>
                    <a:pt x="423" y="492"/>
                  </a:lnTo>
                  <a:lnTo>
                    <a:pt x="423" y="486"/>
                  </a:lnTo>
                  <a:lnTo>
                    <a:pt x="425" y="480"/>
                  </a:lnTo>
                  <a:lnTo>
                    <a:pt x="427" y="476"/>
                  </a:lnTo>
                  <a:lnTo>
                    <a:pt x="431" y="466"/>
                  </a:lnTo>
                  <a:lnTo>
                    <a:pt x="438" y="459"/>
                  </a:lnTo>
                  <a:lnTo>
                    <a:pt x="445" y="453"/>
                  </a:lnTo>
                  <a:lnTo>
                    <a:pt x="454" y="449"/>
                  </a:lnTo>
                  <a:lnTo>
                    <a:pt x="463" y="446"/>
                  </a:lnTo>
                  <a:lnTo>
                    <a:pt x="472" y="444"/>
                  </a:lnTo>
                  <a:lnTo>
                    <a:pt x="483" y="445"/>
                  </a:lnTo>
                  <a:lnTo>
                    <a:pt x="494" y="447"/>
                  </a:lnTo>
                  <a:lnTo>
                    <a:pt x="508" y="451"/>
                  </a:lnTo>
                  <a:lnTo>
                    <a:pt x="521" y="455"/>
                  </a:lnTo>
                  <a:lnTo>
                    <a:pt x="534" y="458"/>
                  </a:lnTo>
                  <a:lnTo>
                    <a:pt x="547" y="462"/>
                  </a:lnTo>
                  <a:lnTo>
                    <a:pt x="561" y="443"/>
                  </a:lnTo>
                  <a:lnTo>
                    <a:pt x="575" y="424"/>
                  </a:lnTo>
                  <a:lnTo>
                    <a:pt x="590" y="406"/>
                  </a:lnTo>
                  <a:lnTo>
                    <a:pt x="604" y="389"/>
                  </a:lnTo>
                  <a:lnTo>
                    <a:pt x="596" y="385"/>
                  </a:lnTo>
                  <a:lnTo>
                    <a:pt x="588" y="380"/>
                  </a:lnTo>
                  <a:lnTo>
                    <a:pt x="582" y="376"/>
                  </a:lnTo>
                  <a:lnTo>
                    <a:pt x="576" y="369"/>
                  </a:lnTo>
                  <a:lnTo>
                    <a:pt x="572" y="360"/>
                  </a:lnTo>
                  <a:lnTo>
                    <a:pt x="569" y="352"/>
                  </a:lnTo>
                  <a:lnTo>
                    <a:pt x="567" y="344"/>
                  </a:lnTo>
                  <a:lnTo>
                    <a:pt x="567" y="334"/>
                  </a:lnTo>
                  <a:lnTo>
                    <a:pt x="568" y="329"/>
                  </a:lnTo>
                  <a:lnTo>
                    <a:pt x="569" y="323"/>
                  </a:lnTo>
                  <a:lnTo>
                    <a:pt x="570" y="317"/>
                  </a:lnTo>
                  <a:lnTo>
                    <a:pt x="572" y="312"/>
                  </a:lnTo>
                  <a:lnTo>
                    <a:pt x="578" y="303"/>
                  </a:lnTo>
                  <a:lnTo>
                    <a:pt x="585" y="296"/>
                  </a:lnTo>
                  <a:lnTo>
                    <a:pt x="590" y="292"/>
                  </a:lnTo>
                  <a:lnTo>
                    <a:pt x="595" y="290"/>
                  </a:lnTo>
                  <a:lnTo>
                    <a:pt x="600" y="287"/>
                  </a:lnTo>
                  <a:lnTo>
                    <a:pt x="605" y="286"/>
                  </a:lnTo>
                  <a:lnTo>
                    <a:pt x="610" y="285"/>
                  </a:lnTo>
                  <a:lnTo>
                    <a:pt x="616" y="284"/>
                  </a:lnTo>
                  <a:lnTo>
                    <a:pt x="622" y="285"/>
                  </a:lnTo>
                  <a:lnTo>
                    <a:pt x="628" y="285"/>
                  </a:lnTo>
                  <a:lnTo>
                    <a:pt x="642" y="289"/>
                  </a:lnTo>
                  <a:lnTo>
                    <a:pt x="655" y="293"/>
                  </a:lnTo>
                  <a:lnTo>
                    <a:pt x="669" y="298"/>
                  </a:lnTo>
                  <a:lnTo>
                    <a:pt x="683" y="303"/>
                  </a:lnTo>
                  <a:lnTo>
                    <a:pt x="698" y="287"/>
                  </a:lnTo>
                  <a:lnTo>
                    <a:pt x="715" y="272"/>
                  </a:lnTo>
                  <a:lnTo>
                    <a:pt x="731" y="257"/>
                  </a:lnTo>
                  <a:lnTo>
                    <a:pt x="747" y="243"/>
                  </a:lnTo>
                  <a:lnTo>
                    <a:pt x="742" y="240"/>
                  </a:lnTo>
                  <a:lnTo>
                    <a:pt x="737" y="238"/>
                  </a:lnTo>
                  <a:lnTo>
                    <a:pt x="730" y="231"/>
                  </a:lnTo>
                  <a:lnTo>
                    <a:pt x="724" y="224"/>
                  </a:lnTo>
                  <a:lnTo>
                    <a:pt x="720" y="216"/>
                  </a:lnTo>
                  <a:lnTo>
                    <a:pt x="716" y="205"/>
                  </a:lnTo>
                  <a:lnTo>
                    <a:pt x="716" y="199"/>
                  </a:lnTo>
                  <a:lnTo>
                    <a:pt x="715" y="193"/>
                  </a:lnTo>
                  <a:lnTo>
                    <a:pt x="716" y="187"/>
                  </a:lnTo>
                  <a:lnTo>
                    <a:pt x="717" y="181"/>
                  </a:lnTo>
                  <a:lnTo>
                    <a:pt x="718" y="177"/>
                  </a:lnTo>
                  <a:lnTo>
                    <a:pt x="721" y="171"/>
                  </a:lnTo>
                  <a:lnTo>
                    <a:pt x="723" y="166"/>
                  </a:lnTo>
                  <a:lnTo>
                    <a:pt x="727" y="161"/>
                  </a:lnTo>
                  <a:lnTo>
                    <a:pt x="734" y="154"/>
                  </a:lnTo>
                  <a:lnTo>
                    <a:pt x="742" y="148"/>
                  </a:lnTo>
                  <a:lnTo>
                    <a:pt x="750" y="145"/>
                  </a:lnTo>
                  <a:lnTo>
                    <a:pt x="760" y="143"/>
                  </a:lnTo>
                  <a:lnTo>
                    <a:pt x="769" y="141"/>
                  </a:lnTo>
                  <a:lnTo>
                    <a:pt x="780" y="143"/>
                  </a:lnTo>
                  <a:lnTo>
                    <a:pt x="789" y="146"/>
                  </a:lnTo>
                  <a:lnTo>
                    <a:pt x="799" y="151"/>
                  </a:lnTo>
                  <a:lnTo>
                    <a:pt x="808" y="157"/>
                  </a:lnTo>
                  <a:lnTo>
                    <a:pt x="819" y="161"/>
                  </a:lnTo>
                  <a:lnTo>
                    <a:pt x="829" y="167"/>
                  </a:lnTo>
                  <a:lnTo>
                    <a:pt x="841" y="172"/>
                  </a:lnTo>
                  <a:lnTo>
                    <a:pt x="867" y="155"/>
                  </a:lnTo>
                  <a:lnTo>
                    <a:pt x="894" y="141"/>
                  </a:lnTo>
                  <a:lnTo>
                    <a:pt x="920" y="128"/>
                  </a:lnTo>
                  <a:lnTo>
                    <a:pt x="946" y="118"/>
                  </a:lnTo>
                  <a:lnTo>
                    <a:pt x="941" y="106"/>
                  </a:lnTo>
                  <a:lnTo>
                    <a:pt x="937" y="93"/>
                  </a:lnTo>
                  <a:lnTo>
                    <a:pt x="935" y="81"/>
                  </a:lnTo>
                  <a:lnTo>
                    <a:pt x="932" y="71"/>
                  </a:lnTo>
                  <a:lnTo>
                    <a:pt x="929" y="60"/>
                  </a:lnTo>
                  <a:lnTo>
                    <a:pt x="929" y="50"/>
                  </a:lnTo>
                  <a:lnTo>
                    <a:pt x="930" y="39"/>
                  </a:lnTo>
                  <a:lnTo>
                    <a:pt x="934" y="30"/>
                  </a:lnTo>
                  <a:lnTo>
                    <a:pt x="939" y="21"/>
                  </a:lnTo>
                  <a:lnTo>
                    <a:pt x="945" y="14"/>
                  </a:lnTo>
                  <a:lnTo>
                    <a:pt x="953" y="8"/>
                  </a:lnTo>
                  <a:lnTo>
                    <a:pt x="961" y="4"/>
                  </a:lnTo>
                  <a:lnTo>
                    <a:pt x="972" y="1"/>
                  </a:lnTo>
                  <a:lnTo>
                    <a:pt x="981" y="0"/>
                  </a:lnTo>
                  <a:lnTo>
                    <a:pt x="992" y="1"/>
                  </a:lnTo>
                  <a:lnTo>
                    <a:pt x="1002" y="4"/>
                  </a:lnTo>
                  <a:lnTo>
                    <a:pt x="1012" y="8"/>
                  </a:lnTo>
                  <a:lnTo>
                    <a:pt x="1020" y="15"/>
                  </a:lnTo>
                  <a:lnTo>
                    <a:pt x="1023" y="20"/>
                  </a:lnTo>
                  <a:lnTo>
                    <a:pt x="1027" y="25"/>
                  </a:lnTo>
                  <a:lnTo>
                    <a:pt x="1029" y="30"/>
                  </a:lnTo>
                  <a:lnTo>
                    <a:pt x="1032" y="35"/>
                  </a:lnTo>
                  <a:lnTo>
                    <a:pt x="1035" y="50"/>
                  </a:lnTo>
                  <a:lnTo>
                    <a:pt x="1040" y="64"/>
                  </a:lnTo>
                  <a:lnTo>
                    <a:pt x="1043" y="78"/>
                  </a:lnTo>
                  <a:lnTo>
                    <a:pt x="1048" y="93"/>
                  </a:lnTo>
                  <a:lnTo>
                    <a:pt x="1073" y="91"/>
                  </a:lnTo>
                  <a:lnTo>
                    <a:pt x="1098" y="91"/>
                  </a:lnTo>
                  <a:lnTo>
                    <a:pt x="1121" y="93"/>
                  </a:lnTo>
                  <a:lnTo>
                    <a:pt x="1145" y="97"/>
                  </a:lnTo>
                  <a:lnTo>
                    <a:pt x="1146" y="92"/>
                  </a:lnTo>
                  <a:lnTo>
                    <a:pt x="1148" y="87"/>
                  </a:lnTo>
                  <a:lnTo>
                    <a:pt x="1151" y="80"/>
                  </a:lnTo>
                  <a:lnTo>
                    <a:pt x="1154" y="74"/>
                  </a:lnTo>
                  <a:lnTo>
                    <a:pt x="1158" y="68"/>
                  </a:lnTo>
                  <a:lnTo>
                    <a:pt x="1163" y="64"/>
                  </a:lnTo>
                  <a:lnTo>
                    <a:pt x="1169" y="60"/>
                  </a:lnTo>
                  <a:lnTo>
                    <a:pt x="1176" y="57"/>
                  </a:lnTo>
                  <a:lnTo>
                    <a:pt x="1183" y="54"/>
                  </a:lnTo>
                  <a:lnTo>
                    <a:pt x="1191" y="53"/>
                  </a:lnTo>
                  <a:lnTo>
                    <a:pt x="1198" y="52"/>
                  </a:lnTo>
                  <a:lnTo>
                    <a:pt x="1205" y="53"/>
                  </a:lnTo>
                  <a:lnTo>
                    <a:pt x="1212" y="54"/>
                  </a:lnTo>
                  <a:lnTo>
                    <a:pt x="1219" y="57"/>
                  </a:lnTo>
                  <a:lnTo>
                    <a:pt x="1227" y="61"/>
                  </a:lnTo>
                  <a:lnTo>
                    <a:pt x="1235" y="67"/>
                  </a:lnTo>
                  <a:lnTo>
                    <a:pt x="1241" y="75"/>
                  </a:lnTo>
                  <a:lnTo>
                    <a:pt x="1246" y="84"/>
                  </a:lnTo>
                  <a:lnTo>
                    <a:pt x="1248" y="93"/>
                  </a:lnTo>
                  <a:lnTo>
                    <a:pt x="1249" y="103"/>
                  </a:lnTo>
                  <a:lnTo>
                    <a:pt x="1249" y="113"/>
                  </a:lnTo>
                  <a:lnTo>
                    <a:pt x="1247" y="124"/>
                  </a:lnTo>
                  <a:lnTo>
                    <a:pt x="1246" y="130"/>
                  </a:lnTo>
                  <a:lnTo>
                    <a:pt x="1244" y="134"/>
                  </a:lnTo>
                  <a:lnTo>
                    <a:pt x="1259" y="144"/>
                  </a:lnTo>
                  <a:lnTo>
                    <a:pt x="1274" y="154"/>
                  </a:lnTo>
                  <a:lnTo>
                    <a:pt x="1289" y="165"/>
                  </a:lnTo>
                  <a:lnTo>
                    <a:pt x="1304" y="178"/>
                  </a:lnTo>
                  <a:lnTo>
                    <a:pt x="1319" y="191"/>
                  </a:lnTo>
                  <a:lnTo>
                    <a:pt x="1333" y="204"/>
                  </a:lnTo>
                  <a:lnTo>
                    <a:pt x="1347" y="219"/>
                  </a:lnTo>
                  <a:lnTo>
                    <a:pt x="1360" y="234"/>
                  </a:lnTo>
                  <a:lnTo>
                    <a:pt x="1378" y="230"/>
                  </a:lnTo>
                  <a:lnTo>
                    <a:pt x="1394" y="223"/>
                  </a:lnTo>
                  <a:lnTo>
                    <a:pt x="1410" y="214"/>
                  </a:lnTo>
                  <a:lnTo>
                    <a:pt x="1422" y="205"/>
                  </a:lnTo>
                  <a:lnTo>
                    <a:pt x="1428" y="200"/>
                  </a:lnTo>
                  <a:lnTo>
                    <a:pt x="1435" y="197"/>
                  </a:lnTo>
                  <a:lnTo>
                    <a:pt x="1442" y="194"/>
                  </a:lnTo>
                  <a:lnTo>
                    <a:pt x="1450" y="193"/>
                  </a:lnTo>
                  <a:lnTo>
                    <a:pt x="1458" y="193"/>
                  </a:lnTo>
                  <a:lnTo>
                    <a:pt x="1466" y="194"/>
                  </a:lnTo>
                  <a:lnTo>
                    <a:pt x="1473" y="197"/>
                  </a:lnTo>
                  <a:lnTo>
                    <a:pt x="1481" y="200"/>
                  </a:lnTo>
                  <a:lnTo>
                    <a:pt x="1488" y="205"/>
                  </a:lnTo>
                  <a:lnTo>
                    <a:pt x="1494" y="211"/>
                  </a:lnTo>
                  <a:lnTo>
                    <a:pt x="1499" y="218"/>
                  </a:lnTo>
                  <a:lnTo>
                    <a:pt x="1504" y="226"/>
                  </a:lnTo>
                  <a:lnTo>
                    <a:pt x="1506" y="234"/>
                  </a:lnTo>
                  <a:lnTo>
                    <a:pt x="1507" y="244"/>
                  </a:lnTo>
                  <a:lnTo>
                    <a:pt x="1507" y="252"/>
                  </a:lnTo>
                  <a:lnTo>
                    <a:pt x="1506" y="260"/>
                  </a:lnTo>
                  <a:lnTo>
                    <a:pt x="1504" y="267"/>
                  </a:lnTo>
                  <a:lnTo>
                    <a:pt x="1500" y="276"/>
                  </a:lnTo>
                  <a:lnTo>
                    <a:pt x="1494" y="283"/>
                  </a:lnTo>
                  <a:lnTo>
                    <a:pt x="1488" y="289"/>
                  </a:lnTo>
                  <a:lnTo>
                    <a:pt x="1475" y="298"/>
                  </a:lnTo>
                  <a:lnTo>
                    <a:pt x="1461" y="307"/>
                  </a:lnTo>
                  <a:lnTo>
                    <a:pt x="1447" y="314"/>
                  </a:lnTo>
                  <a:lnTo>
                    <a:pt x="1432" y="321"/>
                  </a:lnTo>
                  <a:lnTo>
                    <a:pt x="1446" y="337"/>
                  </a:lnTo>
                  <a:lnTo>
                    <a:pt x="1460" y="352"/>
                  </a:lnTo>
                  <a:lnTo>
                    <a:pt x="1474" y="367"/>
                  </a:lnTo>
                  <a:lnTo>
                    <a:pt x="1490" y="383"/>
                  </a:lnTo>
                  <a:lnTo>
                    <a:pt x="1504" y="382"/>
                  </a:lnTo>
                  <a:lnTo>
                    <a:pt x="1518" y="380"/>
                  </a:lnTo>
                  <a:lnTo>
                    <a:pt x="1537" y="378"/>
                  </a:lnTo>
                  <a:lnTo>
                    <a:pt x="1557" y="374"/>
                  </a:lnTo>
                  <a:lnTo>
                    <a:pt x="1577" y="369"/>
                  </a:lnTo>
                  <a:lnTo>
                    <a:pt x="1596" y="362"/>
                  </a:lnTo>
                  <a:lnTo>
                    <a:pt x="1601" y="359"/>
                  </a:lnTo>
                  <a:lnTo>
                    <a:pt x="1607" y="358"/>
                  </a:lnTo>
                  <a:lnTo>
                    <a:pt x="1613" y="357"/>
                  </a:lnTo>
                  <a:lnTo>
                    <a:pt x="1618" y="357"/>
                  </a:lnTo>
                  <a:lnTo>
                    <a:pt x="1628" y="358"/>
                  </a:lnTo>
                  <a:lnTo>
                    <a:pt x="1639" y="363"/>
                  </a:lnTo>
                  <a:lnTo>
                    <a:pt x="1649" y="369"/>
                  </a:lnTo>
                  <a:lnTo>
                    <a:pt x="1657" y="376"/>
                  </a:lnTo>
                  <a:lnTo>
                    <a:pt x="1659" y="380"/>
                  </a:lnTo>
                  <a:lnTo>
                    <a:pt x="1663" y="385"/>
                  </a:lnTo>
                  <a:lnTo>
                    <a:pt x="1665" y="391"/>
                  </a:lnTo>
                  <a:lnTo>
                    <a:pt x="1667" y="397"/>
                  </a:lnTo>
                  <a:lnTo>
                    <a:pt x="1669" y="406"/>
                  </a:lnTo>
                  <a:lnTo>
                    <a:pt x="1669" y="416"/>
                  </a:lnTo>
                  <a:lnTo>
                    <a:pt x="1667" y="425"/>
                  </a:lnTo>
                  <a:lnTo>
                    <a:pt x="1664" y="433"/>
                  </a:lnTo>
                  <a:lnTo>
                    <a:pt x="1659" y="442"/>
                  </a:lnTo>
                  <a:lnTo>
                    <a:pt x="1653" y="449"/>
                  </a:lnTo>
                  <a:lnTo>
                    <a:pt x="1646" y="455"/>
                  </a:lnTo>
                  <a:lnTo>
                    <a:pt x="1637" y="459"/>
                  </a:lnTo>
                  <a:lnTo>
                    <a:pt x="1625" y="464"/>
                  </a:lnTo>
                  <a:lnTo>
                    <a:pt x="1612" y="469"/>
                  </a:lnTo>
                  <a:lnTo>
                    <a:pt x="1600" y="472"/>
                  </a:lnTo>
                  <a:lnTo>
                    <a:pt x="1587" y="476"/>
                  </a:lnTo>
                  <a:lnTo>
                    <a:pt x="1610" y="495"/>
                  </a:lnTo>
                  <a:lnTo>
                    <a:pt x="1633" y="515"/>
                  </a:lnTo>
                  <a:lnTo>
                    <a:pt x="1657" y="536"/>
                  </a:lnTo>
                  <a:lnTo>
                    <a:pt x="1683" y="556"/>
                  </a:lnTo>
                  <a:lnTo>
                    <a:pt x="1698" y="540"/>
                  </a:lnTo>
                  <a:lnTo>
                    <a:pt x="1713" y="526"/>
                  </a:lnTo>
                  <a:lnTo>
                    <a:pt x="1726" y="515"/>
                  </a:lnTo>
                  <a:lnTo>
                    <a:pt x="1730" y="511"/>
                  </a:lnTo>
                  <a:lnTo>
                    <a:pt x="1734" y="509"/>
                  </a:lnTo>
                  <a:lnTo>
                    <a:pt x="1739" y="506"/>
                  </a:lnTo>
                  <a:lnTo>
                    <a:pt x="1744" y="504"/>
                  </a:lnTo>
                  <a:lnTo>
                    <a:pt x="1754" y="503"/>
                  </a:lnTo>
                  <a:lnTo>
                    <a:pt x="1765" y="503"/>
                  </a:lnTo>
                  <a:lnTo>
                    <a:pt x="1776" y="505"/>
                  </a:lnTo>
                  <a:lnTo>
                    <a:pt x="1786" y="510"/>
                  </a:lnTo>
                  <a:lnTo>
                    <a:pt x="1794" y="516"/>
                  </a:lnTo>
                  <a:lnTo>
                    <a:pt x="1802" y="523"/>
                  </a:lnTo>
                  <a:lnTo>
                    <a:pt x="1807" y="531"/>
                  </a:lnTo>
                  <a:lnTo>
                    <a:pt x="1811" y="540"/>
                  </a:lnTo>
                  <a:lnTo>
                    <a:pt x="1812" y="550"/>
                  </a:lnTo>
                  <a:lnTo>
                    <a:pt x="1812" y="559"/>
                  </a:lnTo>
                  <a:lnTo>
                    <a:pt x="1811" y="570"/>
                  </a:lnTo>
                  <a:lnTo>
                    <a:pt x="1806" y="578"/>
                  </a:lnTo>
                  <a:lnTo>
                    <a:pt x="1802" y="588"/>
                  </a:lnTo>
                  <a:lnTo>
                    <a:pt x="1794" y="596"/>
                  </a:lnTo>
                  <a:lnTo>
                    <a:pt x="1786" y="603"/>
                  </a:lnTo>
                  <a:lnTo>
                    <a:pt x="1776" y="613"/>
                  </a:lnTo>
                  <a:lnTo>
                    <a:pt x="1765" y="623"/>
                  </a:lnTo>
                  <a:lnTo>
                    <a:pt x="1789" y="642"/>
                  </a:lnTo>
                  <a:lnTo>
                    <a:pt x="1812" y="659"/>
                  </a:lnTo>
                  <a:lnTo>
                    <a:pt x="1836" y="678"/>
                  </a:lnTo>
                  <a:lnTo>
                    <a:pt x="1860" y="696"/>
                  </a:lnTo>
                  <a:lnTo>
                    <a:pt x="1887" y="688"/>
                  </a:lnTo>
                  <a:lnTo>
                    <a:pt x="1913" y="678"/>
                  </a:lnTo>
                  <a:lnTo>
                    <a:pt x="1940" y="668"/>
                  </a:lnTo>
                  <a:lnTo>
                    <a:pt x="1968" y="656"/>
                  </a:lnTo>
                  <a:lnTo>
                    <a:pt x="1972" y="655"/>
                  </a:lnTo>
                  <a:lnTo>
                    <a:pt x="1978" y="653"/>
                  </a:lnTo>
                  <a:lnTo>
                    <a:pt x="1984" y="652"/>
                  </a:lnTo>
                  <a:lnTo>
                    <a:pt x="1990" y="652"/>
                  </a:lnTo>
                  <a:lnTo>
                    <a:pt x="2001" y="653"/>
                  </a:lnTo>
                  <a:lnTo>
                    <a:pt x="2010" y="657"/>
                  </a:lnTo>
                  <a:lnTo>
                    <a:pt x="2019" y="663"/>
                  </a:lnTo>
                  <a:lnTo>
                    <a:pt x="2028" y="671"/>
                  </a:lnTo>
                  <a:lnTo>
                    <a:pt x="2031" y="676"/>
                  </a:lnTo>
                  <a:lnTo>
                    <a:pt x="2033" y="681"/>
                  </a:lnTo>
                  <a:lnTo>
                    <a:pt x="2036" y="686"/>
                  </a:lnTo>
                  <a:lnTo>
                    <a:pt x="2038" y="691"/>
                  </a:lnTo>
                  <a:lnTo>
                    <a:pt x="2039" y="702"/>
                  </a:lnTo>
                  <a:lnTo>
                    <a:pt x="2039" y="711"/>
                  </a:lnTo>
                  <a:lnTo>
                    <a:pt x="2038" y="721"/>
                  </a:lnTo>
                  <a:lnTo>
                    <a:pt x="2035" y="729"/>
                  </a:lnTo>
                  <a:lnTo>
                    <a:pt x="2030" y="737"/>
                  </a:lnTo>
                  <a:lnTo>
                    <a:pt x="2024" y="743"/>
                  </a:lnTo>
                  <a:lnTo>
                    <a:pt x="2017" y="750"/>
                  </a:lnTo>
                  <a:lnTo>
                    <a:pt x="2009" y="754"/>
                  </a:lnTo>
                  <a:lnTo>
                    <a:pt x="1997" y="758"/>
                  </a:lnTo>
                  <a:lnTo>
                    <a:pt x="1986" y="764"/>
                  </a:lnTo>
                  <a:lnTo>
                    <a:pt x="1975" y="769"/>
                  </a:lnTo>
                  <a:lnTo>
                    <a:pt x="1962" y="774"/>
                  </a:lnTo>
                  <a:lnTo>
                    <a:pt x="1976" y="784"/>
                  </a:lnTo>
                  <a:lnTo>
                    <a:pt x="1989" y="794"/>
                  </a:lnTo>
                  <a:lnTo>
                    <a:pt x="2003" y="804"/>
                  </a:lnTo>
                  <a:lnTo>
                    <a:pt x="2016" y="815"/>
                  </a:lnTo>
                  <a:lnTo>
                    <a:pt x="2026" y="812"/>
                  </a:lnTo>
                  <a:lnTo>
                    <a:pt x="2037" y="809"/>
                  </a:lnTo>
                  <a:lnTo>
                    <a:pt x="2048" y="805"/>
                  </a:lnTo>
                  <a:lnTo>
                    <a:pt x="2057" y="801"/>
                  </a:lnTo>
                  <a:lnTo>
                    <a:pt x="2065" y="796"/>
                  </a:lnTo>
                  <a:lnTo>
                    <a:pt x="2075" y="791"/>
                  </a:lnTo>
                  <a:lnTo>
                    <a:pt x="2082" y="785"/>
                  </a:lnTo>
                  <a:lnTo>
                    <a:pt x="2090" y="779"/>
                  </a:lnTo>
                  <a:lnTo>
                    <a:pt x="2097" y="772"/>
                  </a:lnTo>
                  <a:lnTo>
                    <a:pt x="2104" y="765"/>
                  </a:lnTo>
                  <a:lnTo>
                    <a:pt x="2110" y="758"/>
                  </a:lnTo>
                  <a:lnTo>
                    <a:pt x="2117" y="750"/>
                  </a:lnTo>
                  <a:lnTo>
                    <a:pt x="2122" y="742"/>
                  </a:lnTo>
                  <a:lnTo>
                    <a:pt x="2126" y="732"/>
                  </a:lnTo>
                  <a:lnTo>
                    <a:pt x="2131" y="723"/>
                  </a:lnTo>
                  <a:lnTo>
                    <a:pt x="2136" y="713"/>
                  </a:lnTo>
                  <a:lnTo>
                    <a:pt x="2139" y="706"/>
                  </a:lnTo>
                  <a:lnTo>
                    <a:pt x="2143" y="701"/>
                  </a:lnTo>
                  <a:lnTo>
                    <a:pt x="2146" y="696"/>
                  </a:lnTo>
                  <a:lnTo>
                    <a:pt x="2151" y="691"/>
                  </a:lnTo>
                  <a:lnTo>
                    <a:pt x="2157" y="688"/>
                  </a:lnTo>
                  <a:lnTo>
                    <a:pt x="2163" y="684"/>
                  </a:lnTo>
                  <a:lnTo>
                    <a:pt x="2169" y="683"/>
                  </a:lnTo>
                  <a:lnTo>
                    <a:pt x="2176" y="682"/>
                  </a:lnTo>
                  <a:lnTo>
                    <a:pt x="2183" y="681"/>
                  </a:lnTo>
                  <a:lnTo>
                    <a:pt x="2190" y="682"/>
                  </a:lnTo>
                  <a:lnTo>
                    <a:pt x="2197" y="683"/>
                  </a:lnTo>
                  <a:lnTo>
                    <a:pt x="2204" y="685"/>
                  </a:lnTo>
                  <a:lnTo>
                    <a:pt x="2210" y="689"/>
                  </a:lnTo>
                  <a:lnTo>
                    <a:pt x="2217" y="692"/>
                  </a:lnTo>
                  <a:lnTo>
                    <a:pt x="2222" y="697"/>
                  </a:lnTo>
                  <a:lnTo>
                    <a:pt x="2227" y="703"/>
                  </a:lnTo>
                  <a:lnTo>
                    <a:pt x="2231" y="709"/>
                  </a:lnTo>
                  <a:lnTo>
                    <a:pt x="2234" y="715"/>
                  </a:lnTo>
                  <a:lnTo>
                    <a:pt x="2236" y="721"/>
                  </a:lnTo>
                  <a:lnTo>
                    <a:pt x="2237" y="728"/>
                  </a:lnTo>
                  <a:lnTo>
                    <a:pt x="2237" y="733"/>
                  </a:lnTo>
                  <a:lnTo>
                    <a:pt x="2237" y="741"/>
                  </a:lnTo>
                  <a:lnTo>
                    <a:pt x="2236" y="748"/>
                  </a:lnTo>
                  <a:lnTo>
                    <a:pt x="2234" y="754"/>
                  </a:lnTo>
                  <a:lnTo>
                    <a:pt x="2224" y="776"/>
                  </a:lnTo>
                  <a:lnTo>
                    <a:pt x="2214" y="796"/>
                  </a:lnTo>
                  <a:lnTo>
                    <a:pt x="2201" y="815"/>
                  </a:lnTo>
                  <a:lnTo>
                    <a:pt x="2187" y="834"/>
                  </a:lnTo>
                  <a:lnTo>
                    <a:pt x="2170" y="850"/>
                  </a:lnTo>
                  <a:lnTo>
                    <a:pt x="2152" y="864"/>
                  </a:lnTo>
                  <a:lnTo>
                    <a:pt x="2134" y="878"/>
                  </a:lnTo>
                  <a:lnTo>
                    <a:pt x="2114" y="890"/>
                  </a:lnTo>
                  <a:lnTo>
                    <a:pt x="2128" y="901"/>
                  </a:lnTo>
                  <a:lnTo>
                    <a:pt x="2142" y="912"/>
                  </a:lnTo>
                  <a:lnTo>
                    <a:pt x="2156" y="923"/>
                  </a:lnTo>
                  <a:lnTo>
                    <a:pt x="2170" y="935"/>
                  </a:lnTo>
                  <a:lnTo>
                    <a:pt x="2187" y="931"/>
                  </a:lnTo>
                  <a:lnTo>
                    <a:pt x="2201" y="927"/>
                  </a:lnTo>
                  <a:lnTo>
                    <a:pt x="2214" y="922"/>
                  </a:lnTo>
                  <a:lnTo>
                    <a:pt x="2225" y="916"/>
                  </a:lnTo>
                  <a:lnTo>
                    <a:pt x="2236" y="910"/>
                  </a:lnTo>
                  <a:lnTo>
                    <a:pt x="2244" y="902"/>
                  </a:lnTo>
                  <a:lnTo>
                    <a:pt x="2251" y="894"/>
                  </a:lnTo>
                  <a:lnTo>
                    <a:pt x="2257" y="884"/>
                  </a:lnTo>
                  <a:lnTo>
                    <a:pt x="2261" y="879"/>
                  </a:lnTo>
                  <a:lnTo>
                    <a:pt x="2265" y="874"/>
                  </a:lnTo>
                  <a:lnTo>
                    <a:pt x="2270" y="869"/>
                  </a:lnTo>
                  <a:lnTo>
                    <a:pt x="2275" y="865"/>
                  </a:lnTo>
                  <a:lnTo>
                    <a:pt x="2281" y="862"/>
                  </a:lnTo>
                  <a:lnTo>
                    <a:pt x="2287" y="859"/>
                  </a:lnTo>
                  <a:lnTo>
                    <a:pt x="2292" y="858"/>
                  </a:lnTo>
                  <a:lnTo>
                    <a:pt x="2298" y="857"/>
                  </a:lnTo>
                  <a:lnTo>
                    <a:pt x="2307" y="856"/>
                  </a:lnTo>
                  <a:lnTo>
                    <a:pt x="2315" y="857"/>
                  </a:lnTo>
                  <a:lnTo>
                    <a:pt x="2322" y="858"/>
                  </a:lnTo>
                  <a:lnTo>
                    <a:pt x="2329" y="861"/>
                  </a:lnTo>
                  <a:lnTo>
                    <a:pt x="2336" y="865"/>
                  </a:lnTo>
                  <a:lnTo>
                    <a:pt x="2342" y="869"/>
                  </a:lnTo>
                  <a:lnTo>
                    <a:pt x="2348" y="875"/>
                  </a:lnTo>
                  <a:lnTo>
                    <a:pt x="2352" y="881"/>
                  </a:lnTo>
                  <a:lnTo>
                    <a:pt x="2356" y="887"/>
                  </a:lnTo>
                  <a:lnTo>
                    <a:pt x="2358" y="892"/>
                  </a:lnTo>
                  <a:lnTo>
                    <a:pt x="2360" y="898"/>
                  </a:lnTo>
                  <a:lnTo>
                    <a:pt x="2360" y="904"/>
                  </a:lnTo>
                  <a:lnTo>
                    <a:pt x="2360" y="911"/>
                  </a:lnTo>
                  <a:lnTo>
                    <a:pt x="2358" y="917"/>
                  </a:lnTo>
                  <a:lnTo>
                    <a:pt x="2356" y="924"/>
                  </a:lnTo>
                  <a:lnTo>
                    <a:pt x="2354" y="930"/>
                  </a:lnTo>
                  <a:lnTo>
                    <a:pt x="2345" y="943"/>
                  </a:lnTo>
                  <a:lnTo>
                    <a:pt x="2336" y="956"/>
                  </a:lnTo>
                  <a:lnTo>
                    <a:pt x="2327" y="968"/>
                  </a:lnTo>
                  <a:lnTo>
                    <a:pt x="2316" y="978"/>
                  </a:lnTo>
                  <a:lnTo>
                    <a:pt x="2304" y="989"/>
                  </a:lnTo>
                  <a:lnTo>
                    <a:pt x="2292" y="997"/>
                  </a:lnTo>
                  <a:lnTo>
                    <a:pt x="2280" y="1005"/>
                  </a:lnTo>
                  <a:lnTo>
                    <a:pt x="2265" y="1014"/>
                  </a:lnTo>
                  <a:lnTo>
                    <a:pt x="2285" y="1031"/>
                  </a:lnTo>
                  <a:lnTo>
                    <a:pt x="2305" y="1049"/>
                  </a:lnTo>
                  <a:lnTo>
                    <a:pt x="2324" y="1067"/>
                  </a:lnTo>
                  <a:lnTo>
                    <a:pt x="2343" y="1083"/>
                  </a:lnTo>
                  <a:lnTo>
                    <a:pt x="2358" y="1073"/>
                  </a:lnTo>
                  <a:lnTo>
                    <a:pt x="2375" y="1061"/>
                  </a:lnTo>
                  <a:lnTo>
                    <a:pt x="2390" y="1049"/>
                  </a:lnTo>
                  <a:lnTo>
                    <a:pt x="2407" y="1036"/>
                  </a:lnTo>
                  <a:lnTo>
                    <a:pt x="2420" y="1025"/>
                  </a:lnTo>
                  <a:lnTo>
                    <a:pt x="2434" y="1015"/>
                  </a:lnTo>
                  <a:lnTo>
                    <a:pt x="2448" y="1003"/>
                  </a:lnTo>
                  <a:lnTo>
                    <a:pt x="2463" y="994"/>
                  </a:lnTo>
                  <a:lnTo>
                    <a:pt x="2468" y="990"/>
                  </a:lnTo>
                  <a:lnTo>
                    <a:pt x="2474" y="988"/>
                  </a:lnTo>
                  <a:lnTo>
                    <a:pt x="2481" y="985"/>
                  </a:lnTo>
                  <a:lnTo>
                    <a:pt x="2487" y="984"/>
                  </a:lnTo>
                  <a:lnTo>
                    <a:pt x="2496" y="984"/>
                  </a:lnTo>
                  <a:lnTo>
                    <a:pt x="2504" y="985"/>
                  </a:lnTo>
                  <a:lnTo>
                    <a:pt x="2513" y="988"/>
                  </a:lnTo>
                  <a:lnTo>
                    <a:pt x="2521" y="992"/>
                  </a:lnTo>
                  <a:lnTo>
                    <a:pt x="2528" y="997"/>
                  </a:lnTo>
                  <a:lnTo>
                    <a:pt x="2535" y="1004"/>
                  </a:lnTo>
                  <a:lnTo>
                    <a:pt x="2540" y="1011"/>
                  </a:lnTo>
                  <a:lnTo>
                    <a:pt x="2544" y="1021"/>
                  </a:lnTo>
                  <a:lnTo>
                    <a:pt x="2547" y="1029"/>
                  </a:lnTo>
                  <a:lnTo>
                    <a:pt x="2548" y="1037"/>
                  </a:lnTo>
                  <a:lnTo>
                    <a:pt x="2547" y="1045"/>
                  </a:lnTo>
                  <a:lnTo>
                    <a:pt x="2546" y="1053"/>
                  </a:lnTo>
                  <a:lnTo>
                    <a:pt x="2542" y="1061"/>
                  </a:lnTo>
                  <a:lnTo>
                    <a:pt x="2537" y="1068"/>
                  </a:lnTo>
                  <a:lnTo>
                    <a:pt x="2531" y="1074"/>
                  </a:lnTo>
                  <a:lnTo>
                    <a:pt x="2526" y="1080"/>
                  </a:lnTo>
                  <a:lnTo>
                    <a:pt x="2510" y="1089"/>
                  </a:lnTo>
                  <a:lnTo>
                    <a:pt x="2496" y="1101"/>
                  </a:lnTo>
                  <a:lnTo>
                    <a:pt x="2482" y="1111"/>
                  </a:lnTo>
                  <a:lnTo>
                    <a:pt x="2468" y="1122"/>
                  </a:lnTo>
                  <a:lnTo>
                    <a:pt x="2456" y="1131"/>
                  </a:lnTo>
                  <a:lnTo>
                    <a:pt x="2443" y="1141"/>
                  </a:lnTo>
                  <a:lnTo>
                    <a:pt x="2430" y="1150"/>
                  </a:lnTo>
                  <a:lnTo>
                    <a:pt x="2417" y="1160"/>
                  </a:lnTo>
                  <a:lnTo>
                    <a:pt x="2428" y="1171"/>
                  </a:lnTo>
                  <a:lnTo>
                    <a:pt x="2438" y="1183"/>
                  </a:lnTo>
                  <a:lnTo>
                    <a:pt x="2449" y="1195"/>
                  </a:lnTo>
                  <a:lnTo>
                    <a:pt x="2457" y="1207"/>
                  </a:lnTo>
                  <a:lnTo>
                    <a:pt x="2473" y="1198"/>
                  </a:lnTo>
                  <a:lnTo>
                    <a:pt x="2487" y="1190"/>
                  </a:lnTo>
                  <a:lnTo>
                    <a:pt x="2498" y="1180"/>
                  </a:lnTo>
                  <a:lnTo>
                    <a:pt x="2509" y="1169"/>
                  </a:lnTo>
                  <a:lnTo>
                    <a:pt x="2516" y="1162"/>
                  </a:lnTo>
                  <a:lnTo>
                    <a:pt x="2524" y="1156"/>
                  </a:lnTo>
                  <a:lnTo>
                    <a:pt x="2534" y="1153"/>
                  </a:lnTo>
                  <a:lnTo>
                    <a:pt x="2543" y="1150"/>
                  </a:lnTo>
                  <a:lnTo>
                    <a:pt x="2551" y="1149"/>
                  </a:lnTo>
                  <a:lnTo>
                    <a:pt x="2560" y="1150"/>
                  </a:lnTo>
                  <a:lnTo>
                    <a:pt x="2567" y="1153"/>
                  </a:lnTo>
                  <a:lnTo>
                    <a:pt x="2575" y="1156"/>
                  </a:lnTo>
                  <a:lnTo>
                    <a:pt x="2582" y="1161"/>
                  </a:lnTo>
                  <a:lnTo>
                    <a:pt x="2588" y="1166"/>
                  </a:lnTo>
                  <a:lnTo>
                    <a:pt x="2594" y="1171"/>
                  </a:lnTo>
                  <a:lnTo>
                    <a:pt x="2599" y="1178"/>
                  </a:lnTo>
                  <a:lnTo>
                    <a:pt x="2601" y="1186"/>
                  </a:lnTo>
                  <a:lnTo>
                    <a:pt x="2603" y="1193"/>
                  </a:lnTo>
                  <a:lnTo>
                    <a:pt x="2604" y="1201"/>
                  </a:lnTo>
                  <a:lnTo>
                    <a:pt x="2604" y="1208"/>
                  </a:lnTo>
                  <a:lnTo>
                    <a:pt x="2603" y="1215"/>
                  </a:lnTo>
                  <a:lnTo>
                    <a:pt x="2601" y="1222"/>
                  </a:lnTo>
                  <a:lnTo>
                    <a:pt x="2597" y="1229"/>
                  </a:lnTo>
                  <a:lnTo>
                    <a:pt x="2593" y="1235"/>
                  </a:lnTo>
                  <a:lnTo>
                    <a:pt x="2584" y="1244"/>
                  </a:lnTo>
                  <a:lnTo>
                    <a:pt x="2576" y="1253"/>
                  </a:lnTo>
                  <a:lnTo>
                    <a:pt x="2568" y="1261"/>
                  </a:lnTo>
                  <a:lnTo>
                    <a:pt x="2559" y="1269"/>
                  </a:lnTo>
                  <a:lnTo>
                    <a:pt x="2549" y="1276"/>
                  </a:lnTo>
                  <a:lnTo>
                    <a:pt x="2540" y="1283"/>
                  </a:lnTo>
                  <a:lnTo>
                    <a:pt x="2529" y="1289"/>
                  </a:lnTo>
                  <a:lnTo>
                    <a:pt x="2518" y="1295"/>
                  </a:lnTo>
                  <a:lnTo>
                    <a:pt x="2534" y="1323"/>
                  </a:lnTo>
                  <a:lnTo>
                    <a:pt x="2546" y="1352"/>
                  </a:lnTo>
                  <a:lnTo>
                    <a:pt x="2551" y="1364"/>
                  </a:lnTo>
                  <a:lnTo>
                    <a:pt x="2555" y="1379"/>
                  </a:lnTo>
                  <a:lnTo>
                    <a:pt x="2560" y="1393"/>
                  </a:lnTo>
                  <a:lnTo>
                    <a:pt x="2562" y="1406"/>
                  </a:lnTo>
                  <a:lnTo>
                    <a:pt x="2575" y="1402"/>
                  </a:lnTo>
                  <a:lnTo>
                    <a:pt x="2588" y="1399"/>
                  </a:lnTo>
                  <a:lnTo>
                    <a:pt x="2601" y="1395"/>
                  </a:lnTo>
                  <a:lnTo>
                    <a:pt x="2614" y="1393"/>
                  </a:lnTo>
                  <a:lnTo>
                    <a:pt x="2624" y="1392"/>
                  </a:lnTo>
                  <a:lnTo>
                    <a:pt x="2635" y="1392"/>
                  </a:lnTo>
                  <a:lnTo>
                    <a:pt x="2644" y="1394"/>
                  </a:lnTo>
                  <a:lnTo>
                    <a:pt x="2653" y="1399"/>
                  </a:lnTo>
                  <a:lnTo>
                    <a:pt x="2660" y="1404"/>
                  </a:lnTo>
                  <a:lnTo>
                    <a:pt x="2666" y="1413"/>
                  </a:lnTo>
                  <a:lnTo>
                    <a:pt x="2670" y="1422"/>
                  </a:lnTo>
                  <a:lnTo>
                    <a:pt x="2673" y="1433"/>
                  </a:lnTo>
                  <a:lnTo>
                    <a:pt x="2674" y="1442"/>
                  </a:lnTo>
                  <a:lnTo>
                    <a:pt x="2673" y="1453"/>
                  </a:lnTo>
                  <a:lnTo>
                    <a:pt x="2670" y="1462"/>
                  </a:lnTo>
                  <a:lnTo>
                    <a:pt x="2666" y="1472"/>
                  </a:lnTo>
                  <a:lnTo>
                    <a:pt x="2660" y="1480"/>
                  </a:lnTo>
                  <a:lnTo>
                    <a:pt x="2652" y="1487"/>
                  </a:lnTo>
                  <a:lnTo>
                    <a:pt x="2648" y="1490"/>
                  </a:lnTo>
                  <a:lnTo>
                    <a:pt x="2642" y="1493"/>
                  </a:lnTo>
                  <a:lnTo>
                    <a:pt x="2637" y="1495"/>
                  </a:lnTo>
                  <a:lnTo>
                    <a:pt x="2632" y="1497"/>
                  </a:lnTo>
                  <a:lnTo>
                    <a:pt x="2619" y="1500"/>
                  </a:lnTo>
                  <a:lnTo>
                    <a:pt x="2606" y="1503"/>
                  </a:lnTo>
                  <a:lnTo>
                    <a:pt x="2594" y="1507"/>
                  </a:lnTo>
                  <a:lnTo>
                    <a:pt x="2581" y="1510"/>
                  </a:lnTo>
                  <a:lnTo>
                    <a:pt x="2573" y="1512"/>
                  </a:lnTo>
                  <a:lnTo>
                    <a:pt x="2564" y="1514"/>
                  </a:lnTo>
                  <a:lnTo>
                    <a:pt x="2561" y="1530"/>
                  </a:lnTo>
                  <a:lnTo>
                    <a:pt x="2556" y="1547"/>
                  </a:lnTo>
                  <a:lnTo>
                    <a:pt x="2550" y="1563"/>
                  </a:lnTo>
                  <a:lnTo>
                    <a:pt x="2543" y="1580"/>
                  </a:lnTo>
                  <a:lnTo>
                    <a:pt x="2535" y="1595"/>
                  </a:lnTo>
                  <a:lnTo>
                    <a:pt x="2526" y="1612"/>
                  </a:lnTo>
                  <a:lnTo>
                    <a:pt x="2515" y="1627"/>
                  </a:lnTo>
                  <a:lnTo>
                    <a:pt x="2504" y="1642"/>
                  </a:lnTo>
                  <a:lnTo>
                    <a:pt x="2514" y="1649"/>
                  </a:lnTo>
                  <a:lnTo>
                    <a:pt x="2523" y="1655"/>
                  </a:lnTo>
                  <a:lnTo>
                    <a:pt x="2531" y="1662"/>
                  </a:lnTo>
                  <a:lnTo>
                    <a:pt x="2541" y="1668"/>
                  </a:lnTo>
                  <a:lnTo>
                    <a:pt x="2547" y="1673"/>
                  </a:lnTo>
                  <a:lnTo>
                    <a:pt x="2551" y="1679"/>
                  </a:lnTo>
                  <a:lnTo>
                    <a:pt x="2555" y="1686"/>
                  </a:lnTo>
                  <a:lnTo>
                    <a:pt x="2559" y="1692"/>
                  </a:lnTo>
                  <a:lnTo>
                    <a:pt x="2560" y="1700"/>
                  </a:lnTo>
                  <a:lnTo>
                    <a:pt x="2561" y="1707"/>
                  </a:lnTo>
                  <a:lnTo>
                    <a:pt x="2561" y="1714"/>
                  </a:lnTo>
                  <a:lnTo>
                    <a:pt x="2560" y="1722"/>
                  </a:lnTo>
                  <a:lnTo>
                    <a:pt x="2556" y="1729"/>
                  </a:lnTo>
                  <a:lnTo>
                    <a:pt x="2553" y="1736"/>
                  </a:lnTo>
                  <a:lnTo>
                    <a:pt x="2548" y="1744"/>
                  </a:lnTo>
                  <a:lnTo>
                    <a:pt x="2542" y="1749"/>
                  </a:lnTo>
                  <a:lnTo>
                    <a:pt x="2535" y="1754"/>
                  </a:lnTo>
                  <a:lnTo>
                    <a:pt x="2528" y="1758"/>
                  </a:lnTo>
                  <a:lnTo>
                    <a:pt x="2521" y="1761"/>
                  </a:lnTo>
                  <a:lnTo>
                    <a:pt x="2513" y="1762"/>
                  </a:lnTo>
                  <a:lnTo>
                    <a:pt x="2503" y="1762"/>
                  </a:lnTo>
                  <a:lnTo>
                    <a:pt x="2494" y="1761"/>
                  </a:lnTo>
                  <a:lnTo>
                    <a:pt x="2484" y="1758"/>
                  </a:lnTo>
                  <a:lnTo>
                    <a:pt x="2475" y="1752"/>
                  </a:lnTo>
                  <a:lnTo>
                    <a:pt x="2466" y="1745"/>
                  </a:lnTo>
                  <a:lnTo>
                    <a:pt x="2454" y="1736"/>
                  </a:lnTo>
                  <a:lnTo>
                    <a:pt x="2442" y="1728"/>
                  </a:lnTo>
                  <a:lnTo>
                    <a:pt x="2429" y="1720"/>
                  </a:lnTo>
                  <a:lnTo>
                    <a:pt x="2425" y="1723"/>
                  </a:lnTo>
                  <a:lnTo>
                    <a:pt x="2405" y="1739"/>
                  </a:lnTo>
                  <a:lnTo>
                    <a:pt x="2387" y="1754"/>
                  </a:lnTo>
                  <a:lnTo>
                    <a:pt x="2365" y="1769"/>
                  </a:lnTo>
                  <a:lnTo>
                    <a:pt x="2344" y="1784"/>
                  </a:lnTo>
                  <a:lnTo>
                    <a:pt x="2365" y="1804"/>
                  </a:lnTo>
                  <a:lnTo>
                    <a:pt x="2385" y="1824"/>
                  </a:lnTo>
                  <a:lnTo>
                    <a:pt x="2405" y="1844"/>
                  </a:lnTo>
                  <a:lnTo>
                    <a:pt x="2424" y="1864"/>
                  </a:lnTo>
                  <a:lnTo>
                    <a:pt x="2429" y="1869"/>
                  </a:lnTo>
                  <a:lnTo>
                    <a:pt x="2433" y="1875"/>
                  </a:lnTo>
                  <a:lnTo>
                    <a:pt x="2436" y="1881"/>
                  </a:lnTo>
                  <a:lnTo>
                    <a:pt x="2437" y="1887"/>
                  </a:lnTo>
                  <a:lnTo>
                    <a:pt x="2438" y="1894"/>
                  </a:lnTo>
                  <a:lnTo>
                    <a:pt x="2438" y="1900"/>
                  </a:lnTo>
                  <a:lnTo>
                    <a:pt x="2438" y="1907"/>
                  </a:lnTo>
                  <a:lnTo>
                    <a:pt x="2436" y="1913"/>
                  </a:lnTo>
                  <a:lnTo>
                    <a:pt x="2433" y="1920"/>
                  </a:lnTo>
                  <a:lnTo>
                    <a:pt x="2429" y="1926"/>
                  </a:lnTo>
                  <a:lnTo>
                    <a:pt x="2424" y="1932"/>
                  </a:lnTo>
                  <a:lnTo>
                    <a:pt x="2418" y="1937"/>
                  </a:lnTo>
                  <a:lnTo>
                    <a:pt x="2411" y="1941"/>
                  </a:lnTo>
                  <a:lnTo>
                    <a:pt x="2404" y="1945"/>
                  </a:lnTo>
                  <a:lnTo>
                    <a:pt x="2397" y="1947"/>
                  </a:lnTo>
                  <a:lnTo>
                    <a:pt x="2389" y="1948"/>
                  </a:lnTo>
                  <a:lnTo>
                    <a:pt x="2383" y="1950"/>
                  </a:lnTo>
                  <a:lnTo>
                    <a:pt x="2377" y="1948"/>
                  </a:lnTo>
                  <a:lnTo>
                    <a:pt x="2370" y="1947"/>
                  </a:lnTo>
                  <a:lnTo>
                    <a:pt x="2364" y="1946"/>
                  </a:lnTo>
                  <a:lnTo>
                    <a:pt x="2358" y="1944"/>
                  </a:lnTo>
                  <a:lnTo>
                    <a:pt x="2354" y="1940"/>
                  </a:lnTo>
                  <a:lnTo>
                    <a:pt x="2348" y="1937"/>
                  </a:lnTo>
                  <a:lnTo>
                    <a:pt x="2343" y="1932"/>
                  </a:lnTo>
                  <a:lnTo>
                    <a:pt x="2321" y="1907"/>
                  </a:lnTo>
                  <a:lnTo>
                    <a:pt x="2297" y="1885"/>
                  </a:lnTo>
                  <a:lnTo>
                    <a:pt x="2274" y="1862"/>
                  </a:lnTo>
                  <a:lnTo>
                    <a:pt x="2249" y="1844"/>
                  </a:lnTo>
                  <a:lnTo>
                    <a:pt x="2223" y="1857"/>
                  </a:lnTo>
                  <a:lnTo>
                    <a:pt x="2197" y="1871"/>
                  </a:lnTo>
                  <a:lnTo>
                    <a:pt x="2171" y="1884"/>
                  </a:lnTo>
                  <a:lnTo>
                    <a:pt x="2144" y="1897"/>
                  </a:lnTo>
                  <a:lnTo>
                    <a:pt x="2149" y="1902"/>
                  </a:lnTo>
                  <a:lnTo>
                    <a:pt x="2152" y="1908"/>
                  </a:lnTo>
                  <a:lnTo>
                    <a:pt x="2156" y="1915"/>
                  </a:lnTo>
                  <a:lnTo>
                    <a:pt x="2158" y="1922"/>
                  </a:lnTo>
                  <a:lnTo>
                    <a:pt x="2158" y="1931"/>
                  </a:lnTo>
                  <a:lnTo>
                    <a:pt x="2158" y="1938"/>
                  </a:lnTo>
                  <a:lnTo>
                    <a:pt x="2157" y="1945"/>
                  </a:lnTo>
                  <a:lnTo>
                    <a:pt x="2155" y="1953"/>
                  </a:lnTo>
                  <a:lnTo>
                    <a:pt x="2149" y="1961"/>
                  </a:lnTo>
                  <a:lnTo>
                    <a:pt x="2142" y="1970"/>
                  </a:lnTo>
                  <a:lnTo>
                    <a:pt x="2132" y="1977"/>
                  </a:lnTo>
                  <a:lnTo>
                    <a:pt x="2123" y="1981"/>
                  </a:lnTo>
                  <a:lnTo>
                    <a:pt x="2112" y="1984"/>
                  </a:lnTo>
                  <a:lnTo>
                    <a:pt x="2102" y="1985"/>
                  </a:lnTo>
                  <a:lnTo>
                    <a:pt x="2097" y="1984"/>
                  </a:lnTo>
                  <a:lnTo>
                    <a:pt x="2092" y="1984"/>
                  </a:lnTo>
                  <a:lnTo>
                    <a:pt x="2086" y="1981"/>
                  </a:lnTo>
                  <a:lnTo>
                    <a:pt x="2082" y="1979"/>
                  </a:lnTo>
                  <a:lnTo>
                    <a:pt x="2066" y="1970"/>
                  </a:lnTo>
                  <a:lnTo>
                    <a:pt x="2052" y="1961"/>
                  </a:lnTo>
                  <a:lnTo>
                    <a:pt x="2039" y="1953"/>
                  </a:lnTo>
                  <a:lnTo>
                    <a:pt x="2028" y="1945"/>
                  </a:lnTo>
                  <a:lnTo>
                    <a:pt x="2015" y="1950"/>
                  </a:lnTo>
                  <a:lnTo>
                    <a:pt x="2002" y="1954"/>
                  </a:lnTo>
                  <a:lnTo>
                    <a:pt x="1990" y="1959"/>
                  </a:lnTo>
                  <a:lnTo>
                    <a:pt x="1977" y="1964"/>
                  </a:lnTo>
                  <a:lnTo>
                    <a:pt x="1990" y="1973"/>
                  </a:lnTo>
                  <a:lnTo>
                    <a:pt x="2005" y="1982"/>
                  </a:lnTo>
                  <a:lnTo>
                    <a:pt x="2013" y="1990"/>
                  </a:lnTo>
                  <a:lnTo>
                    <a:pt x="2022" y="1997"/>
                  </a:lnTo>
                  <a:lnTo>
                    <a:pt x="2028" y="2005"/>
                  </a:lnTo>
                  <a:lnTo>
                    <a:pt x="2031" y="2013"/>
                  </a:lnTo>
                  <a:lnTo>
                    <a:pt x="2033" y="2022"/>
                  </a:lnTo>
                  <a:lnTo>
                    <a:pt x="2035" y="2032"/>
                  </a:lnTo>
                  <a:lnTo>
                    <a:pt x="2033" y="2041"/>
                  </a:lnTo>
                  <a:lnTo>
                    <a:pt x="2030" y="2052"/>
                  </a:lnTo>
                  <a:lnTo>
                    <a:pt x="2025" y="2061"/>
                  </a:lnTo>
                  <a:lnTo>
                    <a:pt x="2018" y="2068"/>
                  </a:lnTo>
                  <a:lnTo>
                    <a:pt x="2009" y="2075"/>
                  </a:lnTo>
                  <a:lnTo>
                    <a:pt x="1999" y="2080"/>
                  </a:lnTo>
                  <a:lnTo>
                    <a:pt x="1989" y="2083"/>
                  </a:lnTo>
                  <a:lnTo>
                    <a:pt x="1978" y="2084"/>
                  </a:lnTo>
                  <a:lnTo>
                    <a:pt x="1973" y="2083"/>
                  </a:lnTo>
                  <a:lnTo>
                    <a:pt x="1968" y="2083"/>
                  </a:lnTo>
                  <a:lnTo>
                    <a:pt x="1963" y="2080"/>
                  </a:lnTo>
                  <a:lnTo>
                    <a:pt x="1958" y="2078"/>
                  </a:lnTo>
                  <a:lnTo>
                    <a:pt x="1944" y="2070"/>
                  </a:lnTo>
                  <a:lnTo>
                    <a:pt x="1931" y="2061"/>
                  </a:lnTo>
                  <a:lnTo>
                    <a:pt x="1918" y="2052"/>
                  </a:lnTo>
                  <a:lnTo>
                    <a:pt x="1906" y="2041"/>
                  </a:lnTo>
                  <a:lnTo>
                    <a:pt x="1884" y="2021"/>
                  </a:lnTo>
                  <a:lnTo>
                    <a:pt x="1863" y="2000"/>
                  </a:lnTo>
                  <a:lnTo>
                    <a:pt x="1837" y="2007"/>
                  </a:lnTo>
                  <a:lnTo>
                    <a:pt x="1811" y="2014"/>
                  </a:lnTo>
                  <a:lnTo>
                    <a:pt x="1785" y="2021"/>
                  </a:lnTo>
                  <a:lnTo>
                    <a:pt x="1758" y="2028"/>
                  </a:lnTo>
                  <a:lnTo>
                    <a:pt x="1762" y="2044"/>
                  </a:lnTo>
                  <a:lnTo>
                    <a:pt x="1766" y="2058"/>
                  </a:lnTo>
                  <a:lnTo>
                    <a:pt x="1771" y="2073"/>
                  </a:lnTo>
                  <a:lnTo>
                    <a:pt x="1777" y="2088"/>
                  </a:lnTo>
                  <a:lnTo>
                    <a:pt x="1790" y="2119"/>
                  </a:lnTo>
                  <a:lnTo>
                    <a:pt x="1806" y="2151"/>
                  </a:lnTo>
                  <a:lnTo>
                    <a:pt x="1809" y="2157"/>
                  </a:lnTo>
                  <a:lnTo>
                    <a:pt x="1811" y="2161"/>
                  </a:lnTo>
                  <a:lnTo>
                    <a:pt x="1812" y="2167"/>
                  </a:lnTo>
                  <a:lnTo>
                    <a:pt x="1812" y="2173"/>
                  </a:lnTo>
                  <a:lnTo>
                    <a:pt x="1812" y="2179"/>
                  </a:lnTo>
                  <a:lnTo>
                    <a:pt x="1811" y="2185"/>
                  </a:lnTo>
                  <a:lnTo>
                    <a:pt x="1810" y="2190"/>
                  </a:lnTo>
                  <a:lnTo>
                    <a:pt x="1807" y="2196"/>
                  </a:lnTo>
                  <a:lnTo>
                    <a:pt x="1804" y="2200"/>
                  </a:lnTo>
                  <a:lnTo>
                    <a:pt x="1800" y="2206"/>
                  </a:lnTo>
                  <a:lnTo>
                    <a:pt x="1796" y="2210"/>
                  </a:lnTo>
                  <a:lnTo>
                    <a:pt x="1791" y="2214"/>
                  </a:lnTo>
                  <a:lnTo>
                    <a:pt x="1785" y="2218"/>
                  </a:lnTo>
                  <a:lnTo>
                    <a:pt x="1779" y="2220"/>
                  </a:lnTo>
                  <a:lnTo>
                    <a:pt x="1772" y="2223"/>
                  </a:lnTo>
                  <a:lnTo>
                    <a:pt x="1765" y="2224"/>
                  </a:lnTo>
                  <a:close/>
                </a:path>
              </a:pathLst>
            </a:custGeom>
            <a:solidFill>
              <a:srgbClr val="66A2B8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6653" tIns="58327" rIns="116653" bIns="58327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434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137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6" name="Freeform 46"/>
            <p:cNvSpPr>
              <a:spLocks noEditPoints="1"/>
            </p:cNvSpPr>
            <p:nvPr/>
          </p:nvSpPr>
          <p:spPr bwMode="auto">
            <a:xfrm>
              <a:off x="563" y="2194"/>
              <a:ext cx="543" cy="455"/>
            </a:xfrm>
            <a:custGeom>
              <a:avLst/>
              <a:gdLst>
                <a:gd name="T0" fmla="*/ 2041 w 2170"/>
                <a:gd name="T1" fmla="*/ 1353 h 1821"/>
                <a:gd name="T2" fmla="*/ 1896 w 2170"/>
                <a:gd name="T3" fmla="*/ 1451 h 1821"/>
                <a:gd name="T4" fmla="*/ 1585 w 2170"/>
                <a:gd name="T5" fmla="*/ 1628 h 1821"/>
                <a:gd name="T6" fmla="*/ 1367 w 2170"/>
                <a:gd name="T7" fmla="*/ 1721 h 1821"/>
                <a:gd name="T8" fmla="*/ 1082 w 2170"/>
                <a:gd name="T9" fmla="*/ 1759 h 1821"/>
                <a:gd name="T10" fmla="*/ 743 w 2170"/>
                <a:gd name="T11" fmla="*/ 1779 h 1821"/>
                <a:gd name="T12" fmla="*/ 468 w 2170"/>
                <a:gd name="T13" fmla="*/ 1751 h 1821"/>
                <a:gd name="T14" fmla="*/ 319 w 2170"/>
                <a:gd name="T15" fmla="*/ 1698 h 1821"/>
                <a:gd name="T16" fmla="*/ 190 w 2170"/>
                <a:gd name="T17" fmla="*/ 1611 h 1821"/>
                <a:gd name="T18" fmla="*/ 92 w 2170"/>
                <a:gd name="T19" fmla="*/ 1486 h 1821"/>
                <a:gd name="T20" fmla="*/ 36 w 2170"/>
                <a:gd name="T21" fmla="*/ 1294 h 1821"/>
                <a:gd name="T22" fmla="*/ 55 w 2170"/>
                <a:gd name="T23" fmla="*/ 1084 h 1821"/>
                <a:gd name="T24" fmla="*/ 125 w 2170"/>
                <a:gd name="T25" fmla="*/ 874 h 1821"/>
                <a:gd name="T26" fmla="*/ 308 w 2170"/>
                <a:gd name="T27" fmla="*/ 510 h 1821"/>
                <a:gd name="T28" fmla="*/ 461 w 2170"/>
                <a:gd name="T29" fmla="*/ 248 h 1821"/>
                <a:gd name="T30" fmla="*/ 587 w 2170"/>
                <a:gd name="T31" fmla="*/ 100 h 1821"/>
                <a:gd name="T32" fmla="*/ 699 w 2170"/>
                <a:gd name="T33" fmla="*/ 43 h 1821"/>
                <a:gd name="T34" fmla="*/ 746 w 2170"/>
                <a:gd name="T35" fmla="*/ 45 h 1821"/>
                <a:gd name="T36" fmla="*/ 823 w 2170"/>
                <a:gd name="T37" fmla="*/ 57 h 1821"/>
                <a:gd name="T38" fmla="*/ 929 w 2170"/>
                <a:gd name="T39" fmla="*/ 147 h 1821"/>
                <a:gd name="T40" fmla="*/ 1009 w 2170"/>
                <a:gd name="T41" fmla="*/ 309 h 1821"/>
                <a:gd name="T42" fmla="*/ 1119 w 2170"/>
                <a:gd name="T43" fmla="*/ 457 h 1821"/>
                <a:gd name="T44" fmla="*/ 1259 w 2170"/>
                <a:gd name="T45" fmla="*/ 553 h 1821"/>
                <a:gd name="T46" fmla="*/ 1584 w 2170"/>
                <a:gd name="T47" fmla="*/ 668 h 1821"/>
                <a:gd name="T48" fmla="*/ 1845 w 2170"/>
                <a:gd name="T49" fmla="*/ 793 h 1821"/>
                <a:gd name="T50" fmla="*/ 1983 w 2170"/>
                <a:gd name="T51" fmla="*/ 904 h 1821"/>
                <a:gd name="T52" fmla="*/ 2089 w 2170"/>
                <a:gd name="T53" fmla="*/ 1037 h 1821"/>
                <a:gd name="T54" fmla="*/ 2125 w 2170"/>
                <a:gd name="T55" fmla="*/ 1185 h 1821"/>
                <a:gd name="T56" fmla="*/ 1895 w 2170"/>
                <a:gd name="T57" fmla="*/ 782 h 1821"/>
                <a:gd name="T58" fmla="*/ 1645 w 2170"/>
                <a:gd name="T59" fmla="*/ 652 h 1821"/>
                <a:gd name="T60" fmla="*/ 1320 w 2170"/>
                <a:gd name="T61" fmla="*/ 533 h 1821"/>
                <a:gd name="T62" fmla="*/ 1147 w 2170"/>
                <a:gd name="T63" fmla="*/ 429 h 1821"/>
                <a:gd name="T64" fmla="*/ 1058 w 2170"/>
                <a:gd name="T65" fmla="*/ 310 h 1821"/>
                <a:gd name="T66" fmla="*/ 963 w 2170"/>
                <a:gd name="T67" fmla="*/ 123 h 1821"/>
                <a:gd name="T68" fmla="*/ 853 w 2170"/>
                <a:gd name="T69" fmla="*/ 24 h 1821"/>
                <a:gd name="T70" fmla="*/ 728 w 2170"/>
                <a:gd name="T71" fmla="*/ 0 h 1821"/>
                <a:gd name="T72" fmla="*/ 626 w 2170"/>
                <a:gd name="T73" fmla="*/ 24 h 1821"/>
                <a:gd name="T74" fmla="*/ 513 w 2170"/>
                <a:gd name="T75" fmla="*/ 111 h 1821"/>
                <a:gd name="T76" fmla="*/ 338 w 2170"/>
                <a:gd name="T77" fmla="*/ 359 h 1821"/>
                <a:gd name="T78" fmla="*/ 169 w 2170"/>
                <a:gd name="T79" fmla="*/ 669 h 1821"/>
                <a:gd name="T80" fmla="*/ 40 w 2170"/>
                <a:gd name="T81" fmla="*/ 998 h 1821"/>
                <a:gd name="T82" fmla="*/ 0 w 2170"/>
                <a:gd name="T83" fmla="*/ 1221 h 1821"/>
                <a:gd name="T84" fmla="*/ 12 w 2170"/>
                <a:gd name="T85" fmla="*/ 1372 h 1821"/>
                <a:gd name="T86" fmla="*/ 61 w 2170"/>
                <a:gd name="T87" fmla="*/ 1511 h 1821"/>
                <a:gd name="T88" fmla="*/ 150 w 2170"/>
                <a:gd name="T89" fmla="*/ 1633 h 1821"/>
                <a:gd name="T90" fmla="*/ 264 w 2170"/>
                <a:gd name="T91" fmla="*/ 1721 h 1821"/>
                <a:gd name="T92" fmla="*/ 513 w 2170"/>
                <a:gd name="T93" fmla="*/ 1804 h 1821"/>
                <a:gd name="T94" fmla="*/ 773 w 2170"/>
                <a:gd name="T95" fmla="*/ 1821 h 1821"/>
                <a:gd name="T96" fmla="*/ 1233 w 2170"/>
                <a:gd name="T97" fmla="*/ 1788 h 1821"/>
                <a:gd name="T98" fmla="*/ 1526 w 2170"/>
                <a:gd name="T99" fmla="*/ 1704 h 1821"/>
                <a:gd name="T100" fmla="*/ 1790 w 2170"/>
                <a:gd name="T101" fmla="*/ 1560 h 1821"/>
                <a:gd name="T102" fmla="*/ 2034 w 2170"/>
                <a:gd name="T103" fmla="*/ 1411 h 1821"/>
                <a:gd name="T104" fmla="*/ 2137 w 2170"/>
                <a:gd name="T105" fmla="*/ 1297 h 1821"/>
                <a:gd name="T106" fmla="*/ 2170 w 2170"/>
                <a:gd name="T107" fmla="*/ 1191 h 1821"/>
                <a:gd name="T108" fmla="*/ 2151 w 2170"/>
                <a:gd name="T109" fmla="*/ 1084 h 1821"/>
                <a:gd name="T110" fmla="*/ 2036 w 2170"/>
                <a:gd name="T111" fmla="*/ 907 h 18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2170" h="1821">
                  <a:moveTo>
                    <a:pt x="2112" y="1252"/>
                  </a:moveTo>
                  <a:lnTo>
                    <a:pt x="2105" y="1271"/>
                  </a:lnTo>
                  <a:lnTo>
                    <a:pt x="2095" y="1289"/>
                  </a:lnTo>
                  <a:lnTo>
                    <a:pt x="2084" y="1306"/>
                  </a:lnTo>
                  <a:lnTo>
                    <a:pt x="2071" y="1323"/>
                  </a:lnTo>
                  <a:lnTo>
                    <a:pt x="2056" y="1339"/>
                  </a:lnTo>
                  <a:lnTo>
                    <a:pt x="2041" y="1353"/>
                  </a:lnTo>
                  <a:lnTo>
                    <a:pt x="2024" y="1369"/>
                  </a:lnTo>
                  <a:lnTo>
                    <a:pt x="2006" y="1382"/>
                  </a:lnTo>
                  <a:lnTo>
                    <a:pt x="1989" y="1394"/>
                  </a:lnTo>
                  <a:lnTo>
                    <a:pt x="1970" y="1407"/>
                  </a:lnTo>
                  <a:lnTo>
                    <a:pt x="1951" y="1419"/>
                  </a:lnTo>
                  <a:lnTo>
                    <a:pt x="1932" y="1430"/>
                  </a:lnTo>
                  <a:lnTo>
                    <a:pt x="1896" y="1451"/>
                  </a:lnTo>
                  <a:lnTo>
                    <a:pt x="1861" y="1471"/>
                  </a:lnTo>
                  <a:lnTo>
                    <a:pt x="1815" y="1497"/>
                  </a:lnTo>
                  <a:lnTo>
                    <a:pt x="1769" y="1523"/>
                  </a:lnTo>
                  <a:lnTo>
                    <a:pt x="1723" y="1550"/>
                  </a:lnTo>
                  <a:lnTo>
                    <a:pt x="1677" y="1576"/>
                  </a:lnTo>
                  <a:lnTo>
                    <a:pt x="1632" y="1603"/>
                  </a:lnTo>
                  <a:lnTo>
                    <a:pt x="1585" y="1628"/>
                  </a:lnTo>
                  <a:lnTo>
                    <a:pt x="1539" y="1652"/>
                  </a:lnTo>
                  <a:lnTo>
                    <a:pt x="1491" y="1676"/>
                  </a:lnTo>
                  <a:lnTo>
                    <a:pt x="1467" y="1686"/>
                  </a:lnTo>
                  <a:lnTo>
                    <a:pt x="1443" y="1696"/>
                  </a:lnTo>
                  <a:lnTo>
                    <a:pt x="1418" y="1705"/>
                  </a:lnTo>
                  <a:lnTo>
                    <a:pt x="1393" y="1713"/>
                  </a:lnTo>
                  <a:lnTo>
                    <a:pt x="1367" y="1721"/>
                  </a:lnTo>
                  <a:lnTo>
                    <a:pt x="1343" y="1726"/>
                  </a:lnTo>
                  <a:lnTo>
                    <a:pt x="1317" y="1732"/>
                  </a:lnTo>
                  <a:lnTo>
                    <a:pt x="1292" y="1737"/>
                  </a:lnTo>
                  <a:lnTo>
                    <a:pt x="1240" y="1745"/>
                  </a:lnTo>
                  <a:lnTo>
                    <a:pt x="1188" y="1751"/>
                  </a:lnTo>
                  <a:lnTo>
                    <a:pt x="1135" y="1756"/>
                  </a:lnTo>
                  <a:lnTo>
                    <a:pt x="1082" y="1759"/>
                  </a:lnTo>
                  <a:lnTo>
                    <a:pt x="1034" y="1763"/>
                  </a:lnTo>
                  <a:lnTo>
                    <a:pt x="986" y="1766"/>
                  </a:lnTo>
                  <a:lnTo>
                    <a:pt x="938" y="1770"/>
                  </a:lnTo>
                  <a:lnTo>
                    <a:pt x="889" y="1774"/>
                  </a:lnTo>
                  <a:lnTo>
                    <a:pt x="840" y="1776"/>
                  </a:lnTo>
                  <a:lnTo>
                    <a:pt x="792" y="1778"/>
                  </a:lnTo>
                  <a:lnTo>
                    <a:pt x="743" y="1779"/>
                  </a:lnTo>
                  <a:lnTo>
                    <a:pt x="695" y="1779"/>
                  </a:lnTo>
                  <a:lnTo>
                    <a:pt x="649" y="1778"/>
                  </a:lnTo>
                  <a:lnTo>
                    <a:pt x="603" y="1775"/>
                  </a:lnTo>
                  <a:lnTo>
                    <a:pt x="557" y="1769"/>
                  </a:lnTo>
                  <a:lnTo>
                    <a:pt x="513" y="1762"/>
                  </a:lnTo>
                  <a:lnTo>
                    <a:pt x="490" y="1757"/>
                  </a:lnTo>
                  <a:lnTo>
                    <a:pt x="468" y="1751"/>
                  </a:lnTo>
                  <a:lnTo>
                    <a:pt x="445" y="1746"/>
                  </a:lnTo>
                  <a:lnTo>
                    <a:pt x="424" y="1739"/>
                  </a:lnTo>
                  <a:lnTo>
                    <a:pt x="402" y="1732"/>
                  </a:lnTo>
                  <a:lnTo>
                    <a:pt x="381" y="1725"/>
                  </a:lnTo>
                  <a:lnTo>
                    <a:pt x="360" y="1717"/>
                  </a:lnTo>
                  <a:lnTo>
                    <a:pt x="340" y="1708"/>
                  </a:lnTo>
                  <a:lnTo>
                    <a:pt x="319" y="1698"/>
                  </a:lnTo>
                  <a:lnTo>
                    <a:pt x="299" y="1688"/>
                  </a:lnTo>
                  <a:lnTo>
                    <a:pt x="279" y="1677"/>
                  </a:lnTo>
                  <a:lnTo>
                    <a:pt x="261" y="1665"/>
                  </a:lnTo>
                  <a:lnTo>
                    <a:pt x="243" y="1653"/>
                  </a:lnTo>
                  <a:lnTo>
                    <a:pt x="224" y="1641"/>
                  </a:lnTo>
                  <a:lnTo>
                    <a:pt x="208" y="1626"/>
                  </a:lnTo>
                  <a:lnTo>
                    <a:pt x="190" y="1611"/>
                  </a:lnTo>
                  <a:lnTo>
                    <a:pt x="175" y="1596"/>
                  </a:lnTo>
                  <a:lnTo>
                    <a:pt x="158" y="1579"/>
                  </a:lnTo>
                  <a:lnTo>
                    <a:pt x="144" y="1563"/>
                  </a:lnTo>
                  <a:lnTo>
                    <a:pt x="130" y="1545"/>
                  </a:lnTo>
                  <a:lnTo>
                    <a:pt x="116" y="1526"/>
                  </a:lnTo>
                  <a:lnTo>
                    <a:pt x="104" y="1506"/>
                  </a:lnTo>
                  <a:lnTo>
                    <a:pt x="92" y="1486"/>
                  </a:lnTo>
                  <a:lnTo>
                    <a:pt x="81" y="1465"/>
                  </a:lnTo>
                  <a:lnTo>
                    <a:pt x="69" y="1438"/>
                  </a:lnTo>
                  <a:lnTo>
                    <a:pt x="58" y="1410"/>
                  </a:lnTo>
                  <a:lnTo>
                    <a:pt x="50" y="1382"/>
                  </a:lnTo>
                  <a:lnTo>
                    <a:pt x="43" y="1352"/>
                  </a:lnTo>
                  <a:lnTo>
                    <a:pt x="38" y="1323"/>
                  </a:lnTo>
                  <a:lnTo>
                    <a:pt x="36" y="1294"/>
                  </a:lnTo>
                  <a:lnTo>
                    <a:pt x="33" y="1264"/>
                  </a:lnTo>
                  <a:lnTo>
                    <a:pt x="33" y="1234"/>
                  </a:lnTo>
                  <a:lnTo>
                    <a:pt x="36" y="1205"/>
                  </a:lnTo>
                  <a:lnTo>
                    <a:pt x="38" y="1174"/>
                  </a:lnTo>
                  <a:lnTo>
                    <a:pt x="43" y="1145"/>
                  </a:lnTo>
                  <a:lnTo>
                    <a:pt x="48" y="1114"/>
                  </a:lnTo>
                  <a:lnTo>
                    <a:pt x="55" y="1084"/>
                  </a:lnTo>
                  <a:lnTo>
                    <a:pt x="62" y="1054"/>
                  </a:lnTo>
                  <a:lnTo>
                    <a:pt x="71" y="1024"/>
                  </a:lnTo>
                  <a:lnTo>
                    <a:pt x="81" y="993"/>
                  </a:lnTo>
                  <a:lnTo>
                    <a:pt x="91" y="964"/>
                  </a:lnTo>
                  <a:lnTo>
                    <a:pt x="102" y="933"/>
                  </a:lnTo>
                  <a:lnTo>
                    <a:pt x="113" y="904"/>
                  </a:lnTo>
                  <a:lnTo>
                    <a:pt x="125" y="874"/>
                  </a:lnTo>
                  <a:lnTo>
                    <a:pt x="151" y="816"/>
                  </a:lnTo>
                  <a:lnTo>
                    <a:pt x="178" y="759"/>
                  </a:lnTo>
                  <a:lnTo>
                    <a:pt x="206" y="703"/>
                  </a:lnTo>
                  <a:lnTo>
                    <a:pt x="234" y="649"/>
                  </a:lnTo>
                  <a:lnTo>
                    <a:pt x="262" y="598"/>
                  </a:lnTo>
                  <a:lnTo>
                    <a:pt x="288" y="549"/>
                  </a:lnTo>
                  <a:lnTo>
                    <a:pt x="308" y="510"/>
                  </a:lnTo>
                  <a:lnTo>
                    <a:pt x="328" y="472"/>
                  </a:lnTo>
                  <a:lnTo>
                    <a:pt x="348" y="433"/>
                  </a:lnTo>
                  <a:lnTo>
                    <a:pt x="369" y="395"/>
                  </a:lnTo>
                  <a:lnTo>
                    <a:pt x="390" y="357"/>
                  </a:lnTo>
                  <a:lnTo>
                    <a:pt x="412" y="320"/>
                  </a:lnTo>
                  <a:lnTo>
                    <a:pt x="436" y="283"/>
                  </a:lnTo>
                  <a:lnTo>
                    <a:pt x="461" y="248"/>
                  </a:lnTo>
                  <a:lnTo>
                    <a:pt x="483" y="216"/>
                  </a:lnTo>
                  <a:lnTo>
                    <a:pt x="510" y="182"/>
                  </a:lnTo>
                  <a:lnTo>
                    <a:pt x="524" y="164"/>
                  </a:lnTo>
                  <a:lnTo>
                    <a:pt x="538" y="148"/>
                  </a:lnTo>
                  <a:lnTo>
                    <a:pt x="554" y="131"/>
                  </a:lnTo>
                  <a:lnTo>
                    <a:pt x="570" y="115"/>
                  </a:lnTo>
                  <a:lnTo>
                    <a:pt x="587" y="100"/>
                  </a:lnTo>
                  <a:lnTo>
                    <a:pt x="604" y="85"/>
                  </a:lnTo>
                  <a:lnTo>
                    <a:pt x="622" y="74"/>
                  </a:lnTo>
                  <a:lnTo>
                    <a:pt x="641" y="62"/>
                  </a:lnTo>
                  <a:lnTo>
                    <a:pt x="660" y="54"/>
                  </a:lnTo>
                  <a:lnTo>
                    <a:pt x="679" y="47"/>
                  </a:lnTo>
                  <a:lnTo>
                    <a:pt x="689" y="44"/>
                  </a:lnTo>
                  <a:lnTo>
                    <a:pt x="699" y="43"/>
                  </a:lnTo>
                  <a:lnTo>
                    <a:pt x="709" y="42"/>
                  </a:lnTo>
                  <a:lnTo>
                    <a:pt x="719" y="42"/>
                  </a:lnTo>
                  <a:lnTo>
                    <a:pt x="722" y="43"/>
                  </a:lnTo>
                  <a:lnTo>
                    <a:pt x="724" y="45"/>
                  </a:lnTo>
                  <a:lnTo>
                    <a:pt x="729" y="45"/>
                  </a:lnTo>
                  <a:lnTo>
                    <a:pt x="733" y="45"/>
                  </a:lnTo>
                  <a:lnTo>
                    <a:pt x="746" y="45"/>
                  </a:lnTo>
                  <a:lnTo>
                    <a:pt x="759" y="45"/>
                  </a:lnTo>
                  <a:lnTo>
                    <a:pt x="770" y="45"/>
                  </a:lnTo>
                  <a:lnTo>
                    <a:pt x="782" y="47"/>
                  </a:lnTo>
                  <a:lnTo>
                    <a:pt x="793" y="49"/>
                  </a:lnTo>
                  <a:lnTo>
                    <a:pt x="803" y="50"/>
                  </a:lnTo>
                  <a:lnTo>
                    <a:pt x="814" y="54"/>
                  </a:lnTo>
                  <a:lnTo>
                    <a:pt x="823" y="57"/>
                  </a:lnTo>
                  <a:lnTo>
                    <a:pt x="842" y="64"/>
                  </a:lnTo>
                  <a:lnTo>
                    <a:pt x="860" y="75"/>
                  </a:lnTo>
                  <a:lnTo>
                    <a:pt x="875" y="87"/>
                  </a:lnTo>
                  <a:lnTo>
                    <a:pt x="890" y="100"/>
                  </a:lnTo>
                  <a:lnTo>
                    <a:pt x="905" y="114"/>
                  </a:lnTo>
                  <a:lnTo>
                    <a:pt x="916" y="130"/>
                  </a:lnTo>
                  <a:lnTo>
                    <a:pt x="929" y="147"/>
                  </a:lnTo>
                  <a:lnTo>
                    <a:pt x="940" y="166"/>
                  </a:lnTo>
                  <a:lnTo>
                    <a:pt x="951" y="184"/>
                  </a:lnTo>
                  <a:lnTo>
                    <a:pt x="961" y="204"/>
                  </a:lnTo>
                  <a:lnTo>
                    <a:pt x="971" y="226"/>
                  </a:lnTo>
                  <a:lnTo>
                    <a:pt x="980" y="247"/>
                  </a:lnTo>
                  <a:lnTo>
                    <a:pt x="994" y="279"/>
                  </a:lnTo>
                  <a:lnTo>
                    <a:pt x="1009" y="309"/>
                  </a:lnTo>
                  <a:lnTo>
                    <a:pt x="1026" y="339"/>
                  </a:lnTo>
                  <a:lnTo>
                    <a:pt x="1044" y="367"/>
                  </a:lnTo>
                  <a:lnTo>
                    <a:pt x="1062" y="394"/>
                  </a:lnTo>
                  <a:lnTo>
                    <a:pt x="1084" y="420"/>
                  </a:lnTo>
                  <a:lnTo>
                    <a:pt x="1094" y="433"/>
                  </a:lnTo>
                  <a:lnTo>
                    <a:pt x="1106" y="446"/>
                  </a:lnTo>
                  <a:lnTo>
                    <a:pt x="1119" y="457"/>
                  </a:lnTo>
                  <a:lnTo>
                    <a:pt x="1132" y="469"/>
                  </a:lnTo>
                  <a:lnTo>
                    <a:pt x="1147" y="482"/>
                  </a:lnTo>
                  <a:lnTo>
                    <a:pt x="1162" y="494"/>
                  </a:lnTo>
                  <a:lnTo>
                    <a:pt x="1178" y="506"/>
                  </a:lnTo>
                  <a:lnTo>
                    <a:pt x="1193" y="516"/>
                  </a:lnTo>
                  <a:lnTo>
                    <a:pt x="1226" y="535"/>
                  </a:lnTo>
                  <a:lnTo>
                    <a:pt x="1259" y="553"/>
                  </a:lnTo>
                  <a:lnTo>
                    <a:pt x="1293" y="569"/>
                  </a:lnTo>
                  <a:lnTo>
                    <a:pt x="1328" y="583"/>
                  </a:lnTo>
                  <a:lnTo>
                    <a:pt x="1365" y="598"/>
                  </a:lnTo>
                  <a:lnTo>
                    <a:pt x="1401" y="609"/>
                  </a:lnTo>
                  <a:lnTo>
                    <a:pt x="1474" y="633"/>
                  </a:lnTo>
                  <a:lnTo>
                    <a:pt x="1547" y="655"/>
                  </a:lnTo>
                  <a:lnTo>
                    <a:pt x="1584" y="668"/>
                  </a:lnTo>
                  <a:lnTo>
                    <a:pt x="1620" y="680"/>
                  </a:lnTo>
                  <a:lnTo>
                    <a:pt x="1656" y="693"/>
                  </a:lnTo>
                  <a:lnTo>
                    <a:pt x="1690" y="708"/>
                  </a:lnTo>
                  <a:lnTo>
                    <a:pt x="1726" y="725"/>
                  </a:lnTo>
                  <a:lnTo>
                    <a:pt x="1764" y="745"/>
                  </a:lnTo>
                  <a:lnTo>
                    <a:pt x="1804" y="768"/>
                  </a:lnTo>
                  <a:lnTo>
                    <a:pt x="1845" y="793"/>
                  </a:lnTo>
                  <a:lnTo>
                    <a:pt x="1865" y="807"/>
                  </a:lnTo>
                  <a:lnTo>
                    <a:pt x="1886" y="822"/>
                  </a:lnTo>
                  <a:lnTo>
                    <a:pt x="1906" y="838"/>
                  </a:lnTo>
                  <a:lnTo>
                    <a:pt x="1926" y="853"/>
                  </a:lnTo>
                  <a:lnTo>
                    <a:pt x="1945" y="869"/>
                  </a:lnTo>
                  <a:lnTo>
                    <a:pt x="1965" y="886"/>
                  </a:lnTo>
                  <a:lnTo>
                    <a:pt x="1983" y="904"/>
                  </a:lnTo>
                  <a:lnTo>
                    <a:pt x="2002" y="921"/>
                  </a:lnTo>
                  <a:lnTo>
                    <a:pt x="2018" y="939"/>
                  </a:lnTo>
                  <a:lnTo>
                    <a:pt x="2035" y="958"/>
                  </a:lnTo>
                  <a:lnTo>
                    <a:pt x="2050" y="977"/>
                  </a:lnTo>
                  <a:lnTo>
                    <a:pt x="2064" y="997"/>
                  </a:lnTo>
                  <a:lnTo>
                    <a:pt x="2077" y="1017"/>
                  </a:lnTo>
                  <a:lnTo>
                    <a:pt x="2089" y="1037"/>
                  </a:lnTo>
                  <a:lnTo>
                    <a:pt x="2098" y="1057"/>
                  </a:lnTo>
                  <a:lnTo>
                    <a:pt x="2108" y="1078"/>
                  </a:lnTo>
                  <a:lnTo>
                    <a:pt x="2115" y="1099"/>
                  </a:lnTo>
                  <a:lnTo>
                    <a:pt x="2121" y="1120"/>
                  </a:lnTo>
                  <a:lnTo>
                    <a:pt x="2124" y="1141"/>
                  </a:lnTo>
                  <a:lnTo>
                    <a:pt x="2125" y="1164"/>
                  </a:lnTo>
                  <a:lnTo>
                    <a:pt x="2125" y="1185"/>
                  </a:lnTo>
                  <a:lnTo>
                    <a:pt x="2124" y="1207"/>
                  </a:lnTo>
                  <a:lnTo>
                    <a:pt x="2120" y="1230"/>
                  </a:lnTo>
                  <a:lnTo>
                    <a:pt x="2112" y="1252"/>
                  </a:lnTo>
                  <a:close/>
                  <a:moveTo>
                    <a:pt x="1992" y="862"/>
                  </a:moveTo>
                  <a:lnTo>
                    <a:pt x="1961" y="834"/>
                  </a:lnTo>
                  <a:lnTo>
                    <a:pt x="1928" y="807"/>
                  </a:lnTo>
                  <a:lnTo>
                    <a:pt x="1895" y="782"/>
                  </a:lnTo>
                  <a:lnTo>
                    <a:pt x="1861" y="759"/>
                  </a:lnTo>
                  <a:lnTo>
                    <a:pt x="1826" y="738"/>
                  </a:lnTo>
                  <a:lnTo>
                    <a:pt x="1791" y="719"/>
                  </a:lnTo>
                  <a:lnTo>
                    <a:pt x="1755" y="700"/>
                  </a:lnTo>
                  <a:lnTo>
                    <a:pt x="1719" y="682"/>
                  </a:lnTo>
                  <a:lnTo>
                    <a:pt x="1682" y="667"/>
                  </a:lnTo>
                  <a:lnTo>
                    <a:pt x="1645" y="652"/>
                  </a:lnTo>
                  <a:lnTo>
                    <a:pt x="1606" y="636"/>
                  </a:lnTo>
                  <a:lnTo>
                    <a:pt x="1569" y="622"/>
                  </a:lnTo>
                  <a:lnTo>
                    <a:pt x="1491" y="595"/>
                  </a:lnTo>
                  <a:lnTo>
                    <a:pt x="1411" y="568"/>
                  </a:lnTo>
                  <a:lnTo>
                    <a:pt x="1380" y="558"/>
                  </a:lnTo>
                  <a:lnTo>
                    <a:pt x="1350" y="546"/>
                  </a:lnTo>
                  <a:lnTo>
                    <a:pt x="1320" y="533"/>
                  </a:lnTo>
                  <a:lnTo>
                    <a:pt x="1291" y="519"/>
                  </a:lnTo>
                  <a:lnTo>
                    <a:pt x="1261" y="505"/>
                  </a:lnTo>
                  <a:lnTo>
                    <a:pt x="1233" y="488"/>
                  </a:lnTo>
                  <a:lnTo>
                    <a:pt x="1205" y="472"/>
                  </a:lnTo>
                  <a:lnTo>
                    <a:pt x="1178" y="453"/>
                  </a:lnTo>
                  <a:lnTo>
                    <a:pt x="1162" y="441"/>
                  </a:lnTo>
                  <a:lnTo>
                    <a:pt x="1147" y="429"/>
                  </a:lnTo>
                  <a:lnTo>
                    <a:pt x="1134" y="415"/>
                  </a:lnTo>
                  <a:lnTo>
                    <a:pt x="1121" y="402"/>
                  </a:lnTo>
                  <a:lnTo>
                    <a:pt x="1108" y="388"/>
                  </a:lnTo>
                  <a:lnTo>
                    <a:pt x="1098" y="373"/>
                  </a:lnTo>
                  <a:lnTo>
                    <a:pt x="1086" y="359"/>
                  </a:lnTo>
                  <a:lnTo>
                    <a:pt x="1076" y="343"/>
                  </a:lnTo>
                  <a:lnTo>
                    <a:pt x="1058" y="310"/>
                  </a:lnTo>
                  <a:lnTo>
                    <a:pt x="1040" y="277"/>
                  </a:lnTo>
                  <a:lnTo>
                    <a:pt x="1025" y="243"/>
                  </a:lnTo>
                  <a:lnTo>
                    <a:pt x="1008" y="208"/>
                  </a:lnTo>
                  <a:lnTo>
                    <a:pt x="999" y="186"/>
                  </a:lnTo>
                  <a:lnTo>
                    <a:pt x="987" y="163"/>
                  </a:lnTo>
                  <a:lnTo>
                    <a:pt x="975" y="143"/>
                  </a:lnTo>
                  <a:lnTo>
                    <a:pt x="963" y="123"/>
                  </a:lnTo>
                  <a:lnTo>
                    <a:pt x="951" y="104"/>
                  </a:lnTo>
                  <a:lnTo>
                    <a:pt x="936" y="88"/>
                  </a:lnTo>
                  <a:lnTo>
                    <a:pt x="922" y="71"/>
                  </a:lnTo>
                  <a:lnTo>
                    <a:pt x="906" y="57"/>
                  </a:lnTo>
                  <a:lnTo>
                    <a:pt x="889" y="44"/>
                  </a:lnTo>
                  <a:lnTo>
                    <a:pt x="872" y="34"/>
                  </a:lnTo>
                  <a:lnTo>
                    <a:pt x="853" y="24"/>
                  </a:lnTo>
                  <a:lnTo>
                    <a:pt x="833" y="16"/>
                  </a:lnTo>
                  <a:lnTo>
                    <a:pt x="812" y="10"/>
                  </a:lnTo>
                  <a:lnTo>
                    <a:pt x="788" y="7"/>
                  </a:lnTo>
                  <a:lnTo>
                    <a:pt x="764" y="4"/>
                  </a:lnTo>
                  <a:lnTo>
                    <a:pt x="739" y="4"/>
                  </a:lnTo>
                  <a:lnTo>
                    <a:pt x="734" y="1"/>
                  </a:lnTo>
                  <a:lnTo>
                    <a:pt x="728" y="0"/>
                  </a:lnTo>
                  <a:lnTo>
                    <a:pt x="713" y="1"/>
                  </a:lnTo>
                  <a:lnTo>
                    <a:pt x="697" y="2"/>
                  </a:lnTo>
                  <a:lnTo>
                    <a:pt x="683" y="4"/>
                  </a:lnTo>
                  <a:lnTo>
                    <a:pt x="668" y="8"/>
                  </a:lnTo>
                  <a:lnTo>
                    <a:pt x="654" y="12"/>
                  </a:lnTo>
                  <a:lnTo>
                    <a:pt x="640" y="17"/>
                  </a:lnTo>
                  <a:lnTo>
                    <a:pt x="626" y="24"/>
                  </a:lnTo>
                  <a:lnTo>
                    <a:pt x="613" y="31"/>
                  </a:lnTo>
                  <a:lnTo>
                    <a:pt x="599" y="38"/>
                  </a:lnTo>
                  <a:lnTo>
                    <a:pt x="586" y="48"/>
                  </a:lnTo>
                  <a:lnTo>
                    <a:pt x="573" y="57"/>
                  </a:lnTo>
                  <a:lnTo>
                    <a:pt x="561" y="67"/>
                  </a:lnTo>
                  <a:lnTo>
                    <a:pt x="536" y="88"/>
                  </a:lnTo>
                  <a:lnTo>
                    <a:pt x="513" y="111"/>
                  </a:lnTo>
                  <a:lnTo>
                    <a:pt x="490" y="136"/>
                  </a:lnTo>
                  <a:lnTo>
                    <a:pt x="469" y="162"/>
                  </a:lnTo>
                  <a:lnTo>
                    <a:pt x="449" y="189"/>
                  </a:lnTo>
                  <a:lnTo>
                    <a:pt x="430" y="216"/>
                  </a:lnTo>
                  <a:lnTo>
                    <a:pt x="395" y="268"/>
                  </a:lnTo>
                  <a:lnTo>
                    <a:pt x="364" y="317"/>
                  </a:lnTo>
                  <a:lnTo>
                    <a:pt x="338" y="359"/>
                  </a:lnTo>
                  <a:lnTo>
                    <a:pt x="314" y="400"/>
                  </a:lnTo>
                  <a:lnTo>
                    <a:pt x="288" y="443"/>
                  </a:lnTo>
                  <a:lnTo>
                    <a:pt x="263" y="487"/>
                  </a:lnTo>
                  <a:lnTo>
                    <a:pt x="238" y="532"/>
                  </a:lnTo>
                  <a:lnTo>
                    <a:pt x="215" y="578"/>
                  </a:lnTo>
                  <a:lnTo>
                    <a:pt x="191" y="622"/>
                  </a:lnTo>
                  <a:lnTo>
                    <a:pt x="169" y="669"/>
                  </a:lnTo>
                  <a:lnTo>
                    <a:pt x="146" y="715"/>
                  </a:lnTo>
                  <a:lnTo>
                    <a:pt x="126" y="762"/>
                  </a:lnTo>
                  <a:lnTo>
                    <a:pt x="106" y="809"/>
                  </a:lnTo>
                  <a:lnTo>
                    <a:pt x="88" y="857"/>
                  </a:lnTo>
                  <a:lnTo>
                    <a:pt x="71" y="904"/>
                  </a:lnTo>
                  <a:lnTo>
                    <a:pt x="55" y="951"/>
                  </a:lnTo>
                  <a:lnTo>
                    <a:pt x="40" y="998"/>
                  </a:lnTo>
                  <a:lnTo>
                    <a:pt x="28" y="1045"/>
                  </a:lnTo>
                  <a:lnTo>
                    <a:pt x="17" y="1090"/>
                  </a:lnTo>
                  <a:lnTo>
                    <a:pt x="10" y="1134"/>
                  </a:lnTo>
                  <a:lnTo>
                    <a:pt x="6" y="1156"/>
                  </a:lnTo>
                  <a:lnTo>
                    <a:pt x="4" y="1178"/>
                  </a:lnTo>
                  <a:lnTo>
                    <a:pt x="2" y="1200"/>
                  </a:lnTo>
                  <a:lnTo>
                    <a:pt x="0" y="1221"/>
                  </a:lnTo>
                  <a:lnTo>
                    <a:pt x="0" y="1244"/>
                  </a:lnTo>
                  <a:lnTo>
                    <a:pt x="0" y="1265"/>
                  </a:lnTo>
                  <a:lnTo>
                    <a:pt x="2" y="1287"/>
                  </a:lnTo>
                  <a:lnTo>
                    <a:pt x="3" y="1309"/>
                  </a:lnTo>
                  <a:lnTo>
                    <a:pt x="5" y="1330"/>
                  </a:lnTo>
                  <a:lnTo>
                    <a:pt x="9" y="1351"/>
                  </a:lnTo>
                  <a:lnTo>
                    <a:pt x="12" y="1372"/>
                  </a:lnTo>
                  <a:lnTo>
                    <a:pt x="17" y="1392"/>
                  </a:lnTo>
                  <a:lnTo>
                    <a:pt x="22" y="1412"/>
                  </a:lnTo>
                  <a:lnTo>
                    <a:pt x="29" y="1433"/>
                  </a:lnTo>
                  <a:lnTo>
                    <a:pt x="35" y="1452"/>
                  </a:lnTo>
                  <a:lnTo>
                    <a:pt x="43" y="1472"/>
                  </a:lnTo>
                  <a:lnTo>
                    <a:pt x="51" y="1491"/>
                  </a:lnTo>
                  <a:lnTo>
                    <a:pt x="61" y="1511"/>
                  </a:lnTo>
                  <a:lnTo>
                    <a:pt x="71" y="1529"/>
                  </a:lnTo>
                  <a:lnTo>
                    <a:pt x="82" y="1548"/>
                  </a:lnTo>
                  <a:lnTo>
                    <a:pt x="93" y="1565"/>
                  </a:lnTo>
                  <a:lnTo>
                    <a:pt x="106" y="1583"/>
                  </a:lnTo>
                  <a:lnTo>
                    <a:pt x="121" y="1599"/>
                  </a:lnTo>
                  <a:lnTo>
                    <a:pt x="135" y="1617"/>
                  </a:lnTo>
                  <a:lnTo>
                    <a:pt x="150" y="1633"/>
                  </a:lnTo>
                  <a:lnTo>
                    <a:pt x="166" y="1649"/>
                  </a:lnTo>
                  <a:lnTo>
                    <a:pt x="184" y="1664"/>
                  </a:lnTo>
                  <a:lnTo>
                    <a:pt x="203" y="1679"/>
                  </a:lnTo>
                  <a:lnTo>
                    <a:pt x="217" y="1690"/>
                  </a:lnTo>
                  <a:lnTo>
                    <a:pt x="232" y="1701"/>
                  </a:lnTo>
                  <a:lnTo>
                    <a:pt x="249" y="1711"/>
                  </a:lnTo>
                  <a:lnTo>
                    <a:pt x="264" y="1721"/>
                  </a:lnTo>
                  <a:lnTo>
                    <a:pt x="297" y="1738"/>
                  </a:lnTo>
                  <a:lnTo>
                    <a:pt x="331" y="1754"/>
                  </a:lnTo>
                  <a:lnTo>
                    <a:pt x="367" y="1766"/>
                  </a:lnTo>
                  <a:lnTo>
                    <a:pt x="402" y="1778"/>
                  </a:lnTo>
                  <a:lnTo>
                    <a:pt x="438" y="1789"/>
                  </a:lnTo>
                  <a:lnTo>
                    <a:pt x="475" y="1797"/>
                  </a:lnTo>
                  <a:lnTo>
                    <a:pt x="513" y="1804"/>
                  </a:lnTo>
                  <a:lnTo>
                    <a:pt x="550" y="1810"/>
                  </a:lnTo>
                  <a:lnTo>
                    <a:pt x="588" y="1815"/>
                  </a:lnTo>
                  <a:lnTo>
                    <a:pt x="626" y="1817"/>
                  </a:lnTo>
                  <a:lnTo>
                    <a:pt x="662" y="1819"/>
                  </a:lnTo>
                  <a:lnTo>
                    <a:pt x="700" y="1821"/>
                  </a:lnTo>
                  <a:lnTo>
                    <a:pt x="737" y="1821"/>
                  </a:lnTo>
                  <a:lnTo>
                    <a:pt x="773" y="1821"/>
                  </a:lnTo>
                  <a:lnTo>
                    <a:pt x="875" y="1818"/>
                  </a:lnTo>
                  <a:lnTo>
                    <a:pt x="978" y="1814"/>
                  </a:lnTo>
                  <a:lnTo>
                    <a:pt x="1029" y="1811"/>
                  </a:lnTo>
                  <a:lnTo>
                    <a:pt x="1081" y="1806"/>
                  </a:lnTo>
                  <a:lnTo>
                    <a:pt x="1132" y="1802"/>
                  </a:lnTo>
                  <a:lnTo>
                    <a:pt x="1182" y="1796"/>
                  </a:lnTo>
                  <a:lnTo>
                    <a:pt x="1233" y="1788"/>
                  </a:lnTo>
                  <a:lnTo>
                    <a:pt x="1284" y="1778"/>
                  </a:lnTo>
                  <a:lnTo>
                    <a:pt x="1333" y="1768"/>
                  </a:lnTo>
                  <a:lnTo>
                    <a:pt x="1383" y="1755"/>
                  </a:lnTo>
                  <a:lnTo>
                    <a:pt x="1431" y="1741"/>
                  </a:lnTo>
                  <a:lnTo>
                    <a:pt x="1479" y="1723"/>
                  </a:lnTo>
                  <a:lnTo>
                    <a:pt x="1503" y="1713"/>
                  </a:lnTo>
                  <a:lnTo>
                    <a:pt x="1526" y="1704"/>
                  </a:lnTo>
                  <a:lnTo>
                    <a:pt x="1550" y="1693"/>
                  </a:lnTo>
                  <a:lnTo>
                    <a:pt x="1573" y="1682"/>
                  </a:lnTo>
                  <a:lnTo>
                    <a:pt x="1617" y="1658"/>
                  </a:lnTo>
                  <a:lnTo>
                    <a:pt x="1660" y="1635"/>
                  </a:lnTo>
                  <a:lnTo>
                    <a:pt x="1704" y="1610"/>
                  </a:lnTo>
                  <a:lnTo>
                    <a:pt x="1746" y="1585"/>
                  </a:lnTo>
                  <a:lnTo>
                    <a:pt x="1790" y="1560"/>
                  </a:lnTo>
                  <a:lnTo>
                    <a:pt x="1832" y="1536"/>
                  </a:lnTo>
                  <a:lnTo>
                    <a:pt x="1876" y="1510"/>
                  </a:lnTo>
                  <a:lnTo>
                    <a:pt x="1918" y="1485"/>
                  </a:lnTo>
                  <a:lnTo>
                    <a:pt x="1948" y="1469"/>
                  </a:lnTo>
                  <a:lnTo>
                    <a:pt x="1977" y="1450"/>
                  </a:lnTo>
                  <a:lnTo>
                    <a:pt x="2005" y="1431"/>
                  </a:lnTo>
                  <a:lnTo>
                    <a:pt x="2034" y="1411"/>
                  </a:lnTo>
                  <a:lnTo>
                    <a:pt x="2059" y="1389"/>
                  </a:lnTo>
                  <a:lnTo>
                    <a:pt x="2084" y="1365"/>
                  </a:lnTo>
                  <a:lnTo>
                    <a:pt x="2096" y="1352"/>
                  </a:lnTo>
                  <a:lnTo>
                    <a:pt x="2107" y="1339"/>
                  </a:lnTo>
                  <a:lnTo>
                    <a:pt x="2117" y="1326"/>
                  </a:lnTo>
                  <a:lnTo>
                    <a:pt x="2128" y="1312"/>
                  </a:lnTo>
                  <a:lnTo>
                    <a:pt x="2137" y="1297"/>
                  </a:lnTo>
                  <a:lnTo>
                    <a:pt x="2145" y="1283"/>
                  </a:lnTo>
                  <a:lnTo>
                    <a:pt x="2152" y="1267"/>
                  </a:lnTo>
                  <a:lnTo>
                    <a:pt x="2158" y="1252"/>
                  </a:lnTo>
                  <a:lnTo>
                    <a:pt x="2163" y="1237"/>
                  </a:lnTo>
                  <a:lnTo>
                    <a:pt x="2167" y="1221"/>
                  </a:lnTo>
                  <a:lnTo>
                    <a:pt x="2169" y="1206"/>
                  </a:lnTo>
                  <a:lnTo>
                    <a:pt x="2170" y="1191"/>
                  </a:lnTo>
                  <a:lnTo>
                    <a:pt x="2170" y="1174"/>
                  </a:lnTo>
                  <a:lnTo>
                    <a:pt x="2169" y="1159"/>
                  </a:lnTo>
                  <a:lnTo>
                    <a:pt x="2167" y="1144"/>
                  </a:lnTo>
                  <a:lnTo>
                    <a:pt x="2164" y="1130"/>
                  </a:lnTo>
                  <a:lnTo>
                    <a:pt x="2161" y="1114"/>
                  </a:lnTo>
                  <a:lnTo>
                    <a:pt x="2156" y="1099"/>
                  </a:lnTo>
                  <a:lnTo>
                    <a:pt x="2151" y="1084"/>
                  </a:lnTo>
                  <a:lnTo>
                    <a:pt x="2144" y="1070"/>
                  </a:lnTo>
                  <a:lnTo>
                    <a:pt x="2131" y="1040"/>
                  </a:lnTo>
                  <a:lnTo>
                    <a:pt x="2115" y="1012"/>
                  </a:lnTo>
                  <a:lnTo>
                    <a:pt x="2097" y="984"/>
                  </a:lnTo>
                  <a:lnTo>
                    <a:pt x="2077" y="957"/>
                  </a:lnTo>
                  <a:lnTo>
                    <a:pt x="2057" y="932"/>
                  </a:lnTo>
                  <a:lnTo>
                    <a:pt x="2036" y="907"/>
                  </a:lnTo>
                  <a:lnTo>
                    <a:pt x="2014" y="885"/>
                  </a:lnTo>
                  <a:lnTo>
                    <a:pt x="1992" y="862"/>
                  </a:lnTo>
                  <a:close/>
                </a:path>
              </a:pathLst>
            </a:custGeom>
            <a:solidFill>
              <a:srgbClr val="66A2B8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6653" tIns="58327" rIns="116653" bIns="58327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434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137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7" name="Freeform 47"/>
            <p:cNvSpPr>
              <a:spLocks/>
            </p:cNvSpPr>
            <p:nvPr/>
          </p:nvSpPr>
          <p:spPr bwMode="auto">
            <a:xfrm>
              <a:off x="781" y="2261"/>
              <a:ext cx="110" cy="109"/>
            </a:xfrm>
            <a:custGeom>
              <a:avLst/>
              <a:gdLst>
                <a:gd name="T0" fmla="*/ 438 w 438"/>
                <a:gd name="T1" fmla="*/ 214 h 437"/>
                <a:gd name="T2" fmla="*/ 434 w 438"/>
                <a:gd name="T3" fmla="*/ 258 h 437"/>
                <a:gd name="T4" fmla="*/ 422 w 438"/>
                <a:gd name="T5" fmla="*/ 299 h 437"/>
                <a:gd name="T6" fmla="*/ 403 w 438"/>
                <a:gd name="T7" fmla="*/ 337 h 437"/>
                <a:gd name="T8" fmla="*/ 378 w 438"/>
                <a:gd name="T9" fmla="*/ 370 h 437"/>
                <a:gd name="T10" fmla="*/ 346 w 438"/>
                <a:gd name="T11" fmla="*/ 397 h 437"/>
                <a:gd name="T12" fmla="*/ 308 w 438"/>
                <a:gd name="T13" fmla="*/ 418 h 437"/>
                <a:gd name="T14" fmla="*/ 267 w 438"/>
                <a:gd name="T15" fmla="*/ 432 h 437"/>
                <a:gd name="T16" fmla="*/ 223 w 438"/>
                <a:gd name="T17" fmla="*/ 437 h 437"/>
                <a:gd name="T18" fmla="*/ 180 w 438"/>
                <a:gd name="T19" fmla="*/ 433 h 437"/>
                <a:gd name="T20" fmla="*/ 139 w 438"/>
                <a:gd name="T21" fmla="*/ 421 h 437"/>
                <a:gd name="T22" fmla="*/ 101 w 438"/>
                <a:gd name="T23" fmla="*/ 403 h 437"/>
                <a:gd name="T24" fmla="*/ 68 w 438"/>
                <a:gd name="T25" fmla="*/ 377 h 437"/>
                <a:gd name="T26" fmla="*/ 41 w 438"/>
                <a:gd name="T27" fmla="*/ 345 h 437"/>
                <a:gd name="T28" fmla="*/ 20 w 438"/>
                <a:gd name="T29" fmla="*/ 308 h 437"/>
                <a:gd name="T30" fmla="*/ 6 w 438"/>
                <a:gd name="T31" fmla="*/ 267 h 437"/>
                <a:gd name="T32" fmla="*/ 0 w 438"/>
                <a:gd name="T33" fmla="*/ 222 h 437"/>
                <a:gd name="T34" fmla="*/ 3 w 438"/>
                <a:gd name="T35" fmla="*/ 179 h 437"/>
                <a:gd name="T36" fmla="*/ 15 w 438"/>
                <a:gd name="T37" fmla="*/ 139 h 437"/>
                <a:gd name="T38" fmla="*/ 34 w 438"/>
                <a:gd name="T39" fmla="*/ 101 h 437"/>
                <a:gd name="T40" fmla="*/ 60 w 438"/>
                <a:gd name="T41" fmla="*/ 68 h 437"/>
                <a:gd name="T42" fmla="*/ 91 w 438"/>
                <a:gd name="T43" fmla="*/ 40 h 437"/>
                <a:gd name="T44" fmla="*/ 129 w 438"/>
                <a:gd name="T45" fmla="*/ 19 h 437"/>
                <a:gd name="T46" fmla="*/ 170 w 438"/>
                <a:gd name="T47" fmla="*/ 6 h 437"/>
                <a:gd name="T48" fmla="*/ 215 w 438"/>
                <a:gd name="T49" fmla="*/ 0 h 437"/>
                <a:gd name="T50" fmla="*/ 257 w 438"/>
                <a:gd name="T51" fmla="*/ 3 h 437"/>
                <a:gd name="T52" fmla="*/ 299 w 438"/>
                <a:gd name="T53" fmla="*/ 15 h 437"/>
                <a:gd name="T54" fmla="*/ 336 w 438"/>
                <a:gd name="T55" fmla="*/ 34 h 437"/>
                <a:gd name="T56" fmla="*/ 369 w 438"/>
                <a:gd name="T57" fmla="*/ 60 h 437"/>
                <a:gd name="T58" fmla="*/ 396 w 438"/>
                <a:gd name="T59" fmla="*/ 92 h 437"/>
                <a:gd name="T60" fmla="*/ 418 w 438"/>
                <a:gd name="T61" fmla="*/ 128 h 437"/>
                <a:gd name="T62" fmla="*/ 432 w 438"/>
                <a:gd name="T63" fmla="*/ 169 h 4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38" h="437">
                  <a:moveTo>
                    <a:pt x="435" y="192"/>
                  </a:moveTo>
                  <a:lnTo>
                    <a:pt x="438" y="214"/>
                  </a:lnTo>
                  <a:lnTo>
                    <a:pt x="436" y="237"/>
                  </a:lnTo>
                  <a:lnTo>
                    <a:pt x="434" y="258"/>
                  </a:lnTo>
                  <a:lnTo>
                    <a:pt x="429" y="279"/>
                  </a:lnTo>
                  <a:lnTo>
                    <a:pt x="422" y="299"/>
                  </a:lnTo>
                  <a:lnTo>
                    <a:pt x="413" y="318"/>
                  </a:lnTo>
                  <a:lnTo>
                    <a:pt x="403" y="337"/>
                  </a:lnTo>
                  <a:lnTo>
                    <a:pt x="390" y="353"/>
                  </a:lnTo>
                  <a:lnTo>
                    <a:pt x="378" y="370"/>
                  </a:lnTo>
                  <a:lnTo>
                    <a:pt x="362" y="384"/>
                  </a:lnTo>
                  <a:lnTo>
                    <a:pt x="346" y="397"/>
                  </a:lnTo>
                  <a:lnTo>
                    <a:pt x="327" y="408"/>
                  </a:lnTo>
                  <a:lnTo>
                    <a:pt x="308" y="418"/>
                  </a:lnTo>
                  <a:lnTo>
                    <a:pt x="288" y="426"/>
                  </a:lnTo>
                  <a:lnTo>
                    <a:pt x="267" y="432"/>
                  </a:lnTo>
                  <a:lnTo>
                    <a:pt x="246" y="435"/>
                  </a:lnTo>
                  <a:lnTo>
                    <a:pt x="223" y="437"/>
                  </a:lnTo>
                  <a:lnTo>
                    <a:pt x="201" y="437"/>
                  </a:lnTo>
                  <a:lnTo>
                    <a:pt x="180" y="433"/>
                  </a:lnTo>
                  <a:lnTo>
                    <a:pt x="159" y="428"/>
                  </a:lnTo>
                  <a:lnTo>
                    <a:pt x="139" y="421"/>
                  </a:lnTo>
                  <a:lnTo>
                    <a:pt x="120" y="413"/>
                  </a:lnTo>
                  <a:lnTo>
                    <a:pt x="101" y="403"/>
                  </a:lnTo>
                  <a:lnTo>
                    <a:pt x="84" y="391"/>
                  </a:lnTo>
                  <a:lnTo>
                    <a:pt x="68" y="377"/>
                  </a:lnTo>
                  <a:lnTo>
                    <a:pt x="54" y="361"/>
                  </a:lnTo>
                  <a:lnTo>
                    <a:pt x="41" y="345"/>
                  </a:lnTo>
                  <a:lnTo>
                    <a:pt x="29" y="327"/>
                  </a:lnTo>
                  <a:lnTo>
                    <a:pt x="20" y="308"/>
                  </a:lnTo>
                  <a:lnTo>
                    <a:pt x="11" y="288"/>
                  </a:lnTo>
                  <a:lnTo>
                    <a:pt x="6" y="267"/>
                  </a:lnTo>
                  <a:lnTo>
                    <a:pt x="2" y="245"/>
                  </a:lnTo>
                  <a:lnTo>
                    <a:pt x="0" y="222"/>
                  </a:lnTo>
                  <a:lnTo>
                    <a:pt x="1" y="201"/>
                  </a:lnTo>
                  <a:lnTo>
                    <a:pt x="3" y="179"/>
                  </a:lnTo>
                  <a:lnTo>
                    <a:pt x="8" y="159"/>
                  </a:lnTo>
                  <a:lnTo>
                    <a:pt x="15" y="139"/>
                  </a:lnTo>
                  <a:lnTo>
                    <a:pt x="24" y="119"/>
                  </a:lnTo>
                  <a:lnTo>
                    <a:pt x="34" y="101"/>
                  </a:lnTo>
                  <a:lnTo>
                    <a:pt x="47" y="84"/>
                  </a:lnTo>
                  <a:lnTo>
                    <a:pt x="60" y="68"/>
                  </a:lnTo>
                  <a:lnTo>
                    <a:pt x="75" y="53"/>
                  </a:lnTo>
                  <a:lnTo>
                    <a:pt x="91" y="40"/>
                  </a:lnTo>
                  <a:lnTo>
                    <a:pt x="110" y="29"/>
                  </a:lnTo>
                  <a:lnTo>
                    <a:pt x="129" y="19"/>
                  </a:lnTo>
                  <a:lnTo>
                    <a:pt x="149" y="12"/>
                  </a:lnTo>
                  <a:lnTo>
                    <a:pt x="170" y="6"/>
                  </a:lnTo>
                  <a:lnTo>
                    <a:pt x="193" y="1"/>
                  </a:lnTo>
                  <a:lnTo>
                    <a:pt x="215" y="0"/>
                  </a:lnTo>
                  <a:lnTo>
                    <a:pt x="236" y="1"/>
                  </a:lnTo>
                  <a:lnTo>
                    <a:pt x="257" y="3"/>
                  </a:lnTo>
                  <a:lnTo>
                    <a:pt x="279" y="8"/>
                  </a:lnTo>
                  <a:lnTo>
                    <a:pt x="299" y="15"/>
                  </a:lnTo>
                  <a:lnTo>
                    <a:pt x="319" y="23"/>
                  </a:lnTo>
                  <a:lnTo>
                    <a:pt x="336" y="34"/>
                  </a:lnTo>
                  <a:lnTo>
                    <a:pt x="354" y="46"/>
                  </a:lnTo>
                  <a:lnTo>
                    <a:pt x="369" y="60"/>
                  </a:lnTo>
                  <a:lnTo>
                    <a:pt x="383" y="75"/>
                  </a:lnTo>
                  <a:lnTo>
                    <a:pt x="396" y="92"/>
                  </a:lnTo>
                  <a:lnTo>
                    <a:pt x="408" y="109"/>
                  </a:lnTo>
                  <a:lnTo>
                    <a:pt x="418" y="128"/>
                  </a:lnTo>
                  <a:lnTo>
                    <a:pt x="426" y="149"/>
                  </a:lnTo>
                  <a:lnTo>
                    <a:pt x="432" y="169"/>
                  </a:lnTo>
                  <a:lnTo>
                    <a:pt x="435" y="192"/>
                  </a:lnTo>
                  <a:close/>
                </a:path>
              </a:pathLst>
            </a:cu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6653" tIns="58327" rIns="116653" bIns="58327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434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137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8" name="Freeform 48"/>
            <p:cNvSpPr>
              <a:spLocks noEditPoints="1"/>
            </p:cNvSpPr>
            <p:nvPr/>
          </p:nvSpPr>
          <p:spPr bwMode="auto">
            <a:xfrm>
              <a:off x="776" y="2255"/>
              <a:ext cx="120" cy="121"/>
            </a:xfrm>
            <a:custGeom>
              <a:avLst/>
              <a:gdLst>
                <a:gd name="T0" fmla="*/ 178 w 481"/>
                <a:gd name="T1" fmla="*/ 54 h 481"/>
                <a:gd name="T2" fmla="*/ 126 w 481"/>
                <a:gd name="T3" fmla="*/ 80 h 481"/>
                <a:gd name="T4" fmla="*/ 86 w 481"/>
                <a:gd name="T5" fmla="*/ 120 h 481"/>
                <a:gd name="T6" fmla="*/ 58 w 481"/>
                <a:gd name="T7" fmla="*/ 168 h 481"/>
                <a:gd name="T8" fmla="*/ 44 w 481"/>
                <a:gd name="T9" fmla="*/ 224 h 481"/>
                <a:gd name="T10" fmla="*/ 49 w 481"/>
                <a:gd name="T11" fmla="*/ 284 h 481"/>
                <a:gd name="T12" fmla="*/ 70 w 481"/>
                <a:gd name="T13" fmla="*/ 339 h 481"/>
                <a:gd name="T14" fmla="*/ 105 w 481"/>
                <a:gd name="T15" fmla="*/ 383 h 481"/>
                <a:gd name="T16" fmla="*/ 151 w 481"/>
                <a:gd name="T17" fmla="*/ 416 h 481"/>
                <a:gd name="T18" fmla="*/ 205 w 481"/>
                <a:gd name="T19" fmla="*/ 434 h 481"/>
                <a:gd name="T20" fmla="*/ 264 w 481"/>
                <a:gd name="T21" fmla="*/ 436 h 481"/>
                <a:gd name="T22" fmla="*/ 322 w 481"/>
                <a:gd name="T23" fmla="*/ 420 h 481"/>
                <a:gd name="T24" fmla="*/ 370 w 481"/>
                <a:gd name="T25" fmla="*/ 389 h 481"/>
                <a:gd name="T26" fmla="*/ 407 w 481"/>
                <a:gd name="T27" fmla="*/ 347 h 481"/>
                <a:gd name="T28" fmla="*/ 430 w 481"/>
                <a:gd name="T29" fmla="*/ 295 h 481"/>
                <a:gd name="T30" fmla="*/ 437 w 481"/>
                <a:gd name="T31" fmla="*/ 237 h 481"/>
                <a:gd name="T32" fmla="*/ 428 w 481"/>
                <a:gd name="T33" fmla="*/ 177 h 481"/>
                <a:gd name="T34" fmla="*/ 401 w 481"/>
                <a:gd name="T35" fmla="*/ 127 h 481"/>
                <a:gd name="T36" fmla="*/ 362 w 481"/>
                <a:gd name="T37" fmla="*/ 85 h 481"/>
                <a:gd name="T38" fmla="*/ 312 w 481"/>
                <a:gd name="T39" fmla="*/ 57 h 481"/>
                <a:gd name="T40" fmla="*/ 257 w 481"/>
                <a:gd name="T41" fmla="*/ 44 h 481"/>
                <a:gd name="T42" fmla="*/ 270 w 481"/>
                <a:gd name="T43" fmla="*/ 480 h 481"/>
                <a:gd name="T44" fmla="*/ 234 w 481"/>
                <a:gd name="T45" fmla="*/ 481 h 481"/>
                <a:gd name="T46" fmla="*/ 175 w 481"/>
                <a:gd name="T47" fmla="*/ 472 h 481"/>
                <a:gd name="T48" fmla="*/ 111 w 481"/>
                <a:gd name="T49" fmla="*/ 443 h 481"/>
                <a:gd name="T50" fmla="*/ 59 w 481"/>
                <a:gd name="T51" fmla="*/ 397 h 481"/>
                <a:gd name="T52" fmla="*/ 22 w 481"/>
                <a:gd name="T53" fmla="*/ 339 h 481"/>
                <a:gd name="T54" fmla="*/ 6 w 481"/>
                <a:gd name="T55" fmla="*/ 294 h 481"/>
                <a:gd name="T56" fmla="*/ 0 w 481"/>
                <a:gd name="T57" fmla="*/ 257 h 481"/>
                <a:gd name="T58" fmla="*/ 0 w 481"/>
                <a:gd name="T59" fmla="*/ 221 h 481"/>
                <a:gd name="T60" fmla="*/ 17 w 481"/>
                <a:gd name="T61" fmla="*/ 153 h 481"/>
                <a:gd name="T62" fmla="*/ 51 w 481"/>
                <a:gd name="T63" fmla="*/ 93 h 481"/>
                <a:gd name="T64" fmla="*/ 102 w 481"/>
                <a:gd name="T65" fmla="*/ 44 h 481"/>
                <a:gd name="T66" fmla="*/ 164 w 481"/>
                <a:gd name="T67" fmla="*/ 13 h 481"/>
                <a:gd name="T68" fmla="*/ 199 w 481"/>
                <a:gd name="T69" fmla="*/ 3 h 481"/>
                <a:gd name="T70" fmla="*/ 236 w 481"/>
                <a:gd name="T71" fmla="*/ 0 h 481"/>
                <a:gd name="T72" fmla="*/ 284 w 481"/>
                <a:gd name="T73" fmla="*/ 4 h 481"/>
                <a:gd name="T74" fmla="*/ 350 w 481"/>
                <a:gd name="T75" fmla="*/ 27 h 481"/>
                <a:gd name="T76" fmla="*/ 407 w 481"/>
                <a:gd name="T77" fmla="*/ 67 h 481"/>
                <a:gd name="T78" fmla="*/ 449 w 481"/>
                <a:gd name="T79" fmla="*/ 121 h 481"/>
                <a:gd name="T80" fmla="*/ 473 w 481"/>
                <a:gd name="T81" fmla="*/ 175 h 481"/>
                <a:gd name="T82" fmla="*/ 480 w 481"/>
                <a:gd name="T83" fmla="*/ 211 h 481"/>
                <a:gd name="T84" fmla="*/ 481 w 481"/>
                <a:gd name="T85" fmla="*/ 248 h 481"/>
                <a:gd name="T86" fmla="*/ 471 w 481"/>
                <a:gd name="T87" fmla="*/ 307 h 481"/>
                <a:gd name="T88" fmla="*/ 443 w 481"/>
                <a:gd name="T89" fmla="*/ 370 h 481"/>
                <a:gd name="T90" fmla="*/ 398 w 481"/>
                <a:gd name="T91" fmla="*/ 422 h 481"/>
                <a:gd name="T92" fmla="*/ 339 w 481"/>
                <a:gd name="T93" fmla="*/ 460 h 481"/>
                <a:gd name="T94" fmla="*/ 294 w 481"/>
                <a:gd name="T95" fmla="*/ 475 h 4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481" h="481">
                  <a:moveTo>
                    <a:pt x="217" y="45"/>
                  </a:moveTo>
                  <a:lnTo>
                    <a:pt x="197" y="49"/>
                  </a:lnTo>
                  <a:lnTo>
                    <a:pt x="178" y="54"/>
                  </a:lnTo>
                  <a:lnTo>
                    <a:pt x="159" y="61"/>
                  </a:lnTo>
                  <a:lnTo>
                    <a:pt x="143" y="70"/>
                  </a:lnTo>
                  <a:lnTo>
                    <a:pt x="126" y="80"/>
                  </a:lnTo>
                  <a:lnTo>
                    <a:pt x="112" y="91"/>
                  </a:lnTo>
                  <a:lnTo>
                    <a:pt x="98" y="106"/>
                  </a:lnTo>
                  <a:lnTo>
                    <a:pt x="86" y="120"/>
                  </a:lnTo>
                  <a:lnTo>
                    <a:pt x="75" y="135"/>
                  </a:lnTo>
                  <a:lnTo>
                    <a:pt x="65" y="151"/>
                  </a:lnTo>
                  <a:lnTo>
                    <a:pt x="58" y="168"/>
                  </a:lnTo>
                  <a:lnTo>
                    <a:pt x="51" y="187"/>
                  </a:lnTo>
                  <a:lnTo>
                    <a:pt x="48" y="206"/>
                  </a:lnTo>
                  <a:lnTo>
                    <a:pt x="44" y="224"/>
                  </a:lnTo>
                  <a:lnTo>
                    <a:pt x="44" y="244"/>
                  </a:lnTo>
                  <a:lnTo>
                    <a:pt x="45" y="264"/>
                  </a:lnTo>
                  <a:lnTo>
                    <a:pt x="49" y="284"/>
                  </a:lnTo>
                  <a:lnTo>
                    <a:pt x="55" y="303"/>
                  </a:lnTo>
                  <a:lnTo>
                    <a:pt x="62" y="321"/>
                  </a:lnTo>
                  <a:lnTo>
                    <a:pt x="70" y="339"/>
                  </a:lnTo>
                  <a:lnTo>
                    <a:pt x="80" y="354"/>
                  </a:lnTo>
                  <a:lnTo>
                    <a:pt x="92" y="369"/>
                  </a:lnTo>
                  <a:lnTo>
                    <a:pt x="105" y="383"/>
                  </a:lnTo>
                  <a:lnTo>
                    <a:pt x="119" y="395"/>
                  </a:lnTo>
                  <a:lnTo>
                    <a:pt x="135" y="407"/>
                  </a:lnTo>
                  <a:lnTo>
                    <a:pt x="151" y="416"/>
                  </a:lnTo>
                  <a:lnTo>
                    <a:pt x="169" y="423"/>
                  </a:lnTo>
                  <a:lnTo>
                    <a:pt x="186" y="429"/>
                  </a:lnTo>
                  <a:lnTo>
                    <a:pt x="205" y="434"/>
                  </a:lnTo>
                  <a:lnTo>
                    <a:pt x="224" y="436"/>
                  </a:lnTo>
                  <a:lnTo>
                    <a:pt x="244" y="437"/>
                  </a:lnTo>
                  <a:lnTo>
                    <a:pt x="264" y="436"/>
                  </a:lnTo>
                  <a:lnTo>
                    <a:pt x="284" y="433"/>
                  </a:lnTo>
                  <a:lnTo>
                    <a:pt x="303" y="427"/>
                  </a:lnTo>
                  <a:lnTo>
                    <a:pt x="322" y="420"/>
                  </a:lnTo>
                  <a:lnTo>
                    <a:pt x="338" y="412"/>
                  </a:lnTo>
                  <a:lnTo>
                    <a:pt x="355" y="401"/>
                  </a:lnTo>
                  <a:lnTo>
                    <a:pt x="370" y="389"/>
                  </a:lnTo>
                  <a:lnTo>
                    <a:pt x="383" y="376"/>
                  </a:lnTo>
                  <a:lnTo>
                    <a:pt x="396" y="362"/>
                  </a:lnTo>
                  <a:lnTo>
                    <a:pt x="407" y="347"/>
                  </a:lnTo>
                  <a:lnTo>
                    <a:pt x="416" y="330"/>
                  </a:lnTo>
                  <a:lnTo>
                    <a:pt x="424" y="313"/>
                  </a:lnTo>
                  <a:lnTo>
                    <a:pt x="430" y="295"/>
                  </a:lnTo>
                  <a:lnTo>
                    <a:pt x="435" y="276"/>
                  </a:lnTo>
                  <a:lnTo>
                    <a:pt x="437" y="256"/>
                  </a:lnTo>
                  <a:lnTo>
                    <a:pt x="437" y="237"/>
                  </a:lnTo>
                  <a:lnTo>
                    <a:pt x="436" y="216"/>
                  </a:lnTo>
                  <a:lnTo>
                    <a:pt x="432" y="197"/>
                  </a:lnTo>
                  <a:lnTo>
                    <a:pt x="428" y="177"/>
                  </a:lnTo>
                  <a:lnTo>
                    <a:pt x="421" y="160"/>
                  </a:lnTo>
                  <a:lnTo>
                    <a:pt x="411" y="143"/>
                  </a:lnTo>
                  <a:lnTo>
                    <a:pt x="401" y="127"/>
                  </a:lnTo>
                  <a:lnTo>
                    <a:pt x="389" y="111"/>
                  </a:lnTo>
                  <a:lnTo>
                    <a:pt x="376" y="98"/>
                  </a:lnTo>
                  <a:lnTo>
                    <a:pt x="362" y="85"/>
                  </a:lnTo>
                  <a:lnTo>
                    <a:pt x="347" y="75"/>
                  </a:lnTo>
                  <a:lnTo>
                    <a:pt x="330" y="65"/>
                  </a:lnTo>
                  <a:lnTo>
                    <a:pt x="312" y="57"/>
                  </a:lnTo>
                  <a:lnTo>
                    <a:pt x="295" y="51"/>
                  </a:lnTo>
                  <a:lnTo>
                    <a:pt x="276" y="47"/>
                  </a:lnTo>
                  <a:lnTo>
                    <a:pt x="257" y="44"/>
                  </a:lnTo>
                  <a:lnTo>
                    <a:pt x="237" y="44"/>
                  </a:lnTo>
                  <a:lnTo>
                    <a:pt x="217" y="45"/>
                  </a:lnTo>
                  <a:close/>
                  <a:moveTo>
                    <a:pt x="270" y="480"/>
                  </a:moveTo>
                  <a:lnTo>
                    <a:pt x="257" y="481"/>
                  </a:lnTo>
                  <a:lnTo>
                    <a:pt x="245" y="481"/>
                  </a:lnTo>
                  <a:lnTo>
                    <a:pt x="234" y="481"/>
                  </a:lnTo>
                  <a:lnTo>
                    <a:pt x="221" y="480"/>
                  </a:lnTo>
                  <a:lnTo>
                    <a:pt x="197" y="477"/>
                  </a:lnTo>
                  <a:lnTo>
                    <a:pt x="175" y="472"/>
                  </a:lnTo>
                  <a:lnTo>
                    <a:pt x="152" y="465"/>
                  </a:lnTo>
                  <a:lnTo>
                    <a:pt x="131" y="455"/>
                  </a:lnTo>
                  <a:lnTo>
                    <a:pt x="111" y="443"/>
                  </a:lnTo>
                  <a:lnTo>
                    <a:pt x="92" y="429"/>
                  </a:lnTo>
                  <a:lnTo>
                    <a:pt x="75" y="415"/>
                  </a:lnTo>
                  <a:lnTo>
                    <a:pt x="59" y="397"/>
                  </a:lnTo>
                  <a:lnTo>
                    <a:pt x="44" y="380"/>
                  </a:lnTo>
                  <a:lnTo>
                    <a:pt x="32" y="360"/>
                  </a:lnTo>
                  <a:lnTo>
                    <a:pt x="22" y="339"/>
                  </a:lnTo>
                  <a:lnTo>
                    <a:pt x="12" y="317"/>
                  </a:lnTo>
                  <a:lnTo>
                    <a:pt x="9" y="306"/>
                  </a:lnTo>
                  <a:lnTo>
                    <a:pt x="6" y="294"/>
                  </a:lnTo>
                  <a:lnTo>
                    <a:pt x="4" y="282"/>
                  </a:lnTo>
                  <a:lnTo>
                    <a:pt x="2" y="269"/>
                  </a:lnTo>
                  <a:lnTo>
                    <a:pt x="0" y="257"/>
                  </a:lnTo>
                  <a:lnTo>
                    <a:pt x="0" y="244"/>
                  </a:lnTo>
                  <a:lnTo>
                    <a:pt x="0" y="233"/>
                  </a:lnTo>
                  <a:lnTo>
                    <a:pt x="0" y="221"/>
                  </a:lnTo>
                  <a:lnTo>
                    <a:pt x="4" y="197"/>
                  </a:lnTo>
                  <a:lnTo>
                    <a:pt x="10" y="174"/>
                  </a:lnTo>
                  <a:lnTo>
                    <a:pt x="17" y="153"/>
                  </a:lnTo>
                  <a:lnTo>
                    <a:pt x="26" y="131"/>
                  </a:lnTo>
                  <a:lnTo>
                    <a:pt x="38" y="111"/>
                  </a:lnTo>
                  <a:lnTo>
                    <a:pt x="51" y="93"/>
                  </a:lnTo>
                  <a:lnTo>
                    <a:pt x="66" y="75"/>
                  </a:lnTo>
                  <a:lnTo>
                    <a:pt x="83" y="58"/>
                  </a:lnTo>
                  <a:lnTo>
                    <a:pt x="102" y="44"/>
                  </a:lnTo>
                  <a:lnTo>
                    <a:pt x="121" y="31"/>
                  </a:lnTo>
                  <a:lnTo>
                    <a:pt x="142" y="21"/>
                  </a:lnTo>
                  <a:lnTo>
                    <a:pt x="164" y="13"/>
                  </a:lnTo>
                  <a:lnTo>
                    <a:pt x="176" y="9"/>
                  </a:lnTo>
                  <a:lnTo>
                    <a:pt x="188" y="7"/>
                  </a:lnTo>
                  <a:lnTo>
                    <a:pt x="199" y="3"/>
                  </a:lnTo>
                  <a:lnTo>
                    <a:pt x="211" y="2"/>
                  </a:lnTo>
                  <a:lnTo>
                    <a:pt x="224" y="1"/>
                  </a:lnTo>
                  <a:lnTo>
                    <a:pt x="236" y="0"/>
                  </a:lnTo>
                  <a:lnTo>
                    <a:pt x="249" y="1"/>
                  </a:lnTo>
                  <a:lnTo>
                    <a:pt x="261" y="1"/>
                  </a:lnTo>
                  <a:lnTo>
                    <a:pt x="284" y="4"/>
                  </a:lnTo>
                  <a:lnTo>
                    <a:pt x="307" y="9"/>
                  </a:lnTo>
                  <a:lnTo>
                    <a:pt x="329" y="17"/>
                  </a:lnTo>
                  <a:lnTo>
                    <a:pt x="350" y="27"/>
                  </a:lnTo>
                  <a:lnTo>
                    <a:pt x="370" y="38"/>
                  </a:lnTo>
                  <a:lnTo>
                    <a:pt x="389" y="51"/>
                  </a:lnTo>
                  <a:lnTo>
                    <a:pt x="407" y="67"/>
                  </a:lnTo>
                  <a:lnTo>
                    <a:pt x="422" y="83"/>
                  </a:lnTo>
                  <a:lnTo>
                    <a:pt x="437" y="101"/>
                  </a:lnTo>
                  <a:lnTo>
                    <a:pt x="449" y="121"/>
                  </a:lnTo>
                  <a:lnTo>
                    <a:pt x="460" y="142"/>
                  </a:lnTo>
                  <a:lnTo>
                    <a:pt x="469" y="164"/>
                  </a:lnTo>
                  <a:lnTo>
                    <a:pt x="473" y="175"/>
                  </a:lnTo>
                  <a:lnTo>
                    <a:pt x="475" y="187"/>
                  </a:lnTo>
                  <a:lnTo>
                    <a:pt x="477" y="200"/>
                  </a:lnTo>
                  <a:lnTo>
                    <a:pt x="480" y="211"/>
                  </a:lnTo>
                  <a:lnTo>
                    <a:pt x="481" y="223"/>
                  </a:lnTo>
                  <a:lnTo>
                    <a:pt x="481" y="236"/>
                  </a:lnTo>
                  <a:lnTo>
                    <a:pt x="481" y="248"/>
                  </a:lnTo>
                  <a:lnTo>
                    <a:pt x="481" y="260"/>
                  </a:lnTo>
                  <a:lnTo>
                    <a:pt x="477" y="283"/>
                  </a:lnTo>
                  <a:lnTo>
                    <a:pt x="471" y="307"/>
                  </a:lnTo>
                  <a:lnTo>
                    <a:pt x="464" y="329"/>
                  </a:lnTo>
                  <a:lnTo>
                    <a:pt x="455" y="350"/>
                  </a:lnTo>
                  <a:lnTo>
                    <a:pt x="443" y="370"/>
                  </a:lnTo>
                  <a:lnTo>
                    <a:pt x="430" y="389"/>
                  </a:lnTo>
                  <a:lnTo>
                    <a:pt x="415" y="406"/>
                  </a:lnTo>
                  <a:lnTo>
                    <a:pt x="398" y="422"/>
                  </a:lnTo>
                  <a:lnTo>
                    <a:pt x="380" y="436"/>
                  </a:lnTo>
                  <a:lnTo>
                    <a:pt x="361" y="449"/>
                  </a:lnTo>
                  <a:lnTo>
                    <a:pt x="339" y="460"/>
                  </a:lnTo>
                  <a:lnTo>
                    <a:pt x="317" y="468"/>
                  </a:lnTo>
                  <a:lnTo>
                    <a:pt x="305" y="472"/>
                  </a:lnTo>
                  <a:lnTo>
                    <a:pt x="294" y="475"/>
                  </a:lnTo>
                  <a:lnTo>
                    <a:pt x="282" y="477"/>
                  </a:lnTo>
                  <a:lnTo>
                    <a:pt x="270" y="480"/>
                  </a:lnTo>
                  <a:close/>
                </a:path>
              </a:pathLst>
            </a:custGeom>
            <a:solidFill>
              <a:srgbClr val="66A2B8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6653" tIns="58327" rIns="116653" bIns="58327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434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137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9" name="Freeform 49"/>
            <p:cNvSpPr>
              <a:spLocks/>
            </p:cNvSpPr>
            <p:nvPr/>
          </p:nvSpPr>
          <p:spPr bwMode="auto">
            <a:xfrm>
              <a:off x="804" y="2284"/>
              <a:ext cx="64" cy="63"/>
            </a:xfrm>
            <a:custGeom>
              <a:avLst/>
              <a:gdLst>
                <a:gd name="T0" fmla="*/ 200 w 253"/>
                <a:gd name="T1" fmla="*/ 117 h 253"/>
                <a:gd name="T2" fmla="*/ 183 w 253"/>
                <a:gd name="T3" fmla="*/ 116 h 253"/>
                <a:gd name="T4" fmla="*/ 168 w 253"/>
                <a:gd name="T5" fmla="*/ 112 h 253"/>
                <a:gd name="T6" fmla="*/ 153 w 253"/>
                <a:gd name="T7" fmla="*/ 105 h 253"/>
                <a:gd name="T8" fmla="*/ 141 w 253"/>
                <a:gd name="T9" fmla="*/ 95 h 253"/>
                <a:gd name="T10" fmla="*/ 130 w 253"/>
                <a:gd name="T11" fmla="*/ 82 h 253"/>
                <a:gd name="T12" fmla="*/ 122 w 253"/>
                <a:gd name="T13" fmla="*/ 68 h 253"/>
                <a:gd name="T14" fmla="*/ 116 w 253"/>
                <a:gd name="T15" fmla="*/ 52 h 253"/>
                <a:gd name="T16" fmla="*/ 114 w 253"/>
                <a:gd name="T17" fmla="*/ 32 h 253"/>
                <a:gd name="T18" fmla="*/ 117 w 253"/>
                <a:gd name="T19" fmla="*/ 10 h 253"/>
                <a:gd name="T20" fmla="*/ 116 w 253"/>
                <a:gd name="T21" fmla="*/ 1 h 253"/>
                <a:gd name="T22" fmla="*/ 97 w 253"/>
                <a:gd name="T23" fmla="*/ 3 h 253"/>
                <a:gd name="T24" fmla="*/ 74 w 253"/>
                <a:gd name="T25" fmla="*/ 12 h 253"/>
                <a:gd name="T26" fmla="*/ 53 w 253"/>
                <a:gd name="T27" fmla="*/ 23 h 253"/>
                <a:gd name="T28" fmla="*/ 34 w 253"/>
                <a:gd name="T29" fmla="*/ 40 h 253"/>
                <a:gd name="T30" fmla="*/ 20 w 253"/>
                <a:gd name="T31" fmla="*/ 59 h 253"/>
                <a:gd name="T32" fmla="*/ 8 w 253"/>
                <a:gd name="T33" fmla="*/ 80 h 253"/>
                <a:gd name="T34" fmla="*/ 1 w 253"/>
                <a:gd name="T35" fmla="*/ 103 h 253"/>
                <a:gd name="T36" fmla="*/ 0 w 253"/>
                <a:gd name="T37" fmla="*/ 129 h 253"/>
                <a:gd name="T38" fmla="*/ 2 w 253"/>
                <a:gd name="T39" fmla="*/ 154 h 253"/>
                <a:gd name="T40" fmla="*/ 10 w 253"/>
                <a:gd name="T41" fmla="*/ 179 h 253"/>
                <a:gd name="T42" fmla="*/ 23 w 253"/>
                <a:gd name="T43" fmla="*/ 200 h 253"/>
                <a:gd name="T44" fmla="*/ 38 w 253"/>
                <a:gd name="T45" fmla="*/ 219 h 253"/>
                <a:gd name="T46" fmla="*/ 57 w 253"/>
                <a:gd name="T47" fmla="*/ 233 h 253"/>
                <a:gd name="T48" fmla="*/ 80 w 253"/>
                <a:gd name="T49" fmla="*/ 245 h 253"/>
                <a:gd name="T50" fmla="*/ 103 w 253"/>
                <a:gd name="T51" fmla="*/ 252 h 253"/>
                <a:gd name="T52" fmla="*/ 128 w 253"/>
                <a:gd name="T53" fmla="*/ 253 h 253"/>
                <a:gd name="T54" fmla="*/ 154 w 253"/>
                <a:gd name="T55" fmla="*/ 250 h 253"/>
                <a:gd name="T56" fmla="*/ 177 w 253"/>
                <a:gd name="T57" fmla="*/ 242 h 253"/>
                <a:gd name="T58" fmla="*/ 199 w 253"/>
                <a:gd name="T59" fmla="*/ 229 h 253"/>
                <a:gd name="T60" fmla="*/ 217 w 253"/>
                <a:gd name="T61" fmla="*/ 214 h 253"/>
                <a:gd name="T62" fmla="*/ 233 w 253"/>
                <a:gd name="T63" fmla="*/ 195 h 253"/>
                <a:gd name="T64" fmla="*/ 243 w 253"/>
                <a:gd name="T65" fmla="*/ 173 h 253"/>
                <a:gd name="T66" fmla="*/ 250 w 253"/>
                <a:gd name="T67" fmla="*/ 149 h 253"/>
                <a:gd name="T68" fmla="*/ 253 w 253"/>
                <a:gd name="T69" fmla="*/ 125 h 253"/>
                <a:gd name="T70" fmla="*/ 250 w 253"/>
                <a:gd name="T71" fmla="*/ 106 h 253"/>
                <a:gd name="T72" fmla="*/ 240 w 253"/>
                <a:gd name="T73" fmla="*/ 107 h 253"/>
                <a:gd name="T74" fmla="*/ 220 w 253"/>
                <a:gd name="T75" fmla="*/ 115 h 2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253" h="253">
                  <a:moveTo>
                    <a:pt x="209" y="117"/>
                  </a:moveTo>
                  <a:lnTo>
                    <a:pt x="200" y="117"/>
                  </a:lnTo>
                  <a:lnTo>
                    <a:pt x="192" y="117"/>
                  </a:lnTo>
                  <a:lnTo>
                    <a:pt x="183" y="116"/>
                  </a:lnTo>
                  <a:lnTo>
                    <a:pt x="175" y="115"/>
                  </a:lnTo>
                  <a:lnTo>
                    <a:pt x="168" y="112"/>
                  </a:lnTo>
                  <a:lnTo>
                    <a:pt x="160" y="109"/>
                  </a:lnTo>
                  <a:lnTo>
                    <a:pt x="153" y="105"/>
                  </a:lnTo>
                  <a:lnTo>
                    <a:pt x="147" y="100"/>
                  </a:lnTo>
                  <a:lnTo>
                    <a:pt x="141" y="95"/>
                  </a:lnTo>
                  <a:lnTo>
                    <a:pt x="135" y="89"/>
                  </a:lnTo>
                  <a:lnTo>
                    <a:pt x="130" y="82"/>
                  </a:lnTo>
                  <a:lnTo>
                    <a:pt x="126" y="75"/>
                  </a:lnTo>
                  <a:lnTo>
                    <a:pt x="122" y="68"/>
                  </a:lnTo>
                  <a:lnTo>
                    <a:pt x="119" y="60"/>
                  </a:lnTo>
                  <a:lnTo>
                    <a:pt x="116" y="52"/>
                  </a:lnTo>
                  <a:lnTo>
                    <a:pt x="115" y="43"/>
                  </a:lnTo>
                  <a:lnTo>
                    <a:pt x="114" y="32"/>
                  </a:lnTo>
                  <a:lnTo>
                    <a:pt x="115" y="21"/>
                  </a:lnTo>
                  <a:lnTo>
                    <a:pt x="117" y="10"/>
                  </a:lnTo>
                  <a:lnTo>
                    <a:pt x="121" y="0"/>
                  </a:lnTo>
                  <a:lnTo>
                    <a:pt x="116" y="1"/>
                  </a:lnTo>
                  <a:lnTo>
                    <a:pt x="110" y="1"/>
                  </a:lnTo>
                  <a:lnTo>
                    <a:pt x="97" y="3"/>
                  </a:lnTo>
                  <a:lnTo>
                    <a:pt x="86" y="7"/>
                  </a:lnTo>
                  <a:lnTo>
                    <a:pt x="74" y="12"/>
                  </a:lnTo>
                  <a:lnTo>
                    <a:pt x="63" y="16"/>
                  </a:lnTo>
                  <a:lnTo>
                    <a:pt x="53" y="23"/>
                  </a:lnTo>
                  <a:lnTo>
                    <a:pt x="43" y="30"/>
                  </a:lnTo>
                  <a:lnTo>
                    <a:pt x="34" y="40"/>
                  </a:lnTo>
                  <a:lnTo>
                    <a:pt x="27" y="48"/>
                  </a:lnTo>
                  <a:lnTo>
                    <a:pt x="20" y="59"/>
                  </a:lnTo>
                  <a:lnTo>
                    <a:pt x="13" y="69"/>
                  </a:lnTo>
                  <a:lnTo>
                    <a:pt x="8" y="80"/>
                  </a:lnTo>
                  <a:lnTo>
                    <a:pt x="4" y="92"/>
                  </a:lnTo>
                  <a:lnTo>
                    <a:pt x="1" y="103"/>
                  </a:lnTo>
                  <a:lnTo>
                    <a:pt x="0" y="116"/>
                  </a:lnTo>
                  <a:lnTo>
                    <a:pt x="0" y="129"/>
                  </a:lnTo>
                  <a:lnTo>
                    <a:pt x="0" y="142"/>
                  </a:lnTo>
                  <a:lnTo>
                    <a:pt x="2" y="154"/>
                  </a:lnTo>
                  <a:lnTo>
                    <a:pt x="6" y="167"/>
                  </a:lnTo>
                  <a:lnTo>
                    <a:pt x="10" y="179"/>
                  </a:lnTo>
                  <a:lnTo>
                    <a:pt x="16" y="189"/>
                  </a:lnTo>
                  <a:lnTo>
                    <a:pt x="23" y="200"/>
                  </a:lnTo>
                  <a:lnTo>
                    <a:pt x="30" y="209"/>
                  </a:lnTo>
                  <a:lnTo>
                    <a:pt x="38" y="219"/>
                  </a:lnTo>
                  <a:lnTo>
                    <a:pt x="48" y="226"/>
                  </a:lnTo>
                  <a:lnTo>
                    <a:pt x="57" y="233"/>
                  </a:lnTo>
                  <a:lnTo>
                    <a:pt x="68" y="240"/>
                  </a:lnTo>
                  <a:lnTo>
                    <a:pt x="80" y="245"/>
                  </a:lnTo>
                  <a:lnTo>
                    <a:pt x="91" y="248"/>
                  </a:lnTo>
                  <a:lnTo>
                    <a:pt x="103" y="252"/>
                  </a:lnTo>
                  <a:lnTo>
                    <a:pt x="115" y="253"/>
                  </a:lnTo>
                  <a:lnTo>
                    <a:pt x="128" y="253"/>
                  </a:lnTo>
                  <a:lnTo>
                    <a:pt x="141" y="252"/>
                  </a:lnTo>
                  <a:lnTo>
                    <a:pt x="154" y="250"/>
                  </a:lnTo>
                  <a:lnTo>
                    <a:pt x="166" y="247"/>
                  </a:lnTo>
                  <a:lnTo>
                    <a:pt x="177" y="242"/>
                  </a:lnTo>
                  <a:lnTo>
                    <a:pt x="189" y="236"/>
                  </a:lnTo>
                  <a:lnTo>
                    <a:pt x="199" y="229"/>
                  </a:lnTo>
                  <a:lnTo>
                    <a:pt x="209" y="222"/>
                  </a:lnTo>
                  <a:lnTo>
                    <a:pt x="217" y="214"/>
                  </a:lnTo>
                  <a:lnTo>
                    <a:pt x="226" y="205"/>
                  </a:lnTo>
                  <a:lnTo>
                    <a:pt x="233" y="195"/>
                  </a:lnTo>
                  <a:lnTo>
                    <a:pt x="239" y="185"/>
                  </a:lnTo>
                  <a:lnTo>
                    <a:pt x="243" y="173"/>
                  </a:lnTo>
                  <a:lnTo>
                    <a:pt x="247" y="161"/>
                  </a:lnTo>
                  <a:lnTo>
                    <a:pt x="250" y="149"/>
                  </a:lnTo>
                  <a:lnTo>
                    <a:pt x="252" y="136"/>
                  </a:lnTo>
                  <a:lnTo>
                    <a:pt x="253" y="125"/>
                  </a:lnTo>
                  <a:lnTo>
                    <a:pt x="252" y="112"/>
                  </a:lnTo>
                  <a:lnTo>
                    <a:pt x="250" y="106"/>
                  </a:lnTo>
                  <a:lnTo>
                    <a:pt x="249" y="101"/>
                  </a:lnTo>
                  <a:lnTo>
                    <a:pt x="240" y="107"/>
                  </a:lnTo>
                  <a:lnTo>
                    <a:pt x="230" y="112"/>
                  </a:lnTo>
                  <a:lnTo>
                    <a:pt x="220" y="115"/>
                  </a:lnTo>
                  <a:lnTo>
                    <a:pt x="209" y="117"/>
                  </a:lnTo>
                  <a:close/>
                </a:path>
              </a:pathLst>
            </a:custGeom>
            <a:solidFill>
              <a:srgbClr val="655349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6653" tIns="58327" rIns="116653" bIns="58327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434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137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0" name="Freeform 50"/>
            <p:cNvSpPr>
              <a:spLocks/>
            </p:cNvSpPr>
            <p:nvPr/>
          </p:nvSpPr>
          <p:spPr bwMode="auto">
            <a:xfrm>
              <a:off x="637" y="2278"/>
              <a:ext cx="109" cy="110"/>
            </a:xfrm>
            <a:custGeom>
              <a:avLst/>
              <a:gdLst>
                <a:gd name="T0" fmla="*/ 436 w 436"/>
                <a:gd name="T1" fmla="*/ 214 h 436"/>
                <a:gd name="T2" fmla="*/ 433 w 436"/>
                <a:gd name="T3" fmla="*/ 257 h 436"/>
                <a:gd name="T4" fmla="*/ 421 w 436"/>
                <a:gd name="T5" fmla="*/ 299 h 436"/>
                <a:gd name="T6" fmla="*/ 402 w 436"/>
                <a:gd name="T7" fmla="*/ 335 h 436"/>
                <a:gd name="T8" fmla="*/ 376 w 436"/>
                <a:gd name="T9" fmla="*/ 368 h 436"/>
                <a:gd name="T10" fmla="*/ 345 w 436"/>
                <a:gd name="T11" fmla="*/ 396 h 436"/>
                <a:gd name="T12" fmla="*/ 308 w 436"/>
                <a:gd name="T13" fmla="*/ 417 h 436"/>
                <a:gd name="T14" fmla="*/ 267 w 436"/>
                <a:gd name="T15" fmla="*/ 430 h 436"/>
                <a:gd name="T16" fmla="*/ 222 w 436"/>
                <a:gd name="T17" fmla="*/ 436 h 436"/>
                <a:gd name="T18" fmla="*/ 179 w 436"/>
                <a:gd name="T19" fmla="*/ 433 h 436"/>
                <a:gd name="T20" fmla="*/ 137 w 436"/>
                <a:gd name="T21" fmla="*/ 421 h 436"/>
                <a:gd name="T22" fmla="*/ 100 w 436"/>
                <a:gd name="T23" fmla="*/ 402 h 436"/>
                <a:gd name="T24" fmla="*/ 67 w 436"/>
                <a:gd name="T25" fmla="*/ 376 h 436"/>
                <a:gd name="T26" fmla="*/ 40 w 436"/>
                <a:gd name="T27" fmla="*/ 344 h 436"/>
                <a:gd name="T28" fmla="*/ 18 w 436"/>
                <a:gd name="T29" fmla="*/ 308 h 436"/>
                <a:gd name="T30" fmla="*/ 4 w 436"/>
                <a:gd name="T31" fmla="*/ 267 h 436"/>
                <a:gd name="T32" fmla="*/ 0 w 436"/>
                <a:gd name="T33" fmla="*/ 222 h 436"/>
                <a:gd name="T34" fmla="*/ 3 w 436"/>
                <a:gd name="T35" fmla="*/ 178 h 436"/>
                <a:gd name="T36" fmla="*/ 15 w 436"/>
                <a:gd name="T37" fmla="*/ 137 h 436"/>
                <a:gd name="T38" fmla="*/ 34 w 436"/>
                <a:gd name="T39" fmla="*/ 101 h 436"/>
                <a:gd name="T40" fmla="*/ 60 w 436"/>
                <a:gd name="T41" fmla="*/ 68 h 436"/>
                <a:gd name="T42" fmla="*/ 91 w 436"/>
                <a:gd name="T43" fmla="*/ 40 h 436"/>
                <a:gd name="T44" fmla="*/ 128 w 436"/>
                <a:gd name="T45" fmla="*/ 18 h 436"/>
                <a:gd name="T46" fmla="*/ 169 w 436"/>
                <a:gd name="T47" fmla="*/ 4 h 436"/>
                <a:gd name="T48" fmla="*/ 214 w 436"/>
                <a:gd name="T49" fmla="*/ 0 h 436"/>
                <a:gd name="T50" fmla="*/ 257 w 436"/>
                <a:gd name="T51" fmla="*/ 3 h 436"/>
                <a:gd name="T52" fmla="*/ 299 w 436"/>
                <a:gd name="T53" fmla="*/ 15 h 436"/>
                <a:gd name="T54" fmla="*/ 335 w 436"/>
                <a:gd name="T55" fmla="*/ 34 h 436"/>
                <a:gd name="T56" fmla="*/ 368 w 436"/>
                <a:gd name="T57" fmla="*/ 60 h 436"/>
                <a:gd name="T58" fmla="*/ 396 w 436"/>
                <a:gd name="T59" fmla="*/ 91 h 436"/>
                <a:gd name="T60" fmla="*/ 418 w 436"/>
                <a:gd name="T61" fmla="*/ 128 h 436"/>
                <a:gd name="T62" fmla="*/ 432 w 436"/>
                <a:gd name="T63" fmla="*/ 169 h 4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36" h="436">
                  <a:moveTo>
                    <a:pt x="435" y="191"/>
                  </a:moveTo>
                  <a:lnTo>
                    <a:pt x="436" y="214"/>
                  </a:lnTo>
                  <a:lnTo>
                    <a:pt x="436" y="236"/>
                  </a:lnTo>
                  <a:lnTo>
                    <a:pt x="433" y="257"/>
                  </a:lnTo>
                  <a:lnTo>
                    <a:pt x="428" y="279"/>
                  </a:lnTo>
                  <a:lnTo>
                    <a:pt x="421" y="299"/>
                  </a:lnTo>
                  <a:lnTo>
                    <a:pt x="413" y="317"/>
                  </a:lnTo>
                  <a:lnTo>
                    <a:pt x="402" y="335"/>
                  </a:lnTo>
                  <a:lnTo>
                    <a:pt x="390" y="353"/>
                  </a:lnTo>
                  <a:lnTo>
                    <a:pt x="376" y="368"/>
                  </a:lnTo>
                  <a:lnTo>
                    <a:pt x="361" y="383"/>
                  </a:lnTo>
                  <a:lnTo>
                    <a:pt x="345" y="396"/>
                  </a:lnTo>
                  <a:lnTo>
                    <a:pt x="327" y="408"/>
                  </a:lnTo>
                  <a:lnTo>
                    <a:pt x="308" y="417"/>
                  </a:lnTo>
                  <a:lnTo>
                    <a:pt x="288" y="425"/>
                  </a:lnTo>
                  <a:lnTo>
                    <a:pt x="267" y="430"/>
                  </a:lnTo>
                  <a:lnTo>
                    <a:pt x="244" y="435"/>
                  </a:lnTo>
                  <a:lnTo>
                    <a:pt x="222" y="436"/>
                  </a:lnTo>
                  <a:lnTo>
                    <a:pt x="200" y="436"/>
                  </a:lnTo>
                  <a:lnTo>
                    <a:pt x="179" y="433"/>
                  </a:lnTo>
                  <a:lnTo>
                    <a:pt x="157" y="428"/>
                  </a:lnTo>
                  <a:lnTo>
                    <a:pt x="137" y="421"/>
                  </a:lnTo>
                  <a:lnTo>
                    <a:pt x="118" y="413"/>
                  </a:lnTo>
                  <a:lnTo>
                    <a:pt x="100" y="402"/>
                  </a:lnTo>
                  <a:lnTo>
                    <a:pt x="83" y="390"/>
                  </a:lnTo>
                  <a:lnTo>
                    <a:pt x="67" y="376"/>
                  </a:lnTo>
                  <a:lnTo>
                    <a:pt x="53" y="361"/>
                  </a:lnTo>
                  <a:lnTo>
                    <a:pt x="40" y="344"/>
                  </a:lnTo>
                  <a:lnTo>
                    <a:pt x="28" y="327"/>
                  </a:lnTo>
                  <a:lnTo>
                    <a:pt x="18" y="308"/>
                  </a:lnTo>
                  <a:lnTo>
                    <a:pt x="10" y="288"/>
                  </a:lnTo>
                  <a:lnTo>
                    <a:pt x="4" y="267"/>
                  </a:lnTo>
                  <a:lnTo>
                    <a:pt x="1" y="244"/>
                  </a:lnTo>
                  <a:lnTo>
                    <a:pt x="0" y="222"/>
                  </a:lnTo>
                  <a:lnTo>
                    <a:pt x="0" y="200"/>
                  </a:lnTo>
                  <a:lnTo>
                    <a:pt x="3" y="178"/>
                  </a:lnTo>
                  <a:lnTo>
                    <a:pt x="8" y="157"/>
                  </a:lnTo>
                  <a:lnTo>
                    <a:pt x="15" y="137"/>
                  </a:lnTo>
                  <a:lnTo>
                    <a:pt x="23" y="118"/>
                  </a:lnTo>
                  <a:lnTo>
                    <a:pt x="34" y="101"/>
                  </a:lnTo>
                  <a:lnTo>
                    <a:pt x="46" y="83"/>
                  </a:lnTo>
                  <a:lnTo>
                    <a:pt x="60" y="68"/>
                  </a:lnTo>
                  <a:lnTo>
                    <a:pt x="75" y="53"/>
                  </a:lnTo>
                  <a:lnTo>
                    <a:pt x="91" y="40"/>
                  </a:lnTo>
                  <a:lnTo>
                    <a:pt x="109" y="28"/>
                  </a:lnTo>
                  <a:lnTo>
                    <a:pt x="128" y="18"/>
                  </a:lnTo>
                  <a:lnTo>
                    <a:pt x="148" y="10"/>
                  </a:lnTo>
                  <a:lnTo>
                    <a:pt x="169" y="4"/>
                  </a:lnTo>
                  <a:lnTo>
                    <a:pt x="191" y="1"/>
                  </a:lnTo>
                  <a:lnTo>
                    <a:pt x="214" y="0"/>
                  </a:lnTo>
                  <a:lnTo>
                    <a:pt x="236" y="0"/>
                  </a:lnTo>
                  <a:lnTo>
                    <a:pt x="257" y="3"/>
                  </a:lnTo>
                  <a:lnTo>
                    <a:pt x="279" y="8"/>
                  </a:lnTo>
                  <a:lnTo>
                    <a:pt x="299" y="15"/>
                  </a:lnTo>
                  <a:lnTo>
                    <a:pt x="317" y="23"/>
                  </a:lnTo>
                  <a:lnTo>
                    <a:pt x="335" y="34"/>
                  </a:lnTo>
                  <a:lnTo>
                    <a:pt x="353" y="45"/>
                  </a:lnTo>
                  <a:lnTo>
                    <a:pt x="368" y="60"/>
                  </a:lnTo>
                  <a:lnTo>
                    <a:pt x="383" y="75"/>
                  </a:lnTo>
                  <a:lnTo>
                    <a:pt x="396" y="91"/>
                  </a:lnTo>
                  <a:lnTo>
                    <a:pt x="408" y="109"/>
                  </a:lnTo>
                  <a:lnTo>
                    <a:pt x="418" y="128"/>
                  </a:lnTo>
                  <a:lnTo>
                    <a:pt x="426" y="148"/>
                  </a:lnTo>
                  <a:lnTo>
                    <a:pt x="432" y="169"/>
                  </a:lnTo>
                  <a:lnTo>
                    <a:pt x="435" y="191"/>
                  </a:lnTo>
                  <a:close/>
                </a:path>
              </a:pathLst>
            </a:cu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6653" tIns="58327" rIns="116653" bIns="58327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434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137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1" name="Freeform 51"/>
            <p:cNvSpPr>
              <a:spLocks noEditPoints="1"/>
            </p:cNvSpPr>
            <p:nvPr/>
          </p:nvSpPr>
          <p:spPr bwMode="auto">
            <a:xfrm>
              <a:off x="631" y="2273"/>
              <a:ext cx="120" cy="120"/>
            </a:xfrm>
            <a:custGeom>
              <a:avLst/>
              <a:gdLst>
                <a:gd name="T0" fmla="*/ 178 w 482"/>
                <a:gd name="T1" fmla="*/ 54 h 482"/>
                <a:gd name="T2" fmla="*/ 127 w 482"/>
                <a:gd name="T3" fmla="*/ 80 h 482"/>
                <a:gd name="T4" fmla="*/ 86 w 482"/>
                <a:gd name="T5" fmla="*/ 120 h 482"/>
                <a:gd name="T6" fmla="*/ 58 w 482"/>
                <a:gd name="T7" fmla="*/ 169 h 482"/>
                <a:gd name="T8" fmla="*/ 45 w 482"/>
                <a:gd name="T9" fmla="*/ 225 h 482"/>
                <a:gd name="T10" fmla="*/ 48 w 482"/>
                <a:gd name="T11" fmla="*/ 285 h 482"/>
                <a:gd name="T12" fmla="*/ 70 w 482"/>
                <a:gd name="T13" fmla="*/ 339 h 482"/>
                <a:gd name="T14" fmla="*/ 105 w 482"/>
                <a:gd name="T15" fmla="*/ 384 h 482"/>
                <a:gd name="T16" fmla="*/ 151 w 482"/>
                <a:gd name="T17" fmla="*/ 416 h 482"/>
                <a:gd name="T18" fmla="*/ 205 w 482"/>
                <a:gd name="T19" fmla="*/ 435 h 482"/>
                <a:gd name="T20" fmla="*/ 265 w 482"/>
                <a:gd name="T21" fmla="*/ 436 h 482"/>
                <a:gd name="T22" fmla="*/ 322 w 482"/>
                <a:gd name="T23" fmla="*/ 420 h 482"/>
                <a:gd name="T24" fmla="*/ 370 w 482"/>
                <a:gd name="T25" fmla="*/ 390 h 482"/>
                <a:gd name="T26" fmla="*/ 406 w 482"/>
                <a:gd name="T27" fmla="*/ 346 h 482"/>
                <a:gd name="T28" fmla="*/ 430 w 482"/>
                <a:gd name="T29" fmla="*/ 294 h 482"/>
                <a:gd name="T30" fmla="*/ 438 w 482"/>
                <a:gd name="T31" fmla="*/ 237 h 482"/>
                <a:gd name="T32" fmla="*/ 428 w 482"/>
                <a:gd name="T33" fmla="*/ 178 h 482"/>
                <a:gd name="T34" fmla="*/ 402 w 482"/>
                <a:gd name="T35" fmla="*/ 127 h 482"/>
                <a:gd name="T36" fmla="*/ 362 w 482"/>
                <a:gd name="T37" fmla="*/ 86 h 482"/>
                <a:gd name="T38" fmla="*/ 313 w 482"/>
                <a:gd name="T39" fmla="*/ 58 h 482"/>
                <a:gd name="T40" fmla="*/ 257 w 482"/>
                <a:gd name="T41" fmla="*/ 45 h 482"/>
                <a:gd name="T42" fmla="*/ 270 w 482"/>
                <a:gd name="T43" fmla="*/ 479 h 482"/>
                <a:gd name="T44" fmla="*/ 233 w 482"/>
                <a:gd name="T45" fmla="*/ 482 h 482"/>
                <a:gd name="T46" fmla="*/ 174 w 482"/>
                <a:gd name="T47" fmla="*/ 472 h 482"/>
                <a:gd name="T48" fmla="*/ 111 w 482"/>
                <a:gd name="T49" fmla="*/ 444 h 482"/>
                <a:gd name="T50" fmla="*/ 59 w 482"/>
                <a:gd name="T51" fmla="*/ 398 h 482"/>
                <a:gd name="T52" fmla="*/ 21 w 482"/>
                <a:gd name="T53" fmla="*/ 339 h 482"/>
                <a:gd name="T54" fmla="*/ 6 w 482"/>
                <a:gd name="T55" fmla="*/ 294 h 482"/>
                <a:gd name="T56" fmla="*/ 1 w 482"/>
                <a:gd name="T57" fmla="*/ 258 h 482"/>
                <a:gd name="T58" fmla="*/ 1 w 482"/>
                <a:gd name="T59" fmla="*/ 222 h 482"/>
                <a:gd name="T60" fmla="*/ 17 w 482"/>
                <a:gd name="T61" fmla="*/ 153 h 482"/>
                <a:gd name="T62" fmla="*/ 52 w 482"/>
                <a:gd name="T63" fmla="*/ 93 h 482"/>
                <a:gd name="T64" fmla="*/ 101 w 482"/>
                <a:gd name="T65" fmla="*/ 45 h 482"/>
                <a:gd name="T66" fmla="*/ 164 w 482"/>
                <a:gd name="T67" fmla="*/ 13 h 482"/>
                <a:gd name="T68" fmla="*/ 199 w 482"/>
                <a:gd name="T69" fmla="*/ 4 h 482"/>
                <a:gd name="T70" fmla="*/ 237 w 482"/>
                <a:gd name="T71" fmla="*/ 0 h 482"/>
                <a:gd name="T72" fmla="*/ 284 w 482"/>
                <a:gd name="T73" fmla="*/ 5 h 482"/>
                <a:gd name="T74" fmla="*/ 350 w 482"/>
                <a:gd name="T75" fmla="*/ 27 h 482"/>
                <a:gd name="T76" fmla="*/ 406 w 482"/>
                <a:gd name="T77" fmla="*/ 67 h 482"/>
                <a:gd name="T78" fmla="*/ 450 w 482"/>
                <a:gd name="T79" fmla="*/ 121 h 482"/>
                <a:gd name="T80" fmla="*/ 472 w 482"/>
                <a:gd name="T81" fmla="*/ 176 h 482"/>
                <a:gd name="T82" fmla="*/ 479 w 482"/>
                <a:gd name="T83" fmla="*/ 212 h 482"/>
                <a:gd name="T84" fmla="*/ 482 w 482"/>
                <a:gd name="T85" fmla="*/ 249 h 482"/>
                <a:gd name="T86" fmla="*/ 472 w 482"/>
                <a:gd name="T87" fmla="*/ 307 h 482"/>
                <a:gd name="T88" fmla="*/ 444 w 482"/>
                <a:gd name="T89" fmla="*/ 370 h 482"/>
                <a:gd name="T90" fmla="*/ 398 w 482"/>
                <a:gd name="T91" fmla="*/ 423 h 482"/>
                <a:gd name="T92" fmla="*/ 339 w 482"/>
                <a:gd name="T93" fmla="*/ 460 h 482"/>
                <a:gd name="T94" fmla="*/ 295 w 482"/>
                <a:gd name="T95" fmla="*/ 476 h 4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482" h="482">
                  <a:moveTo>
                    <a:pt x="217" y="46"/>
                  </a:moveTo>
                  <a:lnTo>
                    <a:pt x="197" y="50"/>
                  </a:lnTo>
                  <a:lnTo>
                    <a:pt x="178" y="54"/>
                  </a:lnTo>
                  <a:lnTo>
                    <a:pt x="160" y="61"/>
                  </a:lnTo>
                  <a:lnTo>
                    <a:pt x="143" y="71"/>
                  </a:lnTo>
                  <a:lnTo>
                    <a:pt x="127" y="80"/>
                  </a:lnTo>
                  <a:lnTo>
                    <a:pt x="112" y="92"/>
                  </a:lnTo>
                  <a:lnTo>
                    <a:pt x="98" y="105"/>
                  </a:lnTo>
                  <a:lnTo>
                    <a:pt x="86" y="120"/>
                  </a:lnTo>
                  <a:lnTo>
                    <a:pt x="76" y="136"/>
                  </a:lnTo>
                  <a:lnTo>
                    <a:pt x="66" y="152"/>
                  </a:lnTo>
                  <a:lnTo>
                    <a:pt x="58" y="169"/>
                  </a:lnTo>
                  <a:lnTo>
                    <a:pt x="52" y="187"/>
                  </a:lnTo>
                  <a:lnTo>
                    <a:pt x="47" y="205"/>
                  </a:lnTo>
                  <a:lnTo>
                    <a:pt x="45" y="225"/>
                  </a:lnTo>
                  <a:lnTo>
                    <a:pt x="44" y="245"/>
                  </a:lnTo>
                  <a:lnTo>
                    <a:pt x="46" y="265"/>
                  </a:lnTo>
                  <a:lnTo>
                    <a:pt x="48" y="285"/>
                  </a:lnTo>
                  <a:lnTo>
                    <a:pt x="54" y="304"/>
                  </a:lnTo>
                  <a:lnTo>
                    <a:pt x="61" y="322"/>
                  </a:lnTo>
                  <a:lnTo>
                    <a:pt x="70" y="339"/>
                  </a:lnTo>
                  <a:lnTo>
                    <a:pt x="80" y="355"/>
                  </a:lnTo>
                  <a:lnTo>
                    <a:pt x="92" y="370"/>
                  </a:lnTo>
                  <a:lnTo>
                    <a:pt x="105" y="384"/>
                  </a:lnTo>
                  <a:lnTo>
                    <a:pt x="119" y="396"/>
                  </a:lnTo>
                  <a:lnTo>
                    <a:pt x="136" y="406"/>
                  </a:lnTo>
                  <a:lnTo>
                    <a:pt x="151" y="416"/>
                  </a:lnTo>
                  <a:lnTo>
                    <a:pt x="169" y="424"/>
                  </a:lnTo>
                  <a:lnTo>
                    <a:pt x="187" y="430"/>
                  </a:lnTo>
                  <a:lnTo>
                    <a:pt x="205" y="435"/>
                  </a:lnTo>
                  <a:lnTo>
                    <a:pt x="225" y="437"/>
                  </a:lnTo>
                  <a:lnTo>
                    <a:pt x="245" y="438"/>
                  </a:lnTo>
                  <a:lnTo>
                    <a:pt x="265" y="436"/>
                  </a:lnTo>
                  <a:lnTo>
                    <a:pt x="284" y="432"/>
                  </a:lnTo>
                  <a:lnTo>
                    <a:pt x="304" y="428"/>
                  </a:lnTo>
                  <a:lnTo>
                    <a:pt x="322" y="420"/>
                  </a:lnTo>
                  <a:lnTo>
                    <a:pt x="339" y="411"/>
                  </a:lnTo>
                  <a:lnTo>
                    <a:pt x="355" y="402"/>
                  </a:lnTo>
                  <a:lnTo>
                    <a:pt x="370" y="390"/>
                  </a:lnTo>
                  <a:lnTo>
                    <a:pt x="383" y="377"/>
                  </a:lnTo>
                  <a:lnTo>
                    <a:pt x="396" y="363"/>
                  </a:lnTo>
                  <a:lnTo>
                    <a:pt x="406" y="346"/>
                  </a:lnTo>
                  <a:lnTo>
                    <a:pt x="416" y="331"/>
                  </a:lnTo>
                  <a:lnTo>
                    <a:pt x="424" y="313"/>
                  </a:lnTo>
                  <a:lnTo>
                    <a:pt x="430" y="294"/>
                  </a:lnTo>
                  <a:lnTo>
                    <a:pt x="435" y="277"/>
                  </a:lnTo>
                  <a:lnTo>
                    <a:pt x="437" y="257"/>
                  </a:lnTo>
                  <a:lnTo>
                    <a:pt x="438" y="237"/>
                  </a:lnTo>
                  <a:lnTo>
                    <a:pt x="436" y="217"/>
                  </a:lnTo>
                  <a:lnTo>
                    <a:pt x="432" y="197"/>
                  </a:lnTo>
                  <a:lnTo>
                    <a:pt x="428" y="178"/>
                  </a:lnTo>
                  <a:lnTo>
                    <a:pt x="421" y="160"/>
                  </a:lnTo>
                  <a:lnTo>
                    <a:pt x="411" y="143"/>
                  </a:lnTo>
                  <a:lnTo>
                    <a:pt x="402" y="127"/>
                  </a:lnTo>
                  <a:lnTo>
                    <a:pt x="390" y="112"/>
                  </a:lnTo>
                  <a:lnTo>
                    <a:pt x="377" y="98"/>
                  </a:lnTo>
                  <a:lnTo>
                    <a:pt x="362" y="86"/>
                  </a:lnTo>
                  <a:lnTo>
                    <a:pt x="346" y="76"/>
                  </a:lnTo>
                  <a:lnTo>
                    <a:pt x="330" y="66"/>
                  </a:lnTo>
                  <a:lnTo>
                    <a:pt x="313" y="58"/>
                  </a:lnTo>
                  <a:lnTo>
                    <a:pt x="295" y="52"/>
                  </a:lnTo>
                  <a:lnTo>
                    <a:pt x="276" y="47"/>
                  </a:lnTo>
                  <a:lnTo>
                    <a:pt x="257" y="45"/>
                  </a:lnTo>
                  <a:lnTo>
                    <a:pt x="237" y="44"/>
                  </a:lnTo>
                  <a:lnTo>
                    <a:pt x="217" y="46"/>
                  </a:lnTo>
                  <a:close/>
                  <a:moveTo>
                    <a:pt x="270" y="479"/>
                  </a:moveTo>
                  <a:lnTo>
                    <a:pt x="258" y="480"/>
                  </a:lnTo>
                  <a:lnTo>
                    <a:pt x="245" y="482"/>
                  </a:lnTo>
                  <a:lnTo>
                    <a:pt x="233" y="482"/>
                  </a:lnTo>
                  <a:lnTo>
                    <a:pt x="222" y="480"/>
                  </a:lnTo>
                  <a:lnTo>
                    <a:pt x="198" y="478"/>
                  </a:lnTo>
                  <a:lnTo>
                    <a:pt x="174" y="472"/>
                  </a:lnTo>
                  <a:lnTo>
                    <a:pt x="152" y="465"/>
                  </a:lnTo>
                  <a:lnTo>
                    <a:pt x="132" y="455"/>
                  </a:lnTo>
                  <a:lnTo>
                    <a:pt x="111" y="444"/>
                  </a:lnTo>
                  <a:lnTo>
                    <a:pt x="92" y="430"/>
                  </a:lnTo>
                  <a:lnTo>
                    <a:pt x="76" y="416"/>
                  </a:lnTo>
                  <a:lnTo>
                    <a:pt x="59" y="398"/>
                  </a:lnTo>
                  <a:lnTo>
                    <a:pt x="45" y="380"/>
                  </a:lnTo>
                  <a:lnTo>
                    <a:pt x="32" y="360"/>
                  </a:lnTo>
                  <a:lnTo>
                    <a:pt x="21" y="339"/>
                  </a:lnTo>
                  <a:lnTo>
                    <a:pt x="13" y="317"/>
                  </a:lnTo>
                  <a:lnTo>
                    <a:pt x="10" y="306"/>
                  </a:lnTo>
                  <a:lnTo>
                    <a:pt x="6" y="294"/>
                  </a:lnTo>
                  <a:lnTo>
                    <a:pt x="4" y="283"/>
                  </a:lnTo>
                  <a:lnTo>
                    <a:pt x="3" y="270"/>
                  </a:lnTo>
                  <a:lnTo>
                    <a:pt x="1" y="258"/>
                  </a:lnTo>
                  <a:lnTo>
                    <a:pt x="0" y="245"/>
                  </a:lnTo>
                  <a:lnTo>
                    <a:pt x="0" y="233"/>
                  </a:lnTo>
                  <a:lnTo>
                    <a:pt x="1" y="222"/>
                  </a:lnTo>
                  <a:lnTo>
                    <a:pt x="4" y="198"/>
                  </a:lnTo>
                  <a:lnTo>
                    <a:pt x="10" y="174"/>
                  </a:lnTo>
                  <a:lnTo>
                    <a:pt x="17" y="153"/>
                  </a:lnTo>
                  <a:lnTo>
                    <a:pt x="26" y="132"/>
                  </a:lnTo>
                  <a:lnTo>
                    <a:pt x="38" y="112"/>
                  </a:lnTo>
                  <a:lnTo>
                    <a:pt x="52" y="93"/>
                  </a:lnTo>
                  <a:lnTo>
                    <a:pt x="66" y="76"/>
                  </a:lnTo>
                  <a:lnTo>
                    <a:pt x="84" y="59"/>
                  </a:lnTo>
                  <a:lnTo>
                    <a:pt x="101" y="45"/>
                  </a:lnTo>
                  <a:lnTo>
                    <a:pt x="121" y="32"/>
                  </a:lnTo>
                  <a:lnTo>
                    <a:pt x="143" y="21"/>
                  </a:lnTo>
                  <a:lnTo>
                    <a:pt x="164" y="13"/>
                  </a:lnTo>
                  <a:lnTo>
                    <a:pt x="176" y="10"/>
                  </a:lnTo>
                  <a:lnTo>
                    <a:pt x="187" y="6"/>
                  </a:lnTo>
                  <a:lnTo>
                    <a:pt x="199" y="4"/>
                  </a:lnTo>
                  <a:lnTo>
                    <a:pt x="212" y="3"/>
                  </a:lnTo>
                  <a:lnTo>
                    <a:pt x="224" y="1"/>
                  </a:lnTo>
                  <a:lnTo>
                    <a:pt x="237" y="0"/>
                  </a:lnTo>
                  <a:lnTo>
                    <a:pt x="249" y="0"/>
                  </a:lnTo>
                  <a:lnTo>
                    <a:pt x="260" y="1"/>
                  </a:lnTo>
                  <a:lnTo>
                    <a:pt x="284" y="5"/>
                  </a:lnTo>
                  <a:lnTo>
                    <a:pt x="307" y="10"/>
                  </a:lnTo>
                  <a:lnTo>
                    <a:pt x="329" y="18"/>
                  </a:lnTo>
                  <a:lnTo>
                    <a:pt x="350" y="27"/>
                  </a:lnTo>
                  <a:lnTo>
                    <a:pt x="370" y="38"/>
                  </a:lnTo>
                  <a:lnTo>
                    <a:pt x="389" y="52"/>
                  </a:lnTo>
                  <a:lnTo>
                    <a:pt x="406" y="67"/>
                  </a:lnTo>
                  <a:lnTo>
                    <a:pt x="423" y="84"/>
                  </a:lnTo>
                  <a:lnTo>
                    <a:pt x="437" y="101"/>
                  </a:lnTo>
                  <a:lnTo>
                    <a:pt x="450" y="121"/>
                  </a:lnTo>
                  <a:lnTo>
                    <a:pt x="461" y="143"/>
                  </a:lnTo>
                  <a:lnTo>
                    <a:pt x="469" y="164"/>
                  </a:lnTo>
                  <a:lnTo>
                    <a:pt x="472" y="176"/>
                  </a:lnTo>
                  <a:lnTo>
                    <a:pt x="476" y="187"/>
                  </a:lnTo>
                  <a:lnTo>
                    <a:pt x="478" y="199"/>
                  </a:lnTo>
                  <a:lnTo>
                    <a:pt x="479" y="212"/>
                  </a:lnTo>
                  <a:lnTo>
                    <a:pt x="481" y="224"/>
                  </a:lnTo>
                  <a:lnTo>
                    <a:pt x="482" y="237"/>
                  </a:lnTo>
                  <a:lnTo>
                    <a:pt x="482" y="249"/>
                  </a:lnTo>
                  <a:lnTo>
                    <a:pt x="481" y="260"/>
                  </a:lnTo>
                  <a:lnTo>
                    <a:pt x="477" y="284"/>
                  </a:lnTo>
                  <a:lnTo>
                    <a:pt x="472" y="307"/>
                  </a:lnTo>
                  <a:lnTo>
                    <a:pt x="464" y="329"/>
                  </a:lnTo>
                  <a:lnTo>
                    <a:pt x="455" y="350"/>
                  </a:lnTo>
                  <a:lnTo>
                    <a:pt x="444" y="370"/>
                  </a:lnTo>
                  <a:lnTo>
                    <a:pt x="430" y="389"/>
                  </a:lnTo>
                  <a:lnTo>
                    <a:pt x="415" y="406"/>
                  </a:lnTo>
                  <a:lnTo>
                    <a:pt x="398" y="423"/>
                  </a:lnTo>
                  <a:lnTo>
                    <a:pt x="380" y="437"/>
                  </a:lnTo>
                  <a:lnTo>
                    <a:pt x="360" y="450"/>
                  </a:lnTo>
                  <a:lnTo>
                    <a:pt x="339" y="460"/>
                  </a:lnTo>
                  <a:lnTo>
                    <a:pt x="317" y="469"/>
                  </a:lnTo>
                  <a:lnTo>
                    <a:pt x="306" y="472"/>
                  </a:lnTo>
                  <a:lnTo>
                    <a:pt x="295" y="476"/>
                  </a:lnTo>
                  <a:lnTo>
                    <a:pt x="282" y="478"/>
                  </a:lnTo>
                  <a:lnTo>
                    <a:pt x="270" y="479"/>
                  </a:lnTo>
                  <a:close/>
                </a:path>
              </a:pathLst>
            </a:custGeom>
            <a:solidFill>
              <a:srgbClr val="66A2B8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6653" tIns="58327" rIns="116653" bIns="58327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434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137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2" name="Freeform 52"/>
            <p:cNvSpPr>
              <a:spLocks/>
            </p:cNvSpPr>
            <p:nvPr/>
          </p:nvSpPr>
          <p:spPr bwMode="auto">
            <a:xfrm>
              <a:off x="660" y="2301"/>
              <a:ext cx="63" cy="64"/>
            </a:xfrm>
            <a:custGeom>
              <a:avLst/>
              <a:gdLst>
                <a:gd name="T0" fmla="*/ 202 w 254"/>
                <a:gd name="T1" fmla="*/ 118 h 253"/>
                <a:gd name="T2" fmla="*/ 185 w 254"/>
                <a:gd name="T3" fmla="*/ 117 h 253"/>
                <a:gd name="T4" fmla="*/ 169 w 254"/>
                <a:gd name="T5" fmla="*/ 112 h 253"/>
                <a:gd name="T6" fmla="*/ 155 w 254"/>
                <a:gd name="T7" fmla="*/ 105 h 253"/>
                <a:gd name="T8" fmla="*/ 142 w 254"/>
                <a:gd name="T9" fmla="*/ 95 h 253"/>
                <a:gd name="T10" fmla="*/ 131 w 254"/>
                <a:gd name="T11" fmla="*/ 83 h 253"/>
                <a:gd name="T12" fmla="*/ 123 w 254"/>
                <a:gd name="T13" fmla="*/ 69 h 253"/>
                <a:gd name="T14" fmla="*/ 117 w 254"/>
                <a:gd name="T15" fmla="*/ 52 h 253"/>
                <a:gd name="T16" fmla="*/ 116 w 254"/>
                <a:gd name="T17" fmla="*/ 32 h 253"/>
                <a:gd name="T18" fmla="*/ 118 w 254"/>
                <a:gd name="T19" fmla="*/ 11 h 253"/>
                <a:gd name="T20" fmla="*/ 117 w 254"/>
                <a:gd name="T21" fmla="*/ 0 h 253"/>
                <a:gd name="T22" fmla="*/ 99 w 254"/>
                <a:gd name="T23" fmla="*/ 4 h 253"/>
                <a:gd name="T24" fmla="*/ 75 w 254"/>
                <a:gd name="T25" fmla="*/ 11 h 253"/>
                <a:gd name="T26" fmla="*/ 53 w 254"/>
                <a:gd name="T27" fmla="*/ 24 h 253"/>
                <a:gd name="T28" fmla="*/ 36 w 254"/>
                <a:gd name="T29" fmla="*/ 39 h 253"/>
                <a:gd name="T30" fmla="*/ 20 w 254"/>
                <a:gd name="T31" fmla="*/ 59 h 253"/>
                <a:gd name="T32" fmla="*/ 9 w 254"/>
                <a:gd name="T33" fmla="*/ 80 h 253"/>
                <a:gd name="T34" fmla="*/ 3 w 254"/>
                <a:gd name="T35" fmla="*/ 104 h 253"/>
                <a:gd name="T36" fmla="*/ 0 w 254"/>
                <a:gd name="T37" fmla="*/ 130 h 253"/>
                <a:gd name="T38" fmla="*/ 4 w 254"/>
                <a:gd name="T39" fmla="*/ 155 h 253"/>
                <a:gd name="T40" fmla="*/ 11 w 254"/>
                <a:gd name="T41" fmla="*/ 179 h 253"/>
                <a:gd name="T42" fmla="*/ 24 w 254"/>
                <a:gd name="T43" fmla="*/ 200 h 253"/>
                <a:gd name="T44" fmla="*/ 39 w 254"/>
                <a:gd name="T45" fmla="*/ 218 h 253"/>
                <a:gd name="T46" fmla="*/ 59 w 254"/>
                <a:gd name="T47" fmla="*/ 233 h 253"/>
                <a:gd name="T48" fmla="*/ 80 w 254"/>
                <a:gd name="T49" fmla="*/ 245 h 253"/>
                <a:gd name="T50" fmla="*/ 104 w 254"/>
                <a:gd name="T51" fmla="*/ 251 h 253"/>
                <a:gd name="T52" fmla="*/ 129 w 254"/>
                <a:gd name="T53" fmla="*/ 253 h 253"/>
                <a:gd name="T54" fmla="*/ 155 w 254"/>
                <a:gd name="T55" fmla="*/ 250 h 253"/>
                <a:gd name="T56" fmla="*/ 179 w 254"/>
                <a:gd name="T57" fmla="*/ 243 h 253"/>
                <a:gd name="T58" fmla="*/ 201 w 254"/>
                <a:gd name="T59" fmla="*/ 230 h 253"/>
                <a:gd name="T60" fmla="*/ 218 w 254"/>
                <a:gd name="T61" fmla="*/ 215 h 253"/>
                <a:gd name="T62" fmla="*/ 234 w 254"/>
                <a:gd name="T63" fmla="*/ 195 h 253"/>
                <a:gd name="T64" fmla="*/ 244 w 254"/>
                <a:gd name="T65" fmla="*/ 173 h 253"/>
                <a:gd name="T66" fmla="*/ 251 w 254"/>
                <a:gd name="T67" fmla="*/ 150 h 253"/>
                <a:gd name="T68" fmla="*/ 254 w 254"/>
                <a:gd name="T69" fmla="*/ 124 h 253"/>
                <a:gd name="T70" fmla="*/ 251 w 254"/>
                <a:gd name="T71" fmla="*/ 106 h 253"/>
                <a:gd name="T72" fmla="*/ 242 w 254"/>
                <a:gd name="T73" fmla="*/ 108 h 253"/>
                <a:gd name="T74" fmla="*/ 222 w 254"/>
                <a:gd name="T75" fmla="*/ 116 h 2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254" h="253">
                  <a:moveTo>
                    <a:pt x="210" y="118"/>
                  </a:moveTo>
                  <a:lnTo>
                    <a:pt x="202" y="118"/>
                  </a:lnTo>
                  <a:lnTo>
                    <a:pt x="193" y="118"/>
                  </a:lnTo>
                  <a:lnTo>
                    <a:pt x="185" y="117"/>
                  </a:lnTo>
                  <a:lnTo>
                    <a:pt x="177" y="116"/>
                  </a:lnTo>
                  <a:lnTo>
                    <a:pt x="169" y="112"/>
                  </a:lnTo>
                  <a:lnTo>
                    <a:pt x="162" y="109"/>
                  </a:lnTo>
                  <a:lnTo>
                    <a:pt x="155" y="105"/>
                  </a:lnTo>
                  <a:lnTo>
                    <a:pt x="148" y="100"/>
                  </a:lnTo>
                  <a:lnTo>
                    <a:pt x="142" y="95"/>
                  </a:lnTo>
                  <a:lnTo>
                    <a:pt x="136" y="89"/>
                  </a:lnTo>
                  <a:lnTo>
                    <a:pt x="131" y="83"/>
                  </a:lnTo>
                  <a:lnTo>
                    <a:pt x="126" y="76"/>
                  </a:lnTo>
                  <a:lnTo>
                    <a:pt x="123" y="69"/>
                  </a:lnTo>
                  <a:lnTo>
                    <a:pt x="119" y="60"/>
                  </a:lnTo>
                  <a:lnTo>
                    <a:pt x="117" y="52"/>
                  </a:lnTo>
                  <a:lnTo>
                    <a:pt x="116" y="44"/>
                  </a:lnTo>
                  <a:lnTo>
                    <a:pt x="116" y="32"/>
                  </a:lnTo>
                  <a:lnTo>
                    <a:pt x="116" y="22"/>
                  </a:lnTo>
                  <a:lnTo>
                    <a:pt x="118" y="11"/>
                  </a:lnTo>
                  <a:lnTo>
                    <a:pt x="123" y="0"/>
                  </a:lnTo>
                  <a:lnTo>
                    <a:pt x="117" y="0"/>
                  </a:lnTo>
                  <a:lnTo>
                    <a:pt x="111" y="2"/>
                  </a:lnTo>
                  <a:lnTo>
                    <a:pt x="99" y="4"/>
                  </a:lnTo>
                  <a:lnTo>
                    <a:pt x="86" y="6"/>
                  </a:lnTo>
                  <a:lnTo>
                    <a:pt x="75" y="11"/>
                  </a:lnTo>
                  <a:lnTo>
                    <a:pt x="64" y="17"/>
                  </a:lnTo>
                  <a:lnTo>
                    <a:pt x="53" y="24"/>
                  </a:lnTo>
                  <a:lnTo>
                    <a:pt x="44" y="31"/>
                  </a:lnTo>
                  <a:lnTo>
                    <a:pt x="36" y="39"/>
                  </a:lnTo>
                  <a:lnTo>
                    <a:pt x="27" y="49"/>
                  </a:lnTo>
                  <a:lnTo>
                    <a:pt x="20" y="59"/>
                  </a:lnTo>
                  <a:lnTo>
                    <a:pt x="15" y="70"/>
                  </a:lnTo>
                  <a:lnTo>
                    <a:pt x="9" y="80"/>
                  </a:lnTo>
                  <a:lnTo>
                    <a:pt x="5" y="92"/>
                  </a:lnTo>
                  <a:lnTo>
                    <a:pt x="3" y="104"/>
                  </a:lnTo>
                  <a:lnTo>
                    <a:pt x="0" y="117"/>
                  </a:lnTo>
                  <a:lnTo>
                    <a:pt x="0" y="130"/>
                  </a:lnTo>
                  <a:lnTo>
                    <a:pt x="2" y="142"/>
                  </a:lnTo>
                  <a:lnTo>
                    <a:pt x="4" y="155"/>
                  </a:lnTo>
                  <a:lnTo>
                    <a:pt x="7" y="168"/>
                  </a:lnTo>
                  <a:lnTo>
                    <a:pt x="11" y="179"/>
                  </a:lnTo>
                  <a:lnTo>
                    <a:pt x="17" y="190"/>
                  </a:lnTo>
                  <a:lnTo>
                    <a:pt x="24" y="200"/>
                  </a:lnTo>
                  <a:lnTo>
                    <a:pt x="31" y="210"/>
                  </a:lnTo>
                  <a:lnTo>
                    <a:pt x="39" y="218"/>
                  </a:lnTo>
                  <a:lnTo>
                    <a:pt x="49" y="226"/>
                  </a:lnTo>
                  <a:lnTo>
                    <a:pt x="59" y="233"/>
                  </a:lnTo>
                  <a:lnTo>
                    <a:pt x="70" y="239"/>
                  </a:lnTo>
                  <a:lnTo>
                    <a:pt x="80" y="245"/>
                  </a:lnTo>
                  <a:lnTo>
                    <a:pt x="92" y="249"/>
                  </a:lnTo>
                  <a:lnTo>
                    <a:pt x="104" y="251"/>
                  </a:lnTo>
                  <a:lnTo>
                    <a:pt x="117" y="253"/>
                  </a:lnTo>
                  <a:lnTo>
                    <a:pt x="129" y="253"/>
                  </a:lnTo>
                  <a:lnTo>
                    <a:pt x="142" y="252"/>
                  </a:lnTo>
                  <a:lnTo>
                    <a:pt x="155" y="250"/>
                  </a:lnTo>
                  <a:lnTo>
                    <a:pt x="168" y="246"/>
                  </a:lnTo>
                  <a:lnTo>
                    <a:pt x="179" y="243"/>
                  </a:lnTo>
                  <a:lnTo>
                    <a:pt x="190" y="237"/>
                  </a:lnTo>
                  <a:lnTo>
                    <a:pt x="201" y="230"/>
                  </a:lnTo>
                  <a:lnTo>
                    <a:pt x="210" y="223"/>
                  </a:lnTo>
                  <a:lnTo>
                    <a:pt x="218" y="215"/>
                  </a:lnTo>
                  <a:lnTo>
                    <a:pt x="226" y="205"/>
                  </a:lnTo>
                  <a:lnTo>
                    <a:pt x="234" y="195"/>
                  </a:lnTo>
                  <a:lnTo>
                    <a:pt x="239" y="184"/>
                  </a:lnTo>
                  <a:lnTo>
                    <a:pt x="244" y="173"/>
                  </a:lnTo>
                  <a:lnTo>
                    <a:pt x="249" y="162"/>
                  </a:lnTo>
                  <a:lnTo>
                    <a:pt x="251" y="150"/>
                  </a:lnTo>
                  <a:lnTo>
                    <a:pt x="254" y="137"/>
                  </a:lnTo>
                  <a:lnTo>
                    <a:pt x="254" y="124"/>
                  </a:lnTo>
                  <a:lnTo>
                    <a:pt x="252" y="111"/>
                  </a:lnTo>
                  <a:lnTo>
                    <a:pt x="251" y="106"/>
                  </a:lnTo>
                  <a:lnTo>
                    <a:pt x="250" y="102"/>
                  </a:lnTo>
                  <a:lnTo>
                    <a:pt x="242" y="108"/>
                  </a:lnTo>
                  <a:lnTo>
                    <a:pt x="232" y="112"/>
                  </a:lnTo>
                  <a:lnTo>
                    <a:pt x="222" y="116"/>
                  </a:lnTo>
                  <a:lnTo>
                    <a:pt x="210" y="118"/>
                  </a:lnTo>
                  <a:close/>
                </a:path>
              </a:pathLst>
            </a:custGeom>
            <a:solidFill>
              <a:srgbClr val="655349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6653" tIns="58327" rIns="116653" bIns="58327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434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137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3" name="Freeform 53"/>
            <p:cNvSpPr>
              <a:spLocks/>
            </p:cNvSpPr>
            <p:nvPr/>
          </p:nvSpPr>
          <p:spPr bwMode="auto">
            <a:xfrm>
              <a:off x="635" y="2411"/>
              <a:ext cx="276" cy="89"/>
            </a:xfrm>
            <a:custGeom>
              <a:avLst/>
              <a:gdLst>
                <a:gd name="T0" fmla="*/ 534 w 1101"/>
                <a:gd name="T1" fmla="*/ 313 h 357"/>
                <a:gd name="T2" fmla="*/ 491 w 1101"/>
                <a:gd name="T3" fmla="*/ 283 h 357"/>
                <a:gd name="T4" fmla="*/ 464 w 1101"/>
                <a:gd name="T5" fmla="*/ 226 h 357"/>
                <a:gd name="T6" fmla="*/ 439 w 1101"/>
                <a:gd name="T7" fmla="*/ 197 h 357"/>
                <a:gd name="T8" fmla="*/ 387 w 1101"/>
                <a:gd name="T9" fmla="*/ 193 h 357"/>
                <a:gd name="T10" fmla="*/ 362 w 1101"/>
                <a:gd name="T11" fmla="*/ 216 h 357"/>
                <a:gd name="T12" fmla="*/ 360 w 1101"/>
                <a:gd name="T13" fmla="*/ 271 h 357"/>
                <a:gd name="T14" fmla="*/ 335 w 1101"/>
                <a:gd name="T15" fmla="*/ 321 h 357"/>
                <a:gd name="T16" fmla="*/ 289 w 1101"/>
                <a:gd name="T17" fmla="*/ 349 h 357"/>
                <a:gd name="T18" fmla="*/ 233 w 1101"/>
                <a:gd name="T19" fmla="*/ 341 h 357"/>
                <a:gd name="T20" fmla="*/ 171 w 1101"/>
                <a:gd name="T21" fmla="*/ 284 h 357"/>
                <a:gd name="T22" fmla="*/ 129 w 1101"/>
                <a:gd name="T23" fmla="*/ 245 h 357"/>
                <a:gd name="T24" fmla="*/ 87 w 1101"/>
                <a:gd name="T25" fmla="*/ 299 h 357"/>
                <a:gd name="T26" fmla="*/ 14 w 1101"/>
                <a:gd name="T27" fmla="*/ 297 h 357"/>
                <a:gd name="T28" fmla="*/ 75 w 1101"/>
                <a:gd name="T29" fmla="*/ 199 h 357"/>
                <a:gd name="T30" fmla="*/ 144 w 1101"/>
                <a:gd name="T31" fmla="*/ 174 h 357"/>
                <a:gd name="T32" fmla="*/ 202 w 1101"/>
                <a:gd name="T33" fmla="*/ 212 h 357"/>
                <a:gd name="T34" fmla="*/ 253 w 1101"/>
                <a:gd name="T35" fmla="*/ 274 h 357"/>
                <a:gd name="T36" fmla="*/ 287 w 1101"/>
                <a:gd name="T37" fmla="*/ 278 h 357"/>
                <a:gd name="T38" fmla="*/ 298 w 1101"/>
                <a:gd name="T39" fmla="*/ 228 h 357"/>
                <a:gd name="T40" fmla="*/ 307 w 1101"/>
                <a:gd name="T41" fmla="*/ 178 h 357"/>
                <a:gd name="T42" fmla="*/ 344 w 1101"/>
                <a:gd name="T43" fmla="*/ 140 h 357"/>
                <a:gd name="T44" fmla="*/ 404 w 1101"/>
                <a:gd name="T45" fmla="*/ 124 h 357"/>
                <a:gd name="T46" fmla="*/ 470 w 1101"/>
                <a:gd name="T47" fmla="*/ 139 h 357"/>
                <a:gd name="T48" fmla="*/ 520 w 1101"/>
                <a:gd name="T49" fmla="*/ 191 h 357"/>
                <a:gd name="T50" fmla="*/ 545 w 1101"/>
                <a:gd name="T51" fmla="*/ 245 h 357"/>
                <a:gd name="T52" fmla="*/ 580 w 1101"/>
                <a:gd name="T53" fmla="*/ 246 h 357"/>
                <a:gd name="T54" fmla="*/ 597 w 1101"/>
                <a:gd name="T55" fmla="*/ 191 h 357"/>
                <a:gd name="T56" fmla="*/ 607 w 1101"/>
                <a:gd name="T57" fmla="*/ 126 h 357"/>
                <a:gd name="T58" fmla="*/ 641 w 1101"/>
                <a:gd name="T59" fmla="*/ 91 h 357"/>
                <a:gd name="T60" fmla="*/ 694 w 1101"/>
                <a:gd name="T61" fmla="*/ 80 h 357"/>
                <a:gd name="T62" fmla="*/ 750 w 1101"/>
                <a:gd name="T63" fmla="*/ 97 h 357"/>
                <a:gd name="T64" fmla="*/ 785 w 1101"/>
                <a:gd name="T65" fmla="*/ 139 h 357"/>
                <a:gd name="T66" fmla="*/ 809 w 1101"/>
                <a:gd name="T67" fmla="*/ 172 h 357"/>
                <a:gd name="T68" fmla="*/ 851 w 1101"/>
                <a:gd name="T69" fmla="*/ 174 h 357"/>
                <a:gd name="T70" fmla="*/ 869 w 1101"/>
                <a:gd name="T71" fmla="*/ 154 h 357"/>
                <a:gd name="T72" fmla="*/ 864 w 1101"/>
                <a:gd name="T73" fmla="*/ 83 h 357"/>
                <a:gd name="T74" fmla="*/ 884 w 1101"/>
                <a:gd name="T75" fmla="*/ 32 h 357"/>
                <a:gd name="T76" fmla="*/ 919 w 1101"/>
                <a:gd name="T77" fmla="*/ 6 h 357"/>
                <a:gd name="T78" fmla="*/ 991 w 1101"/>
                <a:gd name="T79" fmla="*/ 6 h 357"/>
                <a:gd name="T80" fmla="*/ 1062 w 1101"/>
                <a:gd name="T81" fmla="*/ 51 h 357"/>
                <a:gd name="T82" fmla="*/ 1037 w 1101"/>
                <a:gd name="T83" fmla="*/ 124 h 357"/>
                <a:gd name="T84" fmla="*/ 996 w 1101"/>
                <a:gd name="T85" fmla="*/ 81 h 357"/>
                <a:gd name="T86" fmla="*/ 957 w 1101"/>
                <a:gd name="T87" fmla="*/ 65 h 357"/>
                <a:gd name="T88" fmla="*/ 935 w 1101"/>
                <a:gd name="T89" fmla="*/ 73 h 357"/>
                <a:gd name="T90" fmla="*/ 933 w 1101"/>
                <a:gd name="T91" fmla="*/ 127 h 357"/>
                <a:gd name="T92" fmla="*/ 923 w 1101"/>
                <a:gd name="T93" fmla="*/ 197 h 357"/>
                <a:gd name="T94" fmla="*/ 883 w 1101"/>
                <a:gd name="T95" fmla="*/ 232 h 357"/>
                <a:gd name="T96" fmla="*/ 798 w 1101"/>
                <a:gd name="T97" fmla="*/ 238 h 357"/>
                <a:gd name="T98" fmla="*/ 737 w 1101"/>
                <a:gd name="T99" fmla="*/ 197 h 357"/>
                <a:gd name="T100" fmla="*/ 716 w 1101"/>
                <a:gd name="T101" fmla="*/ 153 h 357"/>
                <a:gd name="T102" fmla="*/ 680 w 1101"/>
                <a:gd name="T103" fmla="*/ 146 h 357"/>
                <a:gd name="T104" fmla="*/ 662 w 1101"/>
                <a:gd name="T105" fmla="*/ 176 h 357"/>
                <a:gd name="T106" fmla="*/ 657 w 1101"/>
                <a:gd name="T107" fmla="*/ 245 h 357"/>
                <a:gd name="T108" fmla="*/ 623 w 1101"/>
                <a:gd name="T109" fmla="*/ 297 h 357"/>
                <a:gd name="T110" fmla="*/ 577 w 1101"/>
                <a:gd name="T111" fmla="*/ 317 h 3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01" h="357">
                  <a:moveTo>
                    <a:pt x="573" y="317"/>
                  </a:moveTo>
                  <a:lnTo>
                    <a:pt x="566" y="318"/>
                  </a:lnTo>
                  <a:lnTo>
                    <a:pt x="558" y="318"/>
                  </a:lnTo>
                  <a:lnTo>
                    <a:pt x="550" y="317"/>
                  </a:lnTo>
                  <a:lnTo>
                    <a:pt x="541" y="316"/>
                  </a:lnTo>
                  <a:lnTo>
                    <a:pt x="534" y="313"/>
                  </a:lnTo>
                  <a:lnTo>
                    <a:pt x="526" y="310"/>
                  </a:lnTo>
                  <a:lnTo>
                    <a:pt x="519" y="306"/>
                  </a:lnTo>
                  <a:lnTo>
                    <a:pt x="511" y="301"/>
                  </a:lnTo>
                  <a:lnTo>
                    <a:pt x="504" y="297"/>
                  </a:lnTo>
                  <a:lnTo>
                    <a:pt x="498" y="290"/>
                  </a:lnTo>
                  <a:lnTo>
                    <a:pt x="491" y="283"/>
                  </a:lnTo>
                  <a:lnTo>
                    <a:pt x="485" y="274"/>
                  </a:lnTo>
                  <a:lnTo>
                    <a:pt x="479" y="266"/>
                  </a:lnTo>
                  <a:lnTo>
                    <a:pt x="474" y="256"/>
                  </a:lnTo>
                  <a:lnTo>
                    <a:pt x="470" y="245"/>
                  </a:lnTo>
                  <a:lnTo>
                    <a:pt x="466" y="233"/>
                  </a:lnTo>
                  <a:lnTo>
                    <a:pt x="464" y="226"/>
                  </a:lnTo>
                  <a:lnTo>
                    <a:pt x="461" y="219"/>
                  </a:lnTo>
                  <a:lnTo>
                    <a:pt x="457" y="213"/>
                  </a:lnTo>
                  <a:lnTo>
                    <a:pt x="453" y="208"/>
                  </a:lnTo>
                  <a:lnTo>
                    <a:pt x="448" y="204"/>
                  </a:lnTo>
                  <a:lnTo>
                    <a:pt x="444" y="200"/>
                  </a:lnTo>
                  <a:lnTo>
                    <a:pt x="439" y="197"/>
                  </a:lnTo>
                  <a:lnTo>
                    <a:pt x="434" y="194"/>
                  </a:lnTo>
                  <a:lnTo>
                    <a:pt x="424" y="192"/>
                  </a:lnTo>
                  <a:lnTo>
                    <a:pt x="413" y="190"/>
                  </a:lnTo>
                  <a:lnTo>
                    <a:pt x="403" y="190"/>
                  </a:lnTo>
                  <a:lnTo>
                    <a:pt x="394" y="191"/>
                  </a:lnTo>
                  <a:lnTo>
                    <a:pt x="387" y="193"/>
                  </a:lnTo>
                  <a:lnTo>
                    <a:pt x="377" y="198"/>
                  </a:lnTo>
                  <a:lnTo>
                    <a:pt x="371" y="201"/>
                  </a:lnTo>
                  <a:lnTo>
                    <a:pt x="366" y="206"/>
                  </a:lnTo>
                  <a:lnTo>
                    <a:pt x="365" y="210"/>
                  </a:lnTo>
                  <a:lnTo>
                    <a:pt x="364" y="212"/>
                  </a:lnTo>
                  <a:lnTo>
                    <a:pt x="362" y="216"/>
                  </a:lnTo>
                  <a:lnTo>
                    <a:pt x="364" y="220"/>
                  </a:lnTo>
                  <a:lnTo>
                    <a:pt x="364" y="231"/>
                  </a:lnTo>
                  <a:lnTo>
                    <a:pt x="364" y="241"/>
                  </a:lnTo>
                  <a:lnTo>
                    <a:pt x="364" y="252"/>
                  </a:lnTo>
                  <a:lnTo>
                    <a:pt x="362" y="261"/>
                  </a:lnTo>
                  <a:lnTo>
                    <a:pt x="360" y="271"/>
                  </a:lnTo>
                  <a:lnTo>
                    <a:pt x="358" y="281"/>
                  </a:lnTo>
                  <a:lnTo>
                    <a:pt x="354" y="290"/>
                  </a:lnTo>
                  <a:lnTo>
                    <a:pt x="351" y="299"/>
                  </a:lnTo>
                  <a:lnTo>
                    <a:pt x="346" y="306"/>
                  </a:lnTo>
                  <a:lnTo>
                    <a:pt x="341" y="314"/>
                  </a:lnTo>
                  <a:lnTo>
                    <a:pt x="335" y="321"/>
                  </a:lnTo>
                  <a:lnTo>
                    <a:pt x="330" y="327"/>
                  </a:lnTo>
                  <a:lnTo>
                    <a:pt x="324" y="333"/>
                  </a:lnTo>
                  <a:lnTo>
                    <a:pt x="317" y="338"/>
                  </a:lnTo>
                  <a:lnTo>
                    <a:pt x="308" y="343"/>
                  </a:lnTo>
                  <a:lnTo>
                    <a:pt x="301" y="346"/>
                  </a:lnTo>
                  <a:lnTo>
                    <a:pt x="289" y="349"/>
                  </a:lnTo>
                  <a:lnTo>
                    <a:pt x="275" y="351"/>
                  </a:lnTo>
                  <a:lnTo>
                    <a:pt x="268" y="351"/>
                  </a:lnTo>
                  <a:lnTo>
                    <a:pt x="260" y="350"/>
                  </a:lnTo>
                  <a:lnTo>
                    <a:pt x="252" y="349"/>
                  </a:lnTo>
                  <a:lnTo>
                    <a:pt x="242" y="345"/>
                  </a:lnTo>
                  <a:lnTo>
                    <a:pt x="233" y="341"/>
                  </a:lnTo>
                  <a:lnTo>
                    <a:pt x="224" y="336"/>
                  </a:lnTo>
                  <a:lnTo>
                    <a:pt x="213" y="329"/>
                  </a:lnTo>
                  <a:lnTo>
                    <a:pt x="204" y="320"/>
                  </a:lnTo>
                  <a:lnTo>
                    <a:pt x="193" y="310"/>
                  </a:lnTo>
                  <a:lnTo>
                    <a:pt x="181" y="298"/>
                  </a:lnTo>
                  <a:lnTo>
                    <a:pt x="171" y="284"/>
                  </a:lnTo>
                  <a:lnTo>
                    <a:pt x="159" y="267"/>
                  </a:lnTo>
                  <a:lnTo>
                    <a:pt x="151" y="256"/>
                  </a:lnTo>
                  <a:lnTo>
                    <a:pt x="144" y="248"/>
                  </a:lnTo>
                  <a:lnTo>
                    <a:pt x="138" y="245"/>
                  </a:lnTo>
                  <a:lnTo>
                    <a:pt x="133" y="244"/>
                  </a:lnTo>
                  <a:lnTo>
                    <a:pt x="129" y="245"/>
                  </a:lnTo>
                  <a:lnTo>
                    <a:pt x="125" y="247"/>
                  </a:lnTo>
                  <a:lnTo>
                    <a:pt x="120" y="251"/>
                  </a:lnTo>
                  <a:lnTo>
                    <a:pt x="115" y="256"/>
                  </a:lnTo>
                  <a:lnTo>
                    <a:pt x="106" y="267"/>
                  </a:lnTo>
                  <a:lnTo>
                    <a:pt x="96" y="283"/>
                  </a:lnTo>
                  <a:lnTo>
                    <a:pt x="87" y="299"/>
                  </a:lnTo>
                  <a:lnTo>
                    <a:pt x="78" y="318"/>
                  </a:lnTo>
                  <a:lnTo>
                    <a:pt x="69" y="337"/>
                  </a:lnTo>
                  <a:lnTo>
                    <a:pt x="62" y="357"/>
                  </a:lnTo>
                  <a:lnTo>
                    <a:pt x="0" y="336"/>
                  </a:lnTo>
                  <a:lnTo>
                    <a:pt x="6" y="319"/>
                  </a:lnTo>
                  <a:lnTo>
                    <a:pt x="14" y="297"/>
                  </a:lnTo>
                  <a:lnTo>
                    <a:pt x="25" y="272"/>
                  </a:lnTo>
                  <a:lnTo>
                    <a:pt x="39" y="245"/>
                  </a:lnTo>
                  <a:lnTo>
                    <a:pt x="47" y="233"/>
                  </a:lnTo>
                  <a:lnTo>
                    <a:pt x="56" y="220"/>
                  </a:lnTo>
                  <a:lnTo>
                    <a:pt x="66" y="208"/>
                  </a:lnTo>
                  <a:lnTo>
                    <a:pt x="75" y="199"/>
                  </a:lnTo>
                  <a:lnTo>
                    <a:pt x="87" y="190"/>
                  </a:lnTo>
                  <a:lnTo>
                    <a:pt x="99" y="183"/>
                  </a:lnTo>
                  <a:lnTo>
                    <a:pt x="111" y="178"/>
                  </a:lnTo>
                  <a:lnTo>
                    <a:pt x="123" y="174"/>
                  </a:lnTo>
                  <a:lnTo>
                    <a:pt x="133" y="174"/>
                  </a:lnTo>
                  <a:lnTo>
                    <a:pt x="144" y="174"/>
                  </a:lnTo>
                  <a:lnTo>
                    <a:pt x="154" y="177"/>
                  </a:lnTo>
                  <a:lnTo>
                    <a:pt x="166" y="181"/>
                  </a:lnTo>
                  <a:lnTo>
                    <a:pt x="178" y="188"/>
                  </a:lnTo>
                  <a:lnTo>
                    <a:pt x="189" y="199"/>
                  </a:lnTo>
                  <a:lnTo>
                    <a:pt x="195" y="205"/>
                  </a:lnTo>
                  <a:lnTo>
                    <a:pt x="202" y="212"/>
                  </a:lnTo>
                  <a:lnTo>
                    <a:pt x="208" y="220"/>
                  </a:lnTo>
                  <a:lnTo>
                    <a:pt x="214" y="230"/>
                  </a:lnTo>
                  <a:lnTo>
                    <a:pt x="225" y="245"/>
                  </a:lnTo>
                  <a:lnTo>
                    <a:pt x="234" y="257"/>
                  </a:lnTo>
                  <a:lnTo>
                    <a:pt x="244" y="267"/>
                  </a:lnTo>
                  <a:lnTo>
                    <a:pt x="253" y="274"/>
                  </a:lnTo>
                  <a:lnTo>
                    <a:pt x="261" y="280"/>
                  </a:lnTo>
                  <a:lnTo>
                    <a:pt x="268" y="284"/>
                  </a:lnTo>
                  <a:lnTo>
                    <a:pt x="274" y="285"/>
                  </a:lnTo>
                  <a:lnTo>
                    <a:pt x="279" y="284"/>
                  </a:lnTo>
                  <a:lnTo>
                    <a:pt x="282" y="281"/>
                  </a:lnTo>
                  <a:lnTo>
                    <a:pt x="287" y="278"/>
                  </a:lnTo>
                  <a:lnTo>
                    <a:pt x="291" y="272"/>
                  </a:lnTo>
                  <a:lnTo>
                    <a:pt x="293" y="266"/>
                  </a:lnTo>
                  <a:lnTo>
                    <a:pt x="297" y="258"/>
                  </a:lnTo>
                  <a:lnTo>
                    <a:pt x="298" y="248"/>
                  </a:lnTo>
                  <a:lnTo>
                    <a:pt x="299" y="239"/>
                  </a:lnTo>
                  <a:lnTo>
                    <a:pt x="298" y="228"/>
                  </a:lnTo>
                  <a:lnTo>
                    <a:pt x="298" y="219"/>
                  </a:lnTo>
                  <a:lnTo>
                    <a:pt x="298" y="210"/>
                  </a:lnTo>
                  <a:lnTo>
                    <a:pt x="299" y="201"/>
                  </a:lnTo>
                  <a:lnTo>
                    <a:pt x="300" y="193"/>
                  </a:lnTo>
                  <a:lnTo>
                    <a:pt x="304" y="185"/>
                  </a:lnTo>
                  <a:lnTo>
                    <a:pt x="307" y="178"/>
                  </a:lnTo>
                  <a:lnTo>
                    <a:pt x="312" y="170"/>
                  </a:lnTo>
                  <a:lnTo>
                    <a:pt x="317" y="164"/>
                  </a:lnTo>
                  <a:lnTo>
                    <a:pt x="322" y="157"/>
                  </a:lnTo>
                  <a:lnTo>
                    <a:pt x="330" y="151"/>
                  </a:lnTo>
                  <a:lnTo>
                    <a:pt x="337" y="145"/>
                  </a:lnTo>
                  <a:lnTo>
                    <a:pt x="344" y="140"/>
                  </a:lnTo>
                  <a:lnTo>
                    <a:pt x="353" y="135"/>
                  </a:lnTo>
                  <a:lnTo>
                    <a:pt x="361" y="132"/>
                  </a:lnTo>
                  <a:lnTo>
                    <a:pt x="371" y="130"/>
                  </a:lnTo>
                  <a:lnTo>
                    <a:pt x="381" y="126"/>
                  </a:lnTo>
                  <a:lnTo>
                    <a:pt x="392" y="125"/>
                  </a:lnTo>
                  <a:lnTo>
                    <a:pt x="404" y="124"/>
                  </a:lnTo>
                  <a:lnTo>
                    <a:pt x="414" y="125"/>
                  </a:lnTo>
                  <a:lnTo>
                    <a:pt x="426" y="125"/>
                  </a:lnTo>
                  <a:lnTo>
                    <a:pt x="438" y="127"/>
                  </a:lnTo>
                  <a:lnTo>
                    <a:pt x="448" y="131"/>
                  </a:lnTo>
                  <a:lnTo>
                    <a:pt x="459" y="134"/>
                  </a:lnTo>
                  <a:lnTo>
                    <a:pt x="470" y="139"/>
                  </a:lnTo>
                  <a:lnTo>
                    <a:pt x="479" y="145"/>
                  </a:lnTo>
                  <a:lnTo>
                    <a:pt x="488" y="152"/>
                  </a:lnTo>
                  <a:lnTo>
                    <a:pt x="498" y="160"/>
                  </a:lnTo>
                  <a:lnTo>
                    <a:pt x="506" y="170"/>
                  </a:lnTo>
                  <a:lnTo>
                    <a:pt x="513" y="179"/>
                  </a:lnTo>
                  <a:lnTo>
                    <a:pt x="520" y="191"/>
                  </a:lnTo>
                  <a:lnTo>
                    <a:pt x="525" y="203"/>
                  </a:lnTo>
                  <a:lnTo>
                    <a:pt x="530" y="216"/>
                  </a:lnTo>
                  <a:lnTo>
                    <a:pt x="533" y="225"/>
                  </a:lnTo>
                  <a:lnTo>
                    <a:pt x="537" y="232"/>
                  </a:lnTo>
                  <a:lnTo>
                    <a:pt x="540" y="239"/>
                  </a:lnTo>
                  <a:lnTo>
                    <a:pt x="545" y="245"/>
                  </a:lnTo>
                  <a:lnTo>
                    <a:pt x="551" y="248"/>
                  </a:lnTo>
                  <a:lnTo>
                    <a:pt x="556" y="251"/>
                  </a:lnTo>
                  <a:lnTo>
                    <a:pt x="561" y="252"/>
                  </a:lnTo>
                  <a:lnTo>
                    <a:pt x="567" y="252"/>
                  </a:lnTo>
                  <a:lnTo>
                    <a:pt x="574" y="250"/>
                  </a:lnTo>
                  <a:lnTo>
                    <a:pt x="580" y="246"/>
                  </a:lnTo>
                  <a:lnTo>
                    <a:pt x="586" y="240"/>
                  </a:lnTo>
                  <a:lnTo>
                    <a:pt x="591" y="233"/>
                  </a:lnTo>
                  <a:lnTo>
                    <a:pt x="594" y="225"/>
                  </a:lnTo>
                  <a:lnTo>
                    <a:pt x="597" y="216"/>
                  </a:lnTo>
                  <a:lnTo>
                    <a:pt x="598" y="204"/>
                  </a:lnTo>
                  <a:lnTo>
                    <a:pt x="597" y="191"/>
                  </a:lnTo>
                  <a:lnTo>
                    <a:pt x="596" y="178"/>
                  </a:lnTo>
                  <a:lnTo>
                    <a:pt x="597" y="165"/>
                  </a:lnTo>
                  <a:lnTo>
                    <a:pt x="598" y="153"/>
                  </a:lnTo>
                  <a:lnTo>
                    <a:pt x="600" y="143"/>
                  </a:lnTo>
                  <a:lnTo>
                    <a:pt x="604" y="134"/>
                  </a:lnTo>
                  <a:lnTo>
                    <a:pt x="607" y="126"/>
                  </a:lnTo>
                  <a:lnTo>
                    <a:pt x="611" y="119"/>
                  </a:lnTo>
                  <a:lnTo>
                    <a:pt x="616" y="113"/>
                  </a:lnTo>
                  <a:lnTo>
                    <a:pt x="621" y="107"/>
                  </a:lnTo>
                  <a:lnTo>
                    <a:pt x="627" y="101"/>
                  </a:lnTo>
                  <a:lnTo>
                    <a:pt x="634" y="95"/>
                  </a:lnTo>
                  <a:lnTo>
                    <a:pt x="641" y="91"/>
                  </a:lnTo>
                  <a:lnTo>
                    <a:pt x="650" y="87"/>
                  </a:lnTo>
                  <a:lnTo>
                    <a:pt x="658" y="85"/>
                  </a:lnTo>
                  <a:lnTo>
                    <a:pt x="667" y="83"/>
                  </a:lnTo>
                  <a:lnTo>
                    <a:pt x="676" y="80"/>
                  </a:lnTo>
                  <a:lnTo>
                    <a:pt x="685" y="80"/>
                  </a:lnTo>
                  <a:lnTo>
                    <a:pt x="694" y="80"/>
                  </a:lnTo>
                  <a:lnTo>
                    <a:pt x="705" y="81"/>
                  </a:lnTo>
                  <a:lnTo>
                    <a:pt x="714" y="83"/>
                  </a:lnTo>
                  <a:lnTo>
                    <a:pt x="723" y="85"/>
                  </a:lnTo>
                  <a:lnTo>
                    <a:pt x="732" y="88"/>
                  </a:lnTo>
                  <a:lnTo>
                    <a:pt x="742" y="92"/>
                  </a:lnTo>
                  <a:lnTo>
                    <a:pt x="750" y="97"/>
                  </a:lnTo>
                  <a:lnTo>
                    <a:pt x="757" y="103"/>
                  </a:lnTo>
                  <a:lnTo>
                    <a:pt x="764" y="108"/>
                  </a:lnTo>
                  <a:lnTo>
                    <a:pt x="771" y="114"/>
                  </a:lnTo>
                  <a:lnTo>
                    <a:pt x="777" y="123"/>
                  </a:lnTo>
                  <a:lnTo>
                    <a:pt x="782" y="130"/>
                  </a:lnTo>
                  <a:lnTo>
                    <a:pt x="785" y="139"/>
                  </a:lnTo>
                  <a:lnTo>
                    <a:pt x="789" y="147"/>
                  </a:lnTo>
                  <a:lnTo>
                    <a:pt x="790" y="158"/>
                  </a:lnTo>
                  <a:lnTo>
                    <a:pt x="791" y="161"/>
                  </a:lnTo>
                  <a:lnTo>
                    <a:pt x="795" y="165"/>
                  </a:lnTo>
                  <a:lnTo>
                    <a:pt x="800" y="168"/>
                  </a:lnTo>
                  <a:lnTo>
                    <a:pt x="809" y="172"/>
                  </a:lnTo>
                  <a:lnTo>
                    <a:pt x="816" y="174"/>
                  </a:lnTo>
                  <a:lnTo>
                    <a:pt x="823" y="177"/>
                  </a:lnTo>
                  <a:lnTo>
                    <a:pt x="830" y="177"/>
                  </a:lnTo>
                  <a:lnTo>
                    <a:pt x="838" y="177"/>
                  </a:lnTo>
                  <a:lnTo>
                    <a:pt x="844" y="176"/>
                  </a:lnTo>
                  <a:lnTo>
                    <a:pt x="851" y="174"/>
                  </a:lnTo>
                  <a:lnTo>
                    <a:pt x="856" y="172"/>
                  </a:lnTo>
                  <a:lnTo>
                    <a:pt x="860" y="168"/>
                  </a:lnTo>
                  <a:lnTo>
                    <a:pt x="864" y="166"/>
                  </a:lnTo>
                  <a:lnTo>
                    <a:pt x="866" y="163"/>
                  </a:lnTo>
                  <a:lnTo>
                    <a:pt x="868" y="159"/>
                  </a:lnTo>
                  <a:lnTo>
                    <a:pt x="869" y="154"/>
                  </a:lnTo>
                  <a:lnTo>
                    <a:pt x="869" y="144"/>
                  </a:lnTo>
                  <a:lnTo>
                    <a:pt x="868" y="130"/>
                  </a:lnTo>
                  <a:lnTo>
                    <a:pt x="865" y="117"/>
                  </a:lnTo>
                  <a:lnTo>
                    <a:pt x="864" y="105"/>
                  </a:lnTo>
                  <a:lnTo>
                    <a:pt x="864" y="93"/>
                  </a:lnTo>
                  <a:lnTo>
                    <a:pt x="864" y="83"/>
                  </a:lnTo>
                  <a:lnTo>
                    <a:pt x="865" y="72"/>
                  </a:lnTo>
                  <a:lnTo>
                    <a:pt x="868" y="63"/>
                  </a:lnTo>
                  <a:lnTo>
                    <a:pt x="871" y="54"/>
                  </a:lnTo>
                  <a:lnTo>
                    <a:pt x="875" y="46"/>
                  </a:lnTo>
                  <a:lnTo>
                    <a:pt x="879" y="39"/>
                  </a:lnTo>
                  <a:lnTo>
                    <a:pt x="884" y="32"/>
                  </a:lnTo>
                  <a:lnTo>
                    <a:pt x="889" y="26"/>
                  </a:lnTo>
                  <a:lnTo>
                    <a:pt x="895" y="20"/>
                  </a:lnTo>
                  <a:lnTo>
                    <a:pt x="900" y="15"/>
                  </a:lnTo>
                  <a:lnTo>
                    <a:pt x="906" y="12"/>
                  </a:lnTo>
                  <a:lnTo>
                    <a:pt x="913" y="8"/>
                  </a:lnTo>
                  <a:lnTo>
                    <a:pt x="919" y="6"/>
                  </a:lnTo>
                  <a:lnTo>
                    <a:pt x="931" y="2"/>
                  </a:lnTo>
                  <a:lnTo>
                    <a:pt x="943" y="0"/>
                  </a:lnTo>
                  <a:lnTo>
                    <a:pt x="955" y="0"/>
                  </a:lnTo>
                  <a:lnTo>
                    <a:pt x="966" y="0"/>
                  </a:lnTo>
                  <a:lnTo>
                    <a:pt x="978" y="2"/>
                  </a:lnTo>
                  <a:lnTo>
                    <a:pt x="991" y="6"/>
                  </a:lnTo>
                  <a:lnTo>
                    <a:pt x="1003" y="11"/>
                  </a:lnTo>
                  <a:lnTo>
                    <a:pt x="1016" y="17"/>
                  </a:lnTo>
                  <a:lnTo>
                    <a:pt x="1028" y="24"/>
                  </a:lnTo>
                  <a:lnTo>
                    <a:pt x="1039" y="32"/>
                  </a:lnTo>
                  <a:lnTo>
                    <a:pt x="1051" y="41"/>
                  </a:lnTo>
                  <a:lnTo>
                    <a:pt x="1062" y="51"/>
                  </a:lnTo>
                  <a:lnTo>
                    <a:pt x="1072" y="63"/>
                  </a:lnTo>
                  <a:lnTo>
                    <a:pt x="1082" y="74"/>
                  </a:lnTo>
                  <a:lnTo>
                    <a:pt x="1091" y="87"/>
                  </a:lnTo>
                  <a:lnTo>
                    <a:pt x="1101" y="101"/>
                  </a:lnTo>
                  <a:lnTo>
                    <a:pt x="1043" y="134"/>
                  </a:lnTo>
                  <a:lnTo>
                    <a:pt x="1037" y="124"/>
                  </a:lnTo>
                  <a:lnTo>
                    <a:pt x="1030" y="114"/>
                  </a:lnTo>
                  <a:lnTo>
                    <a:pt x="1024" y="106"/>
                  </a:lnTo>
                  <a:lnTo>
                    <a:pt x="1017" y="99"/>
                  </a:lnTo>
                  <a:lnTo>
                    <a:pt x="1010" y="92"/>
                  </a:lnTo>
                  <a:lnTo>
                    <a:pt x="1003" y="86"/>
                  </a:lnTo>
                  <a:lnTo>
                    <a:pt x="996" y="81"/>
                  </a:lnTo>
                  <a:lnTo>
                    <a:pt x="989" y="77"/>
                  </a:lnTo>
                  <a:lnTo>
                    <a:pt x="982" y="73"/>
                  </a:lnTo>
                  <a:lnTo>
                    <a:pt x="976" y="70"/>
                  </a:lnTo>
                  <a:lnTo>
                    <a:pt x="969" y="67"/>
                  </a:lnTo>
                  <a:lnTo>
                    <a:pt x="963" y="66"/>
                  </a:lnTo>
                  <a:lnTo>
                    <a:pt x="957" y="65"/>
                  </a:lnTo>
                  <a:lnTo>
                    <a:pt x="952" y="65"/>
                  </a:lnTo>
                  <a:lnTo>
                    <a:pt x="948" y="66"/>
                  </a:lnTo>
                  <a:lnTo>
                    <a:pt x="943" y="67"/>
                  </a:lnTo>
                  <a:lnTo>
                    <a:pt x="939" y="68"/>
                  </a:lnTo>
                  <a:lnTo>
                    <a:pt x="937" y="71"/>
                  </a:lnTo>
                  <a:lnTo>
                    <a:pt x="935" y="73"/>
                  </a:lnTo>
                  <a:lnTo>
                    <a:pt x="933" y="75"/>
                  </a:lnTo>
                  <a:lnTo>
                    <a:pt x="930" y="83"/>
                  </a:lnTo>
                  <a:lnTo>
                    <a:pt x="929" y="90"/>
                  </a:lnTo>
                  <a:lnTo>
                    <a:pt x="930" y="105"/>
                  </a:lnTo>
                  <a:lnTo>
                    <a:pt x="931" y="117"/>
                  </a:lnTo>
                  <a:lnTo>
                    <a:pt x="933" y="127"/>
                  </a:lnTo>
                  <a:lnTo>
                    <a:pt x="935" y="137"/>
                  </a:lnTo>
                  <a:lnTo>
                    <a:pt x="935" y="146"/>
                  </a:lnTo>
                  <a:lnTo>
                    <a:pt x="935" y="155"/>
                  </a:lnTo>
                  <a:lnTo>
                    <a:pt x="932" y="171"/>
                  </a:lnTo>
                  <a:lnTo>
                    <a:pt x="928" y="185"/>
                  </a:lnTo>
                  <a:lnTo>
                    <a:pt x="923" y="197"/>
                  </a:lnTo>
                  <a:lnTo>
                    <a:pt x="916" y="206"/>
                  </a:lnTo>
                  <a:lnTo>
                    <a:pt x="910" y="213"/>
                  </a:lnTo>
                  <a:lnTo>
                    <a:pt x="903" y="219"/>
                  </a:lnTo>
                  <a:lnTo>
                    <a:pt x="897" y="224"/>
                  </a:lnTo>
                  <a:lnTo>
                    <a:pt x="890" y="228"/>
                  </a:lnTo>
                  <a:lnTo>
                    <a:pt x="883" y="232"/>
                  </a:lnTo>
                  <a:lnTo>
                    <a:pt x="876" y="236"/>
                  </a:lnTo>
                  <a:lnTo>
                    <a:pt x="860" y="240"/>
                  </a:lnTo>
                  <a:lnTo>
                    <a:pt x="844" y="243"/>
                  </a:lnTo>
                  <a:lnTo>
                    <a:pt x="829" y="243"/>
                  </a:lnTo>
                  <a:lnTo>
                    <a:pt x="813" y="241"/>
                  </a:lnTo>
                  <a:lnTo>
                    <a:pt x="798" y="238"/>
                  </a:lnTo>
                  <a:lnTo>
                    <a:pt x="784" y="233"/>
                  </a:lnTo>
                  <a:lnTo>
                    <a:pt x="772" y="227"/>
                  </a:lnTo>
                  <a:lnTo>
                    <a:pt x="762" y="221"/>
                  </a:lnTo>
                  <a:lnTo>
                    <a:pt x="752" y="213"/>
                  </a:lnTo>
                  <a:lnTo>
                    <a:pt x="744" y="205"/>
                  </a:lnTo>
                  <a:lnTo>
                    <a:pt x="737" y="197"/>
                  </a:lnTo>
                  <a:lnTo>
                    <a:pt x="731" y="186"/>
                  </a:lnTo>
                  <a:lnTo>
                    <a:pt x="727" y="177"/>
                  </a:lnTo>
                  <a:lnTo>
                    <a:pt x="725" y="165"/>
                  </a:lnTo>
                  <a:lnTo>
                    <a:pt x="724" y="161"/>
                  </a:lnTo>
                  <a:lnTo>
                    <a:pt x="720" y="157"/>
                  </a:lnTo>
                  <a:lnTo>
                    <a:pt x="716" y="153"/>
                  </a:lnTo>
                  <a:lnTo>
                    <a:pt x="711" y="151"/>
                  </a:lnTo>
                  <a:lnTo>
                    <a:pt x="705" y="147"/>
                  </a:lnTo>
                  <a:lnTo>
                    <a:pt x="698" y="146"/>
                  </a:lnTo>
                  <a:lnTo>
                    <a:pt x="691" y="145"/>
                  </a:lnTo>
                  <a:lnTo>
                    <a:pt x="684" y="146"/>
                  </a:lnTo>
                  <a:lnTo>
                    <a:pt x="680" y="146"/>
                  </a:lnTo>
                  <a:lnTo>
                    <a:pt x="676" y="148"/>
                  </a:lnTo>
                  <a:lnTo>
                    <a:pt x="671" y="151"/>
                  </a:lnTo>
                  <a:lnTo>
                    <a:pt x="667" y="154"/>
                  </a:lnTo>
                  <a:lnTo>
                    <a:pt x="664" y="160"/>
                  </a:lnTo>
                  <a:lnTo>
                    <a:pt x="662" y="168"/>
                  </a:lnTo>
                  <a:lnTo>
                    <a:pt x="662" y="176"/>
                  </a:lnTo>
                  <a:lnTo>
                    <a:pt x="663" y="184"/>
                  </a:lnTo>
                  <a:lnTo>
                    <a:pt x="664" y="197"/>
                  </a:lnTo>
                  <a:lnTo>
                    <a:pt x="664" y="210"/>
                  </a:lnTo>
                  <a:lnTo>
                    <a:pt x="663" y="223"/>
                  </a:lnTo>
                  <a:lnTo>
                    <a:pt x="660" y="234"/>
                  </a:lnTo>
                  <a:lnTo>
                    <a:pt x="657" y="245"/>
                  </a:lnTo>
                  <a:lnTo>
                    <a:pt x="653" y="256"/>
                  </a:lnTo>
                  <a:lnTo>
                    <a:pt x="649" y="265"/>
                  </a:lnTo>
                  <a:lnTo>
                    <a:pt x="643" y="274"/>
                  </a:lnTo>
                  <a:lnTo>
                    <a:pt x="637" y="283"/>
                  </a:lnTo>
                  <a:lnTo>
                    <a:pt x="630" y="290"/>
                  </a:lnTo>
                  <a:lnTo>
                    <a:pt x="623" y="297"/>
                  </a:lnTo>
                  <a:lnTo>
                    <a:pt x="614" y="301"/>
                  </a:lnTo>
                  <a:lnTo>
                    <a:pt x="606" y="306"/>
                  </a:lnTo>
                  <a:lnTo>
                    <a:pt x="598" y="311"/>
                  </a:lnTo>
                  <a:lnTo>
                    <a:pt x="590" y="314"/>
                  </a:lnTo>
                  <a:lnTo>
                    <a:pt x="580" y="316"/>
                  </a:lnTo>
                  <a:lnTo>
                    <a:pt x="577" y="317"/>
                  </a:lnTo>
                  <a:lnTo>
                    <a:pt x="573" y="317"/>
                  </a:lnTo>
                  <a:close/>
                </a:path>
              </a:pathLst>
            </a:custGeom>
            <a:solidFill>
              <a:srgbClr val="66A2B8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6653" tIns="58327" rIns="116653" bIns="58327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434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137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4" name="Freeform 54"/>
            <p:cNvSpPr>
              <a:spLocks/>
            </p:cNvSpPr>
            <p:nvPr/>
          </p:nvSpPr>
          <p:spPr bwMode="auto">
            <a:xfrm>
              <a:off x="715" y="2516"/>
              <a:ext cx="111" cy="42"/>
            </a:xfrm>
            <a:custGeom>
              <a:avLst/>
              <a:gdLst>
                <a:gd name="T0" fmla="*/ 377 w 443"/>
                <a:gd name="T1" fmla="*/ 30 h 166"/>
                <a:gd name="T2" fmla="*/ 361 w 443"/>
                <a:gd name="T3" fmla="*/ 52 h 166"/>
                <a:gd name="T4" fmla="*/ 345 w 443"/>
                <a:gd name="T5" fmla="*/ 69 h 166"/>
                <a:gd name="T6" fmla="*/ 326 w 443"/>
                <a:gd name="T7" fmla="*/ 83 h 166"/>
                <a:gd name="T8" fmla="*/ 306 w 443"/>
                <a:gd name="T9" fmla="*/ 93 h 166"/>
                <a:gd name="T10" fmla="*/ 285 w 443"/>
                <a:gd name="T11" fmla="*/ 100 h 166"/>
                <a:gd name="T12" fmla="*/ 261 w 443"/>
                <a:gd name="T13" fmla="*/ 104 h 166"/>
                <a:gd name="T14" fmla="*/ 238 w 443"/>
                <a:gd name="T15" fmla="*/ 106 h 166"/>
                <a:gd name="T16" fmla="*/ 202 w 443"/>
                <a:gd name="T17" fmla="*/ 102 h 166"/>
                <a:gd name="T18" fmla="*/ 153 w 443"/>
                <a:gd name="T19" fmla="*/ 92 h 166"/>
                <a:gd name="T20" fmla="*/ 105 w 443"/>
                <a:gd name="T21" fmla="*/ 75 h 166"/>
                <a:gd name="T22" fmla="*/ 61 w 443"/>
                <a:gd name="T23" fmla="*/ 54 h 166"/>
                <a:gd name="T24" fmla="*/ 35 w 443"/>
                <a:gd name="T25" fmla="*/ 40 h 166"/>
                <a:gd name="T26" fmla="*/ 23 w 443"/>
                <a:gd name="T27" fmla="*/ 39 h 166"/>
                <a:gd name="T28" fmla="*/ 13 w 443"/>
                <a:gd name="T29" fmla="*/ 42 h 166"/>
                <a:gd name="T30" fmla="*/ 6 w 443"/>
                <a:gd name="T31" fmla="*/ 50 h 166"/>
                <a:gd name="T32" fmla="*/ 1 w 443"/>
                <a:gd name="T33" fmla="*/ 61 h 166"/>
                <a:gd name="T34" fmla="*/ 0 w 443"/>
                <a:gd name="T35" fmla="*/ 74 h 166"/>
                <a:gd name="T36" fmla="*/ 3 w 443"/>
                <a:gd name="T37" fmla="*/ 86 h 166"/>
                <a:gd name="T38" fmla="*/ 11 w 443"/>
                <a:gd name="T39" fmla="*/ 95 h 166"/>
                <a:gd name="T40" fmla="*/ 42 w 443"/>
                <a:gd name="T41" fmla="*/ 114 h 166"/>
                <a:gd name="T42" fmla="*/ 99 w 443"/>
                <a:gd name="T43" fmla="*/ 139 h 166"/>
                <a:gd name="T44" fmla="*/ 159 w 443"/>
                <a:gd name="T45" fmla="*/ 156 h 166"/>
                <a:gd name="T46" fmla="*/ 205 w 443"/>
                <a:gd name="T47" fmla="*/ 165 h 166"/>
                <a:gd name="T48" fmla="*/ 234 w 443"/>
                <a:gd name="T49" fmla="*/ 166 h 166"/>
                <a:gd name="T50" fmla="*/ 264 w 443"/>
                <a:gd name="T51" fmla="*/ 165 h 166"/>
                <a:gd name="T52" fmla="*/ 293 w 443"/>
                <a:gd name="T53" fmla="*/ 161 h 166"/>
                <a:gd name="T54" fmla="*/ 320 w 443"/>
                <a:gd name="T55" fmla="*/ 153 h 166"/>
                <a:gd name="T56" fmla="*/ 347 w 443"/>
                <a:gd name="T57" fmla="*/ 142 h 166"/>
                <a:gd name="T58" fmla="*/ 371 w 443"/>
                <a:gd name="T59" fmla="*/ 127 h 166"/>
                <a:gd name="T60" fmla="*/ 394 w 443"/>
                <a:gd name="T61" fmla="*/ 108 h 166"/>
                <a:gd name="T62" fmla="*/ 414 w 443"/>
                <a:gd name="T63" fmla="*/ 86 h 166"/>
                <a:gd name="T64" fmla="*/ 432 w 443"/>
                <a:gd name="T65" fmla="*/ 57 h 166"/>
                <a:gd name="T66" fmla="*/ 441 w 443"/>
                <a:gd name="T67" fmla="*/ 35 h 166"/>
                <a:gd name="T68" fmla="*/ 443 w 443"/>
                <a:gd name="T69" fmla="*/ 23 h 166"/>
                <a:gd name="T70" fmla="*/ 437 w 443"/>
                <a:gd name="T71" fmla="*/ 13 h 166"/>
                <a:gd name="T72" fmla="*/ 428 w 443"/>
                <a:gd name="T73" fmla="*/ 4 h 166"/>
                <a:gd name="T74" fmla="*/ 418 w 443"/>
                <a:gd name="T75" fmla="*/ 1 h 166"/>
                <a:gd name="T76" fmla="*/ 406 w 443"/>
                <a:gd name="T77" fmla="*/ 0 h 166"/>
                <a:gd name="T78" fmla="*/ 395 w 443"/>
                <a:gd name="T79" fmla="*/ 3 h 166"/>
                <a:gd name="T80" fmla="*/ 386 w 443"/>
                <a:gd name="T81" fmla="*/ 11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443" h="166">
                  <a:moveTo>
                    <a:pt x="383" y="17"/>
                  </a:moveTo>
                  <a:lnTo>
                    <a:pt x="377" y="30"/>
                  </a:lnTo>
                  <a:lnTo>
                    <a:pt x="370" y="41"/>
                  </a:lnTo>
                  <a:lnTo>
                    <a:pt x="361" y="52"/>
                  </a:lnTo>
                  <a:lnTo>
                    <a:pt x="353" y="61"/>
                  </a:lnTo>
                  <a:lnTo>
                    <a:pt x="345" y="69"/>
                  </a:lnTo>
                  <a:lnTo>
                    <a:pt x="335" y="76"/>
                  </a:lnTo>
                  <a:lnTo>
                    <a:pt x="326" y="83"/>
                  </a:lnTo>
                  <a:lnTo>
                    <a:pt x="317" y="88"/>
                  </a:lnTo>
                  <a:lnTo>
                    <a:pt x="306" y="93"/>
                  </a:lnTo>
                  <a:lnTo>
                    <a:pt x="295" y="97"/>
                  </a:lnTo>
                  <a:lnTo>
                    <a:pt x="285" y="100"/>
                  </a:lnTo>
                  <a:lnTo>
                    <a:pt x="273" y="102"/>
                  </a:lnTo>
                  <a:lnTo>
                    <a:pt x="261" y="104"/>
                  </a:lnTo>
                  <a:lnTo>
                    <a:pt x="251" y="104"/>
                  </a:lnTo>
                  <a:lnTo>
                    <a:pt x="238" y="106"/>
                  </a:lnTo>
                  <a:lnTo>
                    <a:pt x="226" y="104"/>
                  </a:lnTo>
                  <a:lnTo>
                    <a:pt x="202" y="102"/>
                  </a:lnTo>
                  <a:lnTo>
                    <a:pt x="178" y="97"/>
                  </a:lnTo>
                  <a:lnTo>
                    <a:pt x="153" y="92"/>
                  </a:lnTo>
                  <a:lnTo>
                    <a:pt x="128" y="83"/>
                  </a:lnTo>
                  <a:lnTo>
                    <a:pt x="105" y="75"/>
                  </a:lnTo>
                  <a:lnTo>
                    <a:pt x="82" y="64"/>
                  </a:lnTo>
                  <a:lnTo>
                    <a:pt x="61" y="54"/>
                  </a:lnTo>
                  <a:lnTo>
                    <a:pt x="41" y="42"/>
                  </a:lnTo>
                  <a:lnTo>
                    <a:pt x="35" y="40"/>
                  </a:lnTo>
                  <a:lnTo>
                    <a:pt x="28" y="39"/>
                  </a:lnTo>
                  <a:lnTo>
                    <a:pt x="23" y="39"/>
                  </a:lnTo>
                  <a:lnTo>
                    <a:pt x="18" y="40"/>
                  </a:lnTo>
                  <a:lnTo>
                    <a:pt x="13" y="42"/>
                  </a:lnTo>
                  <a:lnTo>
                    <a:pt x="9" y="47"/>
                  </a:lnTo>
                  <a:lnTo>
                    <a:pt x="6" y="50"/>
                  </a:lnTo>
                  <a:lnTo>
                    <a:pt x="3" y="56"/>
                  </a:lnTo>
                  <a:lnTo>
                    <a:pt x="1" y="61"/>
                  </a:lnTo>
                  <a:lnTo>
                    <a:pt x="0" y="68"/>
                  </a:lnTo>
                  <a:lnTo>
                    <a:pt x="0" y="74"/>
                  </a:lnTo>
                  <a:lnTo>
                    <a:pt x="1" y="80"/>
                  </a:lnTo>
                  <a:lnTo>
                    <a:pt x="3" y="86"/>
                  </a:lnTo>
                  <a:lnTo>
                    <a:pt x="6" y="90"/>
                  </a:lnTo>
                  <a:lnTo>
                    <a:pt x="11" y="95"/>
                  </a:lnTo>
                  <a:lnTo>
                    <a:pt x="16" y="100"/>
                  </a:lnTo>
                  <a:lnTo>
                    <a:pt x="42" y="114"/>
                  </a:lnTo>
                  <a:lnTo>
                    <a:pt x="71" y="128"/>
                  </a:lnTo>
                  <a:lnTo>
                    <a:pt x="99" y="139"/>
                  </a:lnTo>
                  <a:lnTo>
                    <a:pt x="129" y="149"/>
                  </a:lnTo>
                  <a:lnTo>
                    <a:pt x="159" y="156"/>
                  </a:lnTo>
                  <a:lnTo>
                    <a:pt x="189" y="162"/>
                  </a:lnTo>
                  <a:lnTo>
                    <a:pt x="205" y="165"/>
                  </a:lnTo>
                  <a:lnTo>
                    <a:pt x="220" y="166"/>
                  </a:lnTo>
                  <a:lnTo>
                    <a:pt x="234" y="166"/>
                  </a:lnTo>
                  <a:lnTo>
                    <a:pt x="250" y="166"/>
                  </a:lnTo>
                  <a:lnTo>
                    <a:pt x="264" y="165"/>
                  </a:lnTo>
                  <a:lnTo>
                    <a:pt x="279" y="163"/>
                  </a:lnTo>
                  <a:lnTo>
                    <a:pt x="293" y="161"/>
                  </a:lnTo>
                  <a:lnTo>
                    <a:pt x="307" y="157"/>
                  </a:lnTo>
                  <a:lnTo>
                    <a:pt x="320" y="153"/>
                  </a:lnTo>
                  <a:lnTo>
                    <a:pt x="334" y="148"/>
                  </a:lnTo>
                  <a:lnTo>
                    <a:pt x="347" y="142"/>
                  </a:lnTo>
                  <a:lnTo>
                    <a:pt x="359" y="135"/>
                  </a:lnTo>
                  <a:lnTo>
                    <a:pt x="371" y="127"/>
                  </a:lnTo>
                  <a:lnTo>
                    <a:pt x="383" y="119"/>
                  </a:lnTo>
                  <a:lnTo>
                    <a:pt x="394" y="108"/>
                  </a:lnTo>
                  <a:lnTo>
                    <a:pt x="404" y="97"/>
                  </a:lnTo>
                  <a:lnTo>
                    <a:pt x="414" y="86"/>
                  </a:lnTo>
                  <a:lnTo>
                    <a:pt x="424" y="72"/>
                  </a:lnTo>
                  <a:lnTo>
                    <a:pt x="432" y="57"/>
                  </a:lnTo>
                  <a:lnTo>
                    <a:pt x="440" y="42"/>
                  </a:lnTo>
                  <a:lnTo>
                    <a:pt x="441" y="35"/>
                  </a:lnTo>
                  <a:lnTo>
                    <a:pt x="443" y="29"/>
                  </a:lnTo>
                  <a:lnTo>
                    <a:pt x="443" y="23"/>
                  </a:lnTo>
                  <a:lnTo>
                    <a:pt x="440" y="17"/>
                  </a:lnTo>
                  <a:lnTo>
                    <a:pt x="437" y="13"/>
                  </a:lnTo>
                  <a:lnTo>
                    <a:pt x="433" y="8"/>
                  </a:lnTo>
                  <a:lnTo>
                    <a:pt x="428" y="4"/>
                  </a:lnTo>
                  <a:lnTo>
                    <a:pt x="424" y="2"/>
                  </a:lnTo>
                  <a:lnTo>
                    <a:pt x="418" y="1"/>
                  </a:lnTo>
                  <a:lnTo>
                    <a:pt x="412" y="0"/>
                  </a:lnTo>
                  <a:lnTo>
                    <a:pt x="406" y="0"/>
                  </a:lnTo>
                  <a:lnTo>
                    <a:pt x="401" y="1"/>
                  </a:lnTo>
                  <a:lnTo>
                    <a:pt x="395" y="3"/>
                  </a:lnTo>
                  <a:lnTo>
                    <a:pt x="391" y="7"/>
                  </a:lnTo>
                  <a:lnTo>
                    <a:pt x="386" y="11"/>
                  </a:lnTo>
                  <a:lnTo>
                    <a:pt x="383" y="17"/>
                  </a:lnTo>
                  <a:close/>
                </a:path>
              </a:pathLst>
            </a:custGeom>
            <a:solidFill>
              <a:srgbClr val="66A2B8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6653" tIns="58327" rIns="116653" bIns="58327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434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137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5" name="Freeform 55"/>
            <p:cNvSpPr>
              <a:spLocks/>
            </p:cNvSpPr>
            <p:nvPr/>
          </p:nvSpPr>
          <p:spPr bwMode="auto">
            <a:xfrm>
              <a:off x="495" y="2135"/>
              <a:ext cx="678" cy="578"/>
            </a:xfrm>
            <a:custGeom>
              <a:avLst/>
              <a:gdLst>
                <a:gd name="T0" fmla="*/ 2559 w 2710"/>
                <a:gd name="T1" fmla="*/ 1150 h 2312"/>
                <a:gd name="T2" fmla="*/ 2580 w 2710"/>
                <a:gd name="T3" fmla="*/ 1033 h 2312"/>
                <a:gd name="T4" fmla="*/ 2394 w 2710"/>
                <a:gd name="T5" fmla="*/ 942 h 2312"/>
                <a:gd name="T6" fmla="*/ 2132 w 2710"/>
                <a:gd name="T7" fmla="*/ 909 h 2312"/>
                <a:gd name="T8" fmla="*/ 2108 w 2710"/>
                <a:gd name="T9" fmla="*/ 773 h 2312"/>
                <a:gd name="T10" fmla="*/ 1874 w 2710"/>
                <a:gd name="T11" fmla="*/ 697 h 2312"/>
                <a:gd name="T12" fmla="*/ 1731 w 2710"/>
                <a:gd name="T13" fmla="*/ 519 h 2312"/>
                <a:gd name="T14" fmla="*/ 1552 w 2710"/>
                <a:gd name="T15" fmla="*/ 378 h 2312"/>
                <a:gd name="T16" fmla="*/ 1465 w 2710"/>
                <a:gd name="T17" fmla="*/ 193 h 2312"/>
                <a:gd name="T18" fmla="*/ 1206 w 2710"/>
                <a:gd name="T19" fmla="*/ 53 h 2312"/>
                <a:gd name="T20" fmla="*/ 979 w 2710"/>
                <a:gd name="T21" fmla="*/ 4 h 2312"/>
                <a:gd name="T22" fmla="*/ 745 w 2710"/>
                <a:gd name="T23" fmla="*/ 180 h 2312"/>
                <a:gd name="T24" fmla="*/ 579 w 2710"/>
                <a:gd name="T25" fmla="*/ 315 h 2312"/>
                <a:gd name="T26" fmla="*/ 422 w 2710"/>
                <a:gd name="T27" fmla="*/ 509 h 2312"/>
                <a:gd name="T28" fmla="*/ 323 w 2710"/>
                <a:gd name="T29" fmla="*/ 652 h 2312"/>
                <a:gd name="T30" fmla="*/ 213 w 2710"/>
                <a:gd name="T31" fmla="*/ 843 h 2312"/>
                <a:gd name="T32" fmla="*/ 131 w 2710"/>
                <a:gd name="T33" fmla="*/ 1037 h 2312"/>
                <a:gd name="T34" fmla="*/ 102 w 2710"/>
                <a:gd name="T35" fmla="*/ 1234 h 2312"/>
                <a:gd name="T36" fmla="*/ 64 w 2710"/>
                <a:gd name="T37" fmla="*/ 1443 h 2312"/>
                <a:gd name="T38" fmla="*/ 148 w 2710"/>
                <a:gd name="T39" fmla="*/ 1760 h 2312"/>
                <a:gd name="T40" fmla="*/ 288 w 2710"/>
                <a:gd name="T41" fmla="*/ 1937 h 2312"/>
                <a:gd name="T42" fmla="*/ 361 w 2710"/>
                <a:gd name="T43" fmla="*/ 2019 h 2312"/>
                <a:gd name="T44" fmla="*/ 592 w 2710"/>
                <a:gd name="T45" fmla="*/ 2199 h 2312"/>
                <a:gd name="T46" fmla="*/ 736 w 2710"/>
                <a:gd name="T47" fmla="*/ 2255 h 2312"/>
                <a:gd name="T48" fmla="*/ 865 w 2710"/>
                <a:gd name="T49" fmla="*/ 2157 h 2312"/>
                <a:gd name="T50" fmla="*/ 1143 w 2710"/>
                <a:gd name="T51" fmla="*/ 2156 h 2312"/>
                <a:gd name="T52" fmla="*/ 1331 w 2710"/>
                <a:gd name="T53" fmla="*/ 2137 h 2312"/>
                <a:gd name="T54" fmla="*/ 1615 w 2710"/>
                <a:gd name="T55" fmla="*/ 2169 h 2312"/>
                <a:gd name="T56" fmla="*/ 1845 w 2710"/>
                <a:gd name="T57" fmla="*/ 2216 h 2312"/>
                <a:gd name="T58" fmla="*/ 2068 w 2710"/>
                <a:gd name="T59" fmla="*/ 2071 h 2312"/>
                <a:gd name="T60" fmla="*/ 2194 w 2710"/>
                <a:gd name="T61" fmla="*/ 1965 h 2312"/>
                <a:gd name="T62" fmla="*/ 2472 w 2710"/>
                <a:gd name="T63" fmla="*/ 1938 h 2312"/>
                <a:gd name="T64" fmla="*/ 2595 w 2710"/>
                <a:gd name="T65" fmla="*/ 1746 h 2312"/>
                <a:gd name="T66" fmla="*/ 2697 w 2710"/>
                <a:gd name="T67" fmla="*/ 1506 h 2312"/>
                <a:gd name="T68" fmla="*/ 2645 w 2710"/>
                <a:gd name="T69" fmla="*/ 1498 h 2312"/>
                <a:gd name="T70" fmla="*/ 2520 w 2710"/>
                <a:gd name="T71" fmla="*/ 1763 h 2312"/>
                <a:gd name="T72" fmla="*/ 2387 w 2710"/>
                <a:gd name="T73" fmla="*/ 1946 h 2312"/>
                <a:gd name="T74" fmla="*/ 2027 w 2710"/>
                <a:gd name="T75" fmla="*/ 1951 h 2312"/>
                <a:gd name="T76" fmla="*/ 1755 w 2710"/>
                <a:gd name="T77" fmla="*/ 2033 h 2312"/>
                <a:gd name="T78" fmla="*/ 1550 w 2710"/>
                <a:gd name="T79" fmla="*/ 2077 h 2312"/>
                <a:gd name="T80" fmla="*/ 1294 w 2710"/>
                <a:gd name="T81" fmla="*/ 2143 h 2312"/>
                <a:gd name="T82" fmla="*/ 1131 w 2710"/>
                <a:gd name="T83" fmla="*/ 2203 h 2312"/>
                <a:gd name="T84" fmla="*/ 839 w 2710"/>
                <a:gd name="T85" fmla="*/ 2253 h 2312"/>
                <a:gd name="T86" fmla="*/ 764 w 2710"/>
                <a:gd name="T87" fmla="*/ 2209 h 2312"/>
                <a:gd name="T88" fmla="*/ 480 w 2710"/>
                <a:gd name="T89" fmla="*/ 2183 h 2312"/>
                <a:gd name="T90" fmla="*/ 267 w 2710"/>
                <a:gd name="T91" fmla="*/ 1999 h 2312"/>
                <a:gd name="T92" fmla="*/ 183 w 2710"/>
                <a:gd name="T93" fmla="*/ 1779 h 2312"/>
                <a:gd name="T94" fmla="*/ 123 w 2710"/>
                <a:gd name="T95" fmla="*/ 1443 h 2312"/>
                <a:gd name="T96" fmla="*/ 197 w 2710"/>
                <a:gd name="T97" fmla="*/ 1146 h 2312"/>
                <a:gd name="T98" fmla="*/ 246 w 2710"/>
                <a:gd name="T99" fmla="*/ 924 h 2312"/>
                <a:gd name="T100" fmla="*/ 344 w 2710"/>
                <a:gd name="T101" fmla="*/ 697 h 2312"/>
                <a:gd name="T102" fmla="*/ 474 w 2710"/>
                <a:gd name="T103" fmla="*/ 488 h 2312"/>
                <a:gd name="T104" fmla="*/ 705 w 2710"/>
                <a:gd name="T105" fmla="*/ 344 h 2312"/>
                <a:gd name="T106" fmla="*/ 986 w 2710"/>
                <a:gd name="T107" fmla="*/ 147 h 2312"/>
                <a:gd name="T108" fmla="*/ 1180 w 2710"/>
                <a:gd name="T109" fmla="*/ 120 h 2312"/>
                <a:gd name="T110" fmla="*/ 1364 w 2710"/>
                <a:gd name="T111" fmla="*/ 265 h 2312"/>
                <a:gd name="T112" fmla="*/ 1524 w 2710"/>
                <a:gd name="T113" fmla="*/ 419 h 2312"/>
                <a:gd name="T114" fmla="*/ 1714 w 2710"/>
                <a:gd name="T115" fmla="*/ 588 h 2312"/>
                <a:gd name="T116" fmla="*/ 2010 w 2710"/>
                <a:gd name="T117" fmla="*/ 690 h 2312"/>
                <a:gd name="T118" fmla="*/ 2161 w 2710"/>
                <a:gd name="T119" fmla="*/ 761 h 2312"/>
                <a:gd name="T120" fmla="*/ 2275 w 2710"/>
                <a:gd name="T121" fmla="*/ 935 h 2312"/>
                <a:gd name="T122" fmla="*/ 2478 w 2710"/>
                <a:gd name="T123" fmla="*/ 1037 h 2312"/>
                <a:gd name="T124" fmla="*/ 2547 w 2710"/>
                <a:gd name="T125" fmla="*/ 1195 h 23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710" h="2312">
                  <a:moveTo>
                    <a:pt x="2632" y="1412"/>
                  </a:moveTo>
                  <a:lnTo>
                    <a:pt x="2627" y="1393"/>
                  </a:lnTo>
                  <a:lnTo>
                    <a:pt x="2614" y="1396"/>
                  </a:lnTo>
                  <a:lnTo>
                    <a:pt x="2601" y="1400"/>
                  </a:lnTo>
                  <a:lnTo>
                    <a:pt x="2588" y="1403"/>
                  </a:lnTo>
                  <a:lnTo>
                    <a:pt x="2575" y="1407"/>
                  </a:lnTo>
                  <a:lnTo>
                    <a:pt x="2580" y="1425"/>
                  </a:lnTo>
                  <a:lnTo>
                    <a:pt x="2599" y="1421"/>
                  </a:lnTo>
                  <a:lnTo>
                    <a:pt x="2595" y="1407"/>
                  </a:lnTo>
                  <a:lnTo>
                    <a:pt x="2591" y="1392"/>
                  </a:lnTo>
                  <a:lnTo>
                    <a:pt x="2586" y="1378"/>
                  </a:lnTo>
                  <a:lnTo>
                    <a:pt x="2581" y="1363"/>
                  </a:lnTo>
                  <a:lnTo>
                    <a:pt x="2568" y="1334"/>
                  </a:lnTo>
                  <a:lnTo>
                    <a:pt x="2553" y="1305"/>
                  </a:lnTo>
                  <a:lnTo>
                    <a:pt x="2536" y="1314"/>
                  </a:lnTo>
                  <a:lnTo>
                    <a:pt x="2545" y="1330"/>
                  </a:lnTo>
                  <a:lnTo>
                    <a:pt x="2557" y="1325"/>
                  </a:lnTo>
                  <a:lnTo>
                    <a:pt x="2567" y="1318"/>
                  </a:lnTo>
                  <a:lnTo>
                    <a:pt x="2578" y="1310"/>
                  </a:lnTo>
                  <a:lnTo>
                    <a:pt x="2588" y="1302"/>
                  </a:lnTo>
                  <a:lnTo>
                    <a:pt x="2598" y="1294"/>
                  </a:lnTo>
                  <a:lnTo>
                    <a:pt x="2607" y="1285"/>
                  </a:lnTo>
                  <a:lnTo>
                    <a:pt x="2617" y="1275"/>
                  </a:lnTo>
                  <a:lnTo>
                    <a:pt x="2625" y="1266"/>
                  </a:lnTo>
                  <a:lnTo>
                    <a:pt x="2625" y="1266"/>
                  </a:lnTo>
                  <a:lnTo>
                    <a:pt x="2632" y="1256"/>
                  </a:lnTo>
                  <a:lnTo>
                    <a:pt x="2637" y="1245"/>
                  </a:lnTo>
                  <a:lnTo>
                    <a:pt x="2640" y="1234"/>
                  </a:lnTo>
                  <a:lnTo>
                    <a:pt x="2641" y="1222"/>
                  </a:lnTo>
                  <a:lnTo>
                    <a:pt x="2640" y="1213"/>
                  </a:lnTo>
                  <a:lnTo>
                    <a:pt x="2639" y="1205"/>
                  </a:lnTo>
                  <a:lnTo>
                    <a:pt x="2637" y="1196"/>
                  </a:lnTo>
                  <a:lnTo>
                    <a:pt x="2632" y="1189"/>
                  </a:lnTo>
                  <a:lnTo>
                    <a:pt x="2627" y="1181"/>
                  </a:lnTo>
                  <a:lnTo>
                    <a:pt x="2620" y="1173"/>
                  </a:lnTo>
                  <a:lnTo>
                    <a:pt x="2613" y="1166"/>
                  </a:lnTo>
                  <a:lnTo>
                    <a:pt x="2605" y="1161"/>
                  </a:lnTo>
                  <a:lnTo>
                    <a:pt x="2597" y="1156"/>
                  </a:lnTo>
                  <a:lnTo>
                    <a:pt x="2587" y="1153"/>
                  </a:lnTo>
                  <a:lnTo>
                    <a:pt x="2578" y="1150"/>
                  </a:lnTo>
                  <a:lnTo>
                    <a:pt x="2567" y="1150"/>
                  </a:lnTo>
                  <a:lnTo>
                    <a:pt x="2564" y="1150"/>
                  </a:lnTo>
                  <a:lnTo>
                    <a:pt x="2559" y="1150"/>
                  </a:lnTo>
                  <a:lnTo>
                    <a:pt x="2561" y="1169"/>
                  </a:lnTo>
                  <a:lnTo>
                    <a:pt x="2559" y="1150"/>
                  </a:lnTo>
                  <a:lnTo>
                    <a:pt x="2552" y="1152"/>
                  </a:lnTo>
                  <a:lnTo>
                    <a:pt x="2546" y="1153"/>
                  </a:lnTo>
                  <a:lnTo>
                    <a:pt x="2540" y="1156"/>
                  </a:lnTo>
                  <a:lnTo>
                    <a:pt x="2533" y="1159"/>
                  </a:lnTo>
                  <a:lnTo>
                    <a:pt x="2528" y="1162"/>
                  </a:lnTo>
                  <a:lnTo>
                    <a:pt x="2522" y="1167"/>
                  </a:lnTo>
                  <a:lnTo>
                    <a:pt x="2518" y="1172"/>
                  </a:lnTo>
                  <a:lnTo>
                    <a:pt x="2513" y="1176"/>
                  </a:lnTo>
                  <a:lnTo>
                    <a:pt x="2527" y="1188"/>
                  </a:lnTo>
                  <a:lnTo>
                    <a:pt x="2513" y="1176"/>
                  </a:lnTo>
                  <a:lnTo>
                    <a:pt x="2504" y="1186"/>
                  </a:lnTo>
                  <a:lnTo>
                    <a:pt x="2494" y="1194"/>
                  </a:lnTo>
                  <a:lnTo>
                    <a:pt x="2482" y="1202"/>
                  </a:lnTo>
                  <a:lnTo>
                    <a:pt x="2468" y="1209"/>
                  </a:lnTo>
                  <a:lnTo>
                    <a:pt x="2475" y="1226"/>
                  </a:lnTo>
                  <a:lnTo>
                    <a:pt x="2491" y="1214"/>
                  </a:lnTo>
                  <a:lnTo>
                    <a:pt x="2481" y="1202"/>
                  </a:lnTo>
                  <a:lnTo>
                    <a:pt x="2471" y="1190"/>
                  </a:lnTo>
                  <a:lnTo>
                    <a:pt x="2460" y="1179"/>
                  </a:lnTo>
                  <a:lnTo>
                    <a:pt x="2449" y="1166"/>
                  </a:lnTo>
                  <a:lnTo>
                    <a:pt x="2435" y="1179"/>
                  </a:lnTo>
                  <a:lnTo>
                    <a:pt x="2447" y="1194"/>
                  </a:lnTo>
                  <a:lnTo>
                    <a:pt x="2460" y="1185"/>
                  </a:lnTo>
                  <a:lnTo>
                    <a:pt x="2473" y="1175"/>
                  </a:lnTo>
                  <a:lnTo>
                    <a:pt x="2485" y="1166"/>
                  </a:lnTo>
                  <a:lnTo>
                    <a:pt x="2498" y="1155"/>
                  </a:lnTo>
                  <a:lnTo>
                    <a:pt x="2512" y="1144"/>
                  </a:lnTo>
                  <a:lnTo>
                    <a:pt x="2526" y="1134"/>
                  </a:lnTo>
                  <a:lnTo>
                    <a:pt x="2540" y="1123"/>
                  </a:lnTo>
                  <a:lnTo>
                    <a:pt x="2553" y="1114"/>
                  </a:lnTo>
                  <a:lnTo>
                    <a:pt x="2553" y="1114"/>
                  </a:lnTo>
                  <a:lnTo>
                    <a:pt x="2560" y="1108"/>
                  </a:lnTo>
                  <a:lnTo>
                    <a:pt x="2566" y="1102"/>
                  </a:lnTo>
                  <a:lnTo>
                    <a:pt x="2572" y="1096"/>
                  </a:lnTo>
                  <a:lnTo>
                    <a:pt x="2577" y="1089"/>
                  </a:lnTo>
                  <a:lnTo>
                    <a:pt x="2580" y="1081"/>
                  </a:lnTo>
                  <a:lnTo>
                    <a:pt x="2582" y="1074"/>
                  </a:lnTo>
                  <a:lnTo>
                    <a:pt x="2584" y="1066"/>
                  </a:lnTo>
                  <a:lnTo>
                    <a:pt x="2584" y="1057"/>
                  </a:lnTo>
                  <a:lnTo>
                    <a:pt x="2584" y="1044"/>
                  </a:lnTo>
                  <a:lnTo>
                    <a:pt x="2580" y="1033"/>
                  </a:lnTo>
                  <a:lnTo>
                    <a:pt x="2574" y="1022"/>
                  </a:lnTo>
                  <a:lnTo>
                    <a:pt x="2568" y="1013"/>
                  </a:lnTo>
                  <a:lnTo>
                    <a:pt x="2561" y="1004"/>
                  </a:lnTo>
                  <a:lnTo>
                    <a:pt x="2552" y="997"/>
                  </a:lnTo>
                  <a:lnTo>
                    <a:pt x="2542" y="991"/>
                  </a:lnTo>
                  <a:lnTo>
                    <a:pt x="2533" y="988"/>
                  </a:lnTo>
                  <a:lnTo>
                    <a:pt x="2522" y="986"/>
                  </a:lnTo>
                  <a:lnTo>
                    <a:pt x="2511" y="984"/>
                  </a:lnTo>
                  <a:lnTo>
                    <a:pt x="2507" y="984"/>
                  </a:lnTo>
                  <a:lnTo>
                    <a:pt x="2502" y="984"/>
                  </a:lnTo>
                  <a:lnTo>
                    <a:pt x="2502" y="984"/>
                  </a:lnTo>
                  <a:lnTo>
                    <a:pt x="2494" y="987"/>
                  </a:lnTo>
                  <a:lnTo>
                    <a:pt x="2486" y="989"/>
                  </a:lnTo>
                  <a:lnTo>
                    <a:pt x="2478" y="993"/>
                  </a:lnTo>
                  <a:lnTo>
                    <a:pt x="2471" y="997"/>
                  </a:lnTo>
                  <a:lnTo>
                    <a:pt x="2455" y="1008"/>
                  </a:lnTo>
                  <a:lnTo>
                    <a:pt x="2441" y="1019"/>
                  </a:lnTo>
                  <a:lnTo>
                    <a:pt x="2427" y="1029"/>
                  </a:lnTo>
                  <a:lnTo>
                    <a:pt x="2413" y="1041"/>
                  </a:lnTo>
                  <a:lnTo>
                    <a:pt x="2413" y="1040"/>
                  </a:lnTo>
                  <a:lnTo>
                    <a:pt x="2398" y="1053"/>
                  </a:lnTo>
                  <a:lnTo>
                    <a:pt x="2381" y="1064"/>
                  </a:lnTo>
                  <a:lnTo>
                    <a:pt x="2366" y="1076"/>
                  </a:lnTo>
                  <a:lnTo>
                    <a:pt x="2350" y="1087"/>
                  </a:lnTo>
                  <a:lnTo>
                    <a:pt x="2361" y="1102"/>
                  </a:lnTo>
                  <a:lnTo>
                    <a:pt x="2373" y="1089"/>
                  </a:lnTo>
                  <a:lnTo>
                    <a:pt x="2355" y="1072"/>
                  </a:lnTo>
                  <a:lnTo>
                    <a:pt x="2336" y="1054"/>
                  </a:lnTo>
                  <a:lnTo>
                    <a:pt x="2316" y="1036"/>
                  </a:lnTo>
                  <a:lnTo>
                    <a:pt x="2295" y="1019"/>
                  </a:lnTo>
                  <a:lnTo>
                    <a:pt x="2283" y="1033"/>
                  </a:lnTo>
                  <a:lnTo>
                    <a:pt x="2292" y="1049"/>
                  </a:lnTo>
                  <a:lnTo>
                    <a:pt x="2307" y="1041"/>
                  </a:lnTo>
                  <a:lnTo>
                    <a:pt x="2321" y="1031"/>
                  </a:lnTo>
                  <a:lnTo>
                    <a:pt x="2334" y="1022"/>
                  </a:lnTo>
                  <a:lnTo>
                    <a:pt x="2347" y="1010"/>
                  </a:lnTo>
                  <a:lnTo>
                    <a:pt x="2359" y="999"/>
                  </a:lnTo>
                  <a:lnTo>
                    <a:pt x="2369" y="987"/>
                  </a:lnTo>
                  <a:lnTo>
                    <a:pt x="2379" y="973"/>
                  </a:lnTo>
                  <a:lnTo>
                    <a:pt x="2387" y="958"/>
                  </a:lnTo>
                  <a:lnTo>
                    <a:pt x="2387" y="958"/>
                  </a:lnTo>
                  <a:lnTo>
                    <a:pt x="2392" y="950"/>
                  </a:lnTo>
                  <a:lnTo>
                    <a:pt x="2394" y="942"/>
                  </a:lnTo>
                  <a:lnTo>
                    <a:pt x="2396" y="934"/>
                  </a:lnTo>
                  <a:lnTo>
                    <a:pt x="2396" y="924"/>
                  </a:lnTo>
                  <a:lnTo>
                    <a:pt x="2396" y="915"/>
                  </a:lnTo>
                  <a:lnTo>
                    <a:pt x="2394" y="906"/>
                  </a:lnTo>
                  <a:lnTo>
                    <a:pt x="2391" y="897"/>
                  </a:lnTo>
                  <a:lnTo>
                    <a:pt x="2386" y="889"/>
                  </a:lnTo>
                  <a:lnTo>
                    <a:pt x="2386" y="889"/>
                  </a:lnTo>
                  <a:lnTo>
                    <a:pt x="2380" y="882"/>
                  </a:lnTo>
                  <a:lnTo>
                    <a:pt x="2374" y="875"/>
                  </a:lnTo>
                  <a:lnTo>
                    <a:pt x="2367" y="870"/>
                  </a:lnTo>
                  <a:lnTo>
                    <a:pt x="2359" y="865"/>
                  </a:lnTo>
                  <a:lnTo>
                    <a:pt x="2350" y="862"/>
                  </a:lnTo>
                  <a:lnTo>
                    <a:pt x="2342" y="858"/>
                  </a:lnTo>
                  <a:lnTo>
                    <a:pt x="2333" y="857"/>
                  </a:lnTo>
                  <a:lnTo>
                    <a:pt x="2323" y="856"/>
                  </a:lnTo>
                  <a:lnTo>
                    <a:pt x="2319" y="857"/>
                  </a:lnTo>
                  <a:lnTo>
                    <a:pt x="2314" y="857"/>
                  </a:lnTo>
                  <a:lnTo>
                    <a:pt x="2316" y="876"/>
                  </a:lnTo>
                  <a:lnTo>
                    <a:pt x="2314" y="857"/>
                  </a:lnTo>
                  <a:lnTo>
                    <a:pt x="2306" y="858"/>
                  </a:lnTo>
                  <a:lnTo>
                    <a:pt x="2298" y="861"/>
                  </a:lnTo>
                  <a:lnTo>
                    <a:pt x="2289" y="864"/>
                  </a:lnTo>
                  <a:lnTo>
                    <a:pt x="2282" y="869"/>
                  </a:lnTo>
                  <a:lnTo>
                    <a:pt x="2275" y="875"/>
                  </a:lnTo>
                  <a:lnTo>
                    <a:pt x="2269" y="881"/>
                  </a:lnTo>
                  <a:lnTo>
                    <a:pt x="2265" y="887"/>
                  </a:lnTo>
                  <a:lnTo>
                    <a:pt x="2260" y="895"/>
                  </a:lnTo>
                  <a:lnTo>
                    <a:pt x="2260" y="895"/>
                  </a:lnTo>
                  <a:lnTo>
                    <a:pt x="2255" y="902"/>
                  </a:lnTo>
                  <a:lnTo>
                    <a:pt x="2249" y="908"/>
                  </a:lnTo>
                  <a:lnTo>
                    <a:pt x="2242" y="914"/>
                  </a:lnTo>
                  <a:lnTo>
                    <a:pt x="2234" y="920"/>
                  </a:lnTo>
                  <a:lnTo>
                    <a:pt x="2225" y="924"/>
                  </a:lnTo>
                  <a:lnTo>
                    <a:pt x="2213" y="928"/>
                  </a:lnTo>
                  <a:lnTo>
                    <a:pt x="2200" y="933"/>
                  </a:lnTo>
                  <a:lnTo>
                    <a:pt x="2184" y="935"/>
                  </a:lnTo>
                  <a:lnTo>
                    <a:pt x="2188" y="954"/>
                  </a:lnTo>
                  <a:lnTo>
                    <a:pt x="2200" y="938"/>
                  </a:lnTo>
                  <a:lnTo>
                    <a:pt x="2186" y="928"/>
                  </a:lnTo>
                  <a:lnTo>
                    <a:pt x="2172" y="916"/>
                  </a:lnTo>
                  <a:lnTo>
                    <a:pt x="2157" y="906"/>
                  </a:lnTo>
                  <a:lnTo>
                    <a:pt x="2143" y="895"/>
                  </a:lnTo>
                  <a:lnTo>
                    <a:pt x="2132" y="909"/>
                  </a:lnTo>
                  <a:lnTo>
                    <a:pt x="2141" y="926"/>
                  </a:lnTo>
                  <a:lnTo>
                    <a:pt x="2162" y="913"/>
                  </a:lnTo>
                  <a:lnTo>
                    <a:pt x="2182" y="898"/>
                  </a:lnTo>
                  <a:lnTo>
                    <a:pt x="2201" y="882"/>
                  </a:lnTo>
                  <a:lnTo>
                    <a:pt x="2217" y="864"/>
                  </a:lnTo>
                  <a:lnTo>
                    <a:pt x="2234" y="845"/>
                  </a:lnTo>
                  <a:lnTo>
                    <a:pt x="2247" y="824"/>
                  </a:lnTo>
                  <a:lnTo>
                    <a:pt x="2259" y="803"/>
                  </a:lnTo>
                  <a:lnTo>
                    <a:pt x="2269" y="780"/>
                  </a:lnTo>
                  <a:lnTo>
                    <a:pt x="2269" y="780"/>
                  </a:lnTo>
                  <a:lnTo>
                    <a:pt x="2272" y="773"/>
                  </a:lnTo>
                  <a:lnTo>
                    <a:pt x="2273" y="767"/>
                  </a:lnTo>
                  <a:lnTo>
                    <a:pt x="2274" y="760"/>
                  </a:lnTo>
                  <a:lnTo>
                    <a:pt x="2274" y="752"/>
                  </a:lnTo>
                  <a:lnTo>
                    <a:pt x="2273" y="742"/>
                  </a:lnTo>
                  <a:lnTo>
                    <a:pt x="2270" y="730"/>
                  </a:lnTo>
                  <a:lnTo>
                    <a:pt x="2266" y="720"/>
                  </a:lnTo>
                  <a:lnTo>
                    <a:pt x="2260" y="710"/>
                  </a:lnTo>
                  <a:lnTo>
                    <a:pt x="2260" y="710"/>
                  </a:lnTo>
                  <a:lnTo>
                    <a:pt x="2254" y="704"/>
                  </a:lnTo>
                  <a:lnTo>
                    <a:pt x="2247" y="698"/>
                  </a:lnTo>
                  <a:lnTo>
                    <a:pt x="2241" y="692"/>
                  </a:lnTo>
                  <a:lnTo>
                    <a:pt x="2233" y="689"/>
                  </a:lnTo>
                  <a:lnTo>
                    <a:pt x="2226" y="685"/>
                  </a:lnTo>
                  <a:lnTo>
                    <a:pt x="2217" y="683"/>
                  </a:lnTo>
                  <a:lnTo>
                    <a:pt x="2209" y="682"/>
                  </a:lnTo>
                  <a:lnTo>
                    <a:pt x="2200" y="681"/>
                  </a:lnTo>
                  <a:lnTo>
                    <a:pt x="2196" y="682"/>
                  </a:lnTo>
                  <a:lnTo>
                    <a:pt x="2192" y="682"/>
                  </a:lnTo>
                  <a:lnTo>
                    <a:pt x="2192" y="682"/>
                  </a:lnTo>
                  <a:lnTo>
                    <a:pt x="2192" y="682"/>
                  </a:lnTo>
                  <a:lnTo>
                    <a:pt x="2182" y="683"/>
                  </a:lnTo>
                  <a:lnTo>
                    <a:pt x="2174" y="687"/>
                  </a:lnTo>
                  <a:lnTo>
                    <a:pt x="2166" y="690"/>
                  </a:lnTo>
                  <a:lnTo>
                    <a:pt x="2159" y="696"/>
                  </a:lnTo>
                  <a:lnTo>
                    <a:pt x="2152" y="702"/>
                  </a:lnTo>
                  <a:lnTo>
                    <a:pt x="2146" y="709"/>
                  </a:lnTo>
                  <a:lnTo>
                    <a:pt x="2141" y="717"/>
                  </a:lnTo>
                  <a:lnTo>
                    <a:pt x="2136" y="725"/>
                  </a:lnTo>
                  <a:lnTo>
                    <a:pt x="2136" y="725"/>
                  </a:lnTo>
                  <a:lnTo>
                    <a:pt x="2129" y="743"/>
                  </a:lnTo>
                  <a:lnTo>
                    <a:pt x="2120" y="758"/>
                  </a:lnTo>
                  <a:lnTo>
                    <a:pt x="2108" y="773"/>
                  </a:lnTo>
                  <a:lnTo>
                    <a:pt x="2096" y="784"/>
                  </a:lnTo>
                  <a:lnTo>
                    <a:pt x="2082" y="794"/>
                  </a:lnTo>
                  <a:lnTo>
                    <a:pt x="2067" y="803"/>
                  </a:lnTo>
                  <a:lnTo>
                    <a:pt x="2049" y="810"/>
                  </a:lnTo>
                  <a:lnTo>
                    <a:pt x="2030" y="816"/>
                  </a:lnTo>
                  <a:lnTo>
                    <a:pt x="2034" y="834"/>
                  </a:lnTo>
                  <a:lnTo>
                    <a:pt x="2046" y="820"/>
                  </a:lnTo>
                  <a:lnTo>
                    <a:pt x="2031" y="809"/>
                  </a:lnTo>
                  <a:lnTo>
                    <a:pt x="2019" y="798"/>
                  </a:lnTo>
                  <a:lnTo>
                    <a:pt x="2004" y="788"/>
                  </a:lnTo>
                  <a:lnTo>
                    <a:pt x="1991" y="778"/>
                  </a:lnTo>
                  <a:lnTo>
                    <a:pt x="1980" y="793"/>
                  </a:lnTo>
                  <a:lnTo>
                    <a:pt x="1987" y="810"/>
                  </a:lnTo>
                  <a:lnTo>
                    <a:pt x="2000" y="804"/>
                  </a:lnTo>
                  <a:lnTo>
                    <a:pt x="2011" y="800"/>
                  </a:lnTo>
                  <a:lnTo>
                    <a:pt x="2023" y="795"/>
                  </a:lnTo>
                  <a:lnTo>
                    <a:pt x="2034" y="790"/>
                  </a:lnTo>
                  <a:lnTo>
                    <a:pt x="2043" y="785"/>
                  </a:lnTo>
                  <a:lnTo>
                    <a:pt x="2051" y="780"/>
                  </a:lnTo>
                  <a:lnTo>
                    <a:pt x="2059" y="773"/>
                  </a:lnTo>
                  <a:lnTo>
                    <a:pt x="2064" y="764"/>
                  </a:lnTo>
                  <a:lnTo>
                    <a:pt x="2070" y="755"/>
                  </a:lnTo>
                  <a:lnTo>
                    <a:pt x="2074" y="745"/>
                  </a:lnTo>
                  <a:lnTo>
                    <a:pt x="2076" y="736"/>
                  </a:lnTo>
                  <a:lnTo>
                    <a:pt x="2076" y="725"/>
                  </a:lnTo>
                  <a:lnTo>
                    <a:pt x="2076" y="716"/>
                  </a:lnTo>
                  <a:lnTo>
                    <a:pt x="2074" y="705"/>
                  </a:lnTo>
                  <a:lnTo>
                    <a:pt x="2069" y="695"/>
                  </a:lnTo>
                  <a:lnTo>
                    <a:pt x="2063" y="684"/>
                  </a:lnTo>
                  <a:lnTo>
                    <a:pt x="2056" y="675"/>
                  </a:lnTo>
                  <a:lnTo>
                    <a:pt x="2048" y="667"/>
                  </a:lnTo>
                  <a:lnTo>
                    <a:pt x="2039" y="661"/>
                  </a:lnTo>
                  <a:lnTo>
                    <a:pt x="2028" y="656"/>
                  </a:lnTo>
                  <a:lnTo>
                    <a:pt x="2017" y="654"/>
                  </a:lnTo>
                  <a:lnTo>
                    <a:pt x="2006" y="652"/>
                  </a:lnTo>
                  <a:lnTo>
                    <a:pt x="1998" y="652"/>
                  </a:lnTo>
                  <a:lnTo>
                    <a:pt x="1991" y="654"/>
                  </a:lnTo>
                  <a:lnTo>
                    <a:pt x="1984" y="656"/>
                  </a:lnTo>
                  <a:lnTo>
                    <a:pt x="1977" y="658"/>
                  </a:lnTo>
                  <a:lnTo>
                    <a:pt x="1951" y="670"/>
                  </a:lnTo>
                  <a:lnTo>
                    <a:pt x="1925" y="680"/>
                  </a:lnTo>
                  <a:lnTo>
                    <a:pt x="1900" y="689"/>
                  </a:lnTo>
                  <a:lnTo>
                    <a:pt x="1874" y="697"/>
                  </a:lnTo>
                  <a:lnTo>
                    <a:pt x="1878" y="715"/>
                  </a:lnTo>
                  <a:lnTo>
                    <a:pt x="1889" y="701"/>
                  </a:lnTo>
                  <a:lnTo>
                    <a:pt x="1865" y="682"/>
                  </a:lnTo>
                  <a:lnTo>
                    <a:pt x="1842" y="664"/>
                  </a:lnTo>
                  <a:lnTo>
                    <a:pt x="1818" y="645"/>
                  </a:lnTo>
                  <a:lnTo>
                    <a:pt x="1795" y="628"/>
                  </a:lnTo>
                  <a:lnTo>
                    <a:pt x="1783" y="642"/>
                  </a:lnTo>
                  <a:lnTo>
                    <a:pt x="1797" y="655"/>
                  </a:lnTo>
                  <a:lnTo>
                    <a:pt x="1807" y="645"/>
                  </a:lnTo>
                  <a:lnTo>
                    <a:pt x="1816" y="636"/>
                  </a:lnTo>
                  <a:lnTo>
                    <a:pt x="1817" y="636"/>
                  </a:lnTo>
                  <a:lnTo>
                    <a:pt x="1824" y="628"/>
                  </a:lnTo>
                  <a:lnTo>
                    <a:pt x="1824" y="628"/>
                  </a:lnTo>
                  <a:lnTo>
                    <a:pt x="1830" y="622"/>
                  </a:lnTo>
                  <a:lnTo>
                    <a:pt x="1835" y="616"/>
                  </a:lnTo>
                  <a:lnTo>
                    <a:pt x="1840" y="609"/>
                  </a:lnTo>
                  <a:lnTo>
                    <a:pt x="1843" y="603"/>
                  </a:lnTo>
                  <a:lnTo>
                    <a:pt x="1845" y="595"/>
                  </a:lnTo>
                  <a:lnTo>
                    <a:pt x="1848" y="588"/>
                  </a:lnTo>
                  <a:lnTo>
                    <a:pt x="1849" y="581"/>
                  </a:lnTo>
                  <a:lnTo>
                    <a:pt x="1849" y="572"/>
                  </a:lnTo>
                  <a:lnTo>
                    <a:pt x="1849" y="562"/>
                  </a:lnTo>
                  <a:lnTo>
                    <a:pt x="1845" y="551"/>
                  </a:lnTo>
                  <a:lnTo>
                    <a:pt x="1841" y="541"/>
                  </a:lnTo>
                  <a:lnTo>
                    <a:pt x="1835" y="530"/>
                  </a:lnTo>
                  <a:lnTo>
                    <a:pt x="1820" y="542"/>
                  </a:lnTo>
                  <a:lnTo>
                    <a:pt x="1835" y="531"/>
                  </a:lnTo>
                  <a:lnTo>
                    <a:pt x="1829" y="524"/>
                  </a:lnTo>
                  <a:lnTo>
                    <a:pt x="1823" y="518"/>
                  </a:lnTo>
                  <a:lnTo>
                    <a:pt x="1816" y="514"/>
                  </a:lnTo>
                  <a:lnTo>
                    <a:pt x="1808" y="510"/>
                  </a:lnTo>
                  <a:lnTo>
                    <a:pt x="1801" y="506"/>
                  </a:lnTo>
                  <a:lnTo>
                    <a:pt x="1792" y="504"/>
                  </a:lnTo>
                  <a:lnTo>
                    <a:pt x="1784" y="503"/>
                  </a:lnTo>
                  <a:lnTo>
                    <a:pt x="1776" y="503"/>
                  </a:lnTo>
                  <a:lnTo>
                    <a:pt x="1764" y="504"/>
                  </a:lnTo>
                  <a:lnTo>
                    <a:pt x="1752" y="506"/>
                  </a:lnTo>
                  <a:lnTo>
                    <a:pt x="1747" y="509"/>
                  </a:lnTo>
                  <a:lnTo>
                    <a:pt x="1742" y="512"/>
                  </a:lnTo>
                  <a:lnTo>
                    <a:pt x="1736" y="516"/>
                  </a:lnTo>
                  <a:lnTo>
                    <a:pt x="1731" y="521"/>
                  </a:lnTo>
                  <a:lnTo>
                    <a:pt x="1744" y="534"/>
                  </a:lnTo>
                  <a:lnTo>
                    <a:pt x="1731" y="519"/>
                  </a:lnTo>
                  <a:lnTo>
                    <a:pt x="1718" y="531"/>
                  </a:lnTo>
                  <a:lnTo>
                    <a:pt x="1703" y="546"/>
                  </a:lnTo>
                  <a:lnTo>
                    <a:pt x="1687" y="563"/>
                  </a:lnTo>
                  <a:lnTo>
                    <a:pt x="1701" y="575"/>
                  </a:lnTo>
                  <a:lnTo>
                    <a:pt x="1712" y="561"/>
                  </a:lnTo>
                  <a:lnTo>
                    <a:pt x="1687" y="541"/>
                  </a:lnTo>
                  <a:lnTo>
                    <a:pt x="1663" y="519"/>
                  </a:lnTo>
                  <a:lnTo>
                    <a:pt x="1641" y="499"/>
                  </a:lnTo>
                  <a:lnTo>
                    <a:pt x="1618" y="481"/>
                  </a:lnTo>
                  <a:lnTo>
                    <a:pt x="1605" y="495"/>
                  </a:lnTo>
                  <a:lnTo>
                    <a:pt x="1610" y="512"/>
                  </a:lnTo>
                  <a:lnTo>
                    <a:pt x="1623" y="509"/>
                  </a:lnTo>
                  <a:lnTo>
                    <a:pt x="1636" y="505"/>
                  </a:lnTo>
                  <a:lnTo>
                    <a:pt x="1649" y="501"/>
                  </a:lnTo>
                  <a:lnTo>
                    <a:pt x="1663" y="495"/>
                  </a:lnTo>
                  <a:lnTo>
                    <a:pt x="1663" y="495"/>
                  </a:lnTo>
                  <a:lnTo>
                    <a:pt x="1672" y="490"/>
                  </a:lnTo>
                  <a:lnTo>
                    <a:pt x="1681" y="484"/>
                  </a:lnTo>
                  <a:lnTo>
                    <a:pt x="1688" y="477"/>
                  </a:lnTo>
                  <a:lnTo>
                    <a:pt x="1694" y="469"/>
                  </a:lnTo>
                  <a:lnTo>
                    <a:pt x="1699" y="459"/>
                  </a:lnTo>
                  <a:lnTo>
                    <a:pt x="1703" y="450"/>
                  </a:lnTo>
                  <a:lnTo>
                    <a:pt x="1704" y="441"/>
                  </a:lnTo>
                  <a:lnTo>
                    <a:pt x="1705" y="430"/>
                  </a:lnTo>
                  <a:lnTo>
                    <a:pt x="1704" y="421"/>
                  </a:lnTo>
                  <a:lnTo>
                    <a:pt x="1703" y="410"/>
                  </a:lnTo>
                  <a:lnTo>
                    <a:pt x="1703" y="410"/>
                  </a:lnTo>
                  <a:lnTo>
                    <a:pt x="1698" y="399"/>
                  </a:lnTo>
                  <a:lnTo>
                    <a:pt x="1692" y="389"/>
                  </a:lnTo>
                  <a:lnTo>
                    <a:pt x="1685" y="379"/>
                  </a:lnTo>
                  <a:lnTo>
                    <a:pt x="1677" y="372"/>
                  </a:lnTo>
                  <a:lnTo>
                    <a:pt x="1668" y="365"/>
                  </a:lnTo>
                  <a:lnTo>
                    <a:pt x="1657" y="360"/>
                  </a:lnTo>
                  <a:lnTo>
                    <a:pt x="1646" y="358"/>
                  </a:lnTo>
                  <a:lnTo>
                    <a:pt x="1635" y="357"/>
                  </a:lnTo>
                  <a:lnTo>
                    <a:pt x="1628" y="358"/>
                  </a:lnTo>
                  <a:lnTo>
                    <a:pt x="1621" y="358"/>
                  </a:lnTo>
                  <a:lnTo>
                    <a:pt x="1614" y="360"/>
                  </a:lnTo>
                  <a:lnTo>
                    <a:pt x="1606" y="363"/>
                  </a:lnTo>
                  <a:lnTo>
                    <a:pt x="1606" y="363"/>
                  </a:lnTo>
                  <a:lnTo>
                    <a:pt x="1589" y="370"/>
                  </a:lnTo>
                  <a:lnTo>
                    <a:pt x="1570" y="375"/>
                  </a:lnTo>
                  <a:lnTo>
                    <a:pt x="1552" y="378"/>
                  </a:lnTo>
                  <a:lnTo>
                    <a:pt x="1533" y="381"/>
                  </a:lnTo>
                  <a:lnTo>
                    <a:pt x="1533" y="381"/>
                  </a:lnTo>
                  <a:lnTo>
                    <a:pt x="1533" y="381"/>
                  </a:lnTo>
                  <a:lnTo>
                    <a:pt x="1521" y="383"/>
                  </a:lnTo>
                  <a:lnTo>
                    <a:pt x="1506" y="384"/>
                  </a:lnTo>
                  <a:lnTo>
                    <a:pt x="1508" y="402"/>
                  </a:lnTo>
                  <a:lnTo>
                    <a:pt x="1521" y="389"/>
                  </a:lnTo>
                  <a:lnTo>
                    <a:pt x="1506" y="373"/>
                  </a:lnTo>
                  <a:lnTo>
                    <a:pt x="1491" y="358"/>
                  </a:lnTo>
                  <a:lnTo>
                    <a:pt x="1478" y="344"/>
                  </a:lnTo>
                  <a:lnTo>
                    <a:pt x="1464" y="329"/>
                  </a:lnTo>
                  <a:lnTo>
                    <a:pt x="1450" y="340"/>
                  </a:lnTo>
                  <a:lnTo>
                    <a:pt x="1458" y="358"/>
                  </a:lnTo>
                  <a:lnTo>
                    <a:pt x="1473" y="350"/>
                  </a:lnTo>
                  <a:lnTo>
                    <a:pt x="1490" y="342"/>
                  </a:lnTo>
                  <a:lnTo>
                    <a:pt x="1504" y="332"/>
                  </a:lnTo>
                  <a:lnTo>
                    <a:pt x="1518" y="322"/>
                  </a:lnTo>
                  <a:lnTo>
                    <a:pt x="1518" y="322"/>
                  </a:lnTo>
                  <a:lnTo>
                    <a:pt x="1524" y="316"/>
                  </a:lnTo>
                  <a:lnTo>
                    <a:pt x="1529" y="310"/>
                  </a:lnTo>
                  <a:lnTo>
                    <a:pt x="1533" y="304"/>
                  </a:lnTo>
                  <a:lnTo>
                    <a:pt x="1537" y="297"/>
                  </a:lnTo>
                  <a:lnTo>
                    <a:pt x="1541" y="290"/>
                  </a:lnTo>
                  <a:lnTo>
                    <a:pt x="1543" y="282"/>
                  </a:lnTo>
                  <a:lnTo>
                    <a:pt x="1544" y="275"/>
                  </a:lnTo>
                  <a:lnTo>
                    <a:pt x="1544" y="266"/>
                  </a:lnTo>
                  <a:lnTo>
                    <a:pt x="1544" y="259"/>
                  </a:lnTo>
                  <a:lnTo>
                    <a:pt x="1543" y="252"/>
                  </a:lnTo>
                  <a:lnTo>
                    <a:pt x="1541" y="245"/>
                  </a:lnTo>
                  <a:lnTo>
                    <a:pt x="1538" y="238"/>
                  </a:lnTo>
                  <a:lnTo>
                    <a:pt x="1538" y="238"/>
                  </a:lnTo>
                  <a:lnTo>
                    <a:pt x="1533" y="229"/>
                  </a:lnTo>
                  <a:lnTo>
                    <a:pt x="1528" y="219"/>
                  </a:lnTo>
                  <a:lnTo>
                    <a:pt x="1521" y="212"/>
                  </a:lnTo>
                  <a:lnTo>
                    <a:pt x="1512" y="205"/>
                  </a:lnTo>
                  <a:lnTo>
                    <a:pt x="1503" y="200"/>
                  </a:lnTo>
                  <a:lnTo>
                    <a:pt x="1493" y="197"/>
                  </a:lnTo>
                  <a:lnTo>
                    <a:pt x="1483" y="195"/>
                  </a:lnTo>
                  <a:lnTo>
                    <a:pt x="1472" y="193"/>
                  </a:lnTo>
                  <a:lnTo>
                    <a:pt x="1469" y="193"/>
                  </a:lnTo>
                  <a:lnTo>
                    <a:pt x="1465" y="193"/>
                  </a:lnTo>
                  <a:lnTo>
                    <a:pt x="1468" y="212"/>
                  </a:lnTo>
                  <a:lnTo>
                    <a:pt x="1465" y="193"/>
                  </a:lnTo>
                  <a:lnTo>
                    <a:pt x="1455" y="196"/>
                  </a:lnTo>
                  <a:lnTo>
                    <a:pt x="1446" y="199"/>
                  </a:lnTo>
                  <a:lnTo>
                    <a:pt x="1437" y="204"/>
                  </a:lnTo>
                  <a:lnTo>
                    <a:pt x="1429" y="210"/>
                  </a:lnTo>
                  <a:lnTo>
                    <a:pt x="1440" y="224"/>
                  </a:lnTo>
                  <a:lnTo>
                    <a:pt x="1429" y="210"/>
                  </a:lnTo>
                  <a:lnTo>
                    <a:pt x="1417" y="218"/>
                  </a:lnTo>
                  <a:lnTo>
                    <a:pt x="1404" y="225"/>
                  </a:lnTo>
                  <a:lnTo>
                    <a:pt x="1390" y="231"/>
                  </a:lnTo>
                  <a:lnTo>
                    <a:pt x="1375" y="235"/>
                  </a:lnTo>
                  <a:lnTo>
                    <a:pt x="1378" y="253"/>
                  </a:lnTo>
                  <a:lnTo>
                    <a:pt x="1392" y="240"/>
                  </a:lnTo>
                  <a:lnTo>
                    <a:pt x="1378" y="225"/>
                  </a:lnTo>
                  <a:lnTo>
                    <a:pt x="1364" y="210"/>
                  </a:lnTo>
                  <a:lnTo>
                    <a:pt x="1349" y="196"/>
                  </a:lnTo>
                  <a:lnTo>
                    <a:pt x="1335" y="183"/>
                  </a:lnTo>
                  <a:lnTo>
                    <a:pt x="1319" y="170"/>
                  </a:lnTo>
                  <a:lnTo>
                    <a:pt x="1303" y="158"/>
                  </a:lnTo>
                  <a:lnTo>
                    <a:pt x="1287" y="147"/>
                  </a:lnTo>
                  <a:lnTo>
                    <a:pt x="1271" y="138"/>
                  </a:lnTo>
                  <a:lnTo>
                    <a:pt x="1262" y="153"/>
                  </a:lnTo>
                  <a:lnTo>
                    <a:pt x="1279" y="159"/>
                  </a:lnTo>
                  <a:lnTo>
                    <a:pt x="1282" y="153"/>
                  </a:lnTo>
                  <a:lnTo>
                    <a:pt x="1283" y="149"/>
                  </a:lnTo>
                  <a:lnTo>
                    <a:pt x="1283" y="147"/>
                  </a:lnTo>
                  <a:lnTo>
                    <a:pt x="1283" y="147"/>
                  </a:lnTo>
                  <a:lnTo>
                    <a:pt x="1285" y="136"/>
                  </a:lnTo>
                  <a:lnTo>
                    <a:pt x="1286" y="124"/>
                  </a:lnTo>
                  <a:lnTo>
                    <a:pt x="1285" y="113"/>
                  </a:lnTo>
                  <a:lnTo>
                    <a:pt x="1284" y="104"/>
                  </a:lnTo>
                  <a:lnTo>
                    <a:pt x="1280" y="94"/>
                  </a:lnTo>
                  <a:lnTo>
                    <a:pt x="1276" y="85"/>
                  </a:lnTo>
                  <a:lnTo>
                    <a:pt x="1269" y="77"/>
                  </a:lnTo>
                  <a:lnTo>
                    <a:pt x="1262" y="70"/>
                  </a:lnTo>
                  <a:lnTo>
                    <a:pt x="1253" y="64"/>
                  </a:lnTo>
                  <a:lnTo>
                    <a:pt x="1244" y="58"/>
                  </a:lnTo>
                  <a:lnTo>
                    <a:pt x="1244" y="58"/>
                  </a:lnTo>
                  <a:lnTo>
                    <a:pt x="1237" y="56"/>
                  </a:lnTo>
                  <a:lnTo>
                    <a:pt x="1230" y="54"/>
                  </a:lnTo>
                  <a:lnTo>
                    <a:pt x="1223" y="53"/>
                  </a:lnTo>
                  <a:lnTo>
                    <a:pt x="1216" y="53"/>
                  </a:lnTo>
                  <a:lnTo>
                    <a:pt x="1211" y="53"/>
                  </a:lnTo>
                  <a:lnTo>
                    <a:pt x="1206" y="53"/>
                  </a:lnTo>
                  <a:lnTo>
                    <a:pt x="1206" y="53"/>
                  </a:lnTo>
                  <a:lnTo>
                    <a:pt x="1197" y="56"/>
                  </a:lnTo>
                  <a:lnTo>
                    <a:pt x="1187" y="58"/>
                  </a:lnTo>
                  <a:lnTo>
                    <a:pt x="1178" y="63"/>
                  </a:lnTo>
                  <a:lnTo>
                    <a:pt x="1170" y="69"/>
                  </a:lnTo>
                  <a:lnTo>
                    <a:pt x="1163" y="76"/>
                  </a:lnTo>
                  <a:lnTo>
                    <a:pt x="1157" y="83"/>
                  </a:lnTo>
                  <a:lnTo>
                    <a:pt x="1152" y="91"/>
                  </a:lnTo>
                  <a:lnTo>
                    <a:pt x="1147" y="100"/>
                  </a:lnTo>
                  <a:lnTo>
                    <a:pt x="1147" y="100"/>
                  </a:lnTo>
                  <a:lnTo>
                    <a:pt x="1147" y="100"/>
                  </a:lnTo>
                  <a:lnTo>
                    <a:pt x="1146" y="106"/>
                  </a:lnTo>
                  <a:lnTo>
                    <a:pt x="1145" y="111"/>
                  </a:lnTo>
                  <a:lnTo>
                    <a:pt x="1163" y="116"/>
                  </a:lnTo>
                  <a:lnTo>
                    <a:pt x="1166" y="98"/>
                  </a:lnTo>
                  <a:lnTo>
                    <a:pt x="1151" y="94"/>
                  </a:lnTo>
                  <a:lnTo>
                    <a:pt x="1134" y="93"/>
                  </a:lnTo>
                  <a:lnTo>
                    <a:pt x="1118" y="92"/>
                  </a:lnTo>
                  <a:lnTo>
                    <a:pt x="1101" y="91"/>
                  </a:lnTo>
                  <a:lnTo>
                    <a:pt x="1092" y="91"/>
                  </a:lnTo>
                  <a:lnTo>
                    <a:pt x="1083" y="92"/>
                  </a:lnTo>
                  <a:lnTo>
                    <a:pt x="1073" y="92"/>
                  </a:lnTo>
                  <a:lnTo>
                    <a:pt x="1064" y="93"/>
                  </a:lnTo>
                  <a:lnTo>
                    <a:pt x="1066" y="112"/>
                  </a:lnTo>
                  <a:lnTo>
                    <a:pt x="1084" y="106"/>
                  </a:lnTo>
                  <a:lnTo>
                    <a:pt x="1079" y="92"/>
                  </a:lnTo>
                  <a:lnTo>
                    <a:pt x="1076" y="78"/>
                  </a:lnTo>
                  <a:lnTo>
                    <a:pt x="1071" y="64"/>
                  </a:lnTo>
                  <a:lnTo>
                    <a:pt x="1067" y="50"/>
                  </a:lnTo>
                  <a:lnTo>
                    <a:pt x="1067" y="50"/>
                  </a:lnTo>
                  <a:lnTo>
                    <a:pt x="1065" y="44"/>
                  </a:lnTo>
                  <a:lnTo>
                    <a:pt x="1063" y="38"/>
                  </a:lnTo>
                  <a:lnTo>
                    <a:pt x="1060" y="32"/>
                  </a:lnTo>
                  <a:lnTo>
                    <a:pt x="1057" y="27"/>
                  </a:lnTo>
                  <a:lnTo>
                    <a:pt x="1048" y="19"/>
                  </a:lnTo>
                  <a:lnTo>
                    <a:pt x="1040" y="12"/>
                  </a:lnTo>
                  <a:lnTo>
                    <a:pt x="1030" y="7"/>
                  </a:lnTo>
                  <a:lnTo>
                    <a:pt x="1020" y="4"/>
                  </a:lnTo>
                  <a:lnTo>
                    <a:pt x="1010" y="1"/>
                  </a:lnTo>
                  <a:lnTo>
                    <a:pt x="999" y="0"/>
                  </a:lnTo>
                  <a:lnTo>
                    <a:pt x="992" y="0"/>
                  </a:lnTo>
                  <a:lnTo>
                    <a:pt x="986" y="1"/>
                  </a:lnTo>
                  <a:lnTo>
                    <a:pt x="979" y="4"/>
                  </a:lnTo>
                  <a:lnTo>
                    <a:pt x="972" y="5"/>
                  </a:lnTo>
                  <a:lnTo>
                    <a:pt x="972" y="5"/>
                  </a:lnTo>
                  <a:lnTo>
                    <a:pt x="963" y="11"/>
                  </a:lnTo>
                  <a:lnTo>
                    <a:pt x="954" y="17"/>
                  </a:lnTo>
                  <a:lnTo>
                    <a:pt x="946" y="24"/>
                  </a:lnTo>
                  <a:lnTo>
                    <a:pt x="940" y="32"/>
                  </a:lnTo>
                  <a:lnTo>
                    <a:pt x="935" y="41"/>
                  </a:lnTo>
                  <a:lnTo>
                    <a:pt x="932" y="51"/>
                  </a:lnTo>
                  <a:lnTo>
                    <a:pt x="930" y="61"/>
                  </a:lnTo>
                  <a:lnTo>
                    <a:pt x="928" y="72"/>
                  </a:lnTo>
                  <a:lnTo>
                    <a:pt x="930" y="83"/>
                  </a:lnTo>
                  <a:lnTo>
                    <a:pt x="932" y="94"/>
                  </a:lnTo>
                  <a:lnTo>
                    <a:pt x="932" y="94"/>
                  </a:lnTo>
                  <a:lnTo>
                    <a:pt x="934" y="105"/>
                  </a:lnTo>
                  <a:lnTo>
                    <a:pt x="938" y="117"/>
                  </a:lnTo>
                  <a:lnTo>
                    <a:pt x="941" y="130"/>
                  </a:lnTo>
                  <a:lnTo>
                    <a:pt x="945" y="143"/>
                  </a:lnTo>
                  <a:lnTo>
                    <a:pt x="964" y="137"/>
                  </a:lnTo>
                  <a:lnTo>
                    <a:pt x="957" y="119"/>
                  </a:lnTo>
                  <a:lnTo>
                    <a:pt x="930" y="131"/>
                  </a:lnTo>
                  <a:lnTo>
                    <a:pt x="902" y="144"/>
                  </a:lnTo>
                  <a:lnTo>
                    <a:pt x="875" y="159"/>
                  </a:lnTo>
                  <a:lnTo>
                    <a:pt x="848" y="176"/>
                  </a:lnTo>
                  <a:lnTo>
                    <a:pt x="859" y="191"/>
                  </a:lnTo>
                  <a:lnTo>
                    <a:pt x="866" y="174"/>
                  </a:lnTo>
                  <a:lnTo>
                    <a:pt x="855" y="169"/>
                  </a:lnTo>
                  <a:lnTo>
                    <a:pt x="845" y="164"/>
                  </a:lnTo>
                  <a:lnTo>
                    <a:pt x="835" y="159"/>
                  </a:lnTo>
                  <a:lnTo>
                    <a:pt x="827" y="154"/>
                  </a:lnTo>
                  <a:lnTo>
                    <a:pt x="826" y="153"/>
                  </a:lnTo>
                  <a:lnTo>
                    <a:pt x="817" y="149"/>
                  </a:lnTo>
                  <a:lnTo>
                    <a:pt x="806" y="145"/>
                  </a:lnTo>
                  <a:lnTo>
                    <a:pt x="797" y="143"/>
                  </a:lnTo>
                  <a:lnTo>
                    <a:pt x="786" y="143"/>
                  </a:lnTo>
                  <a:lnTo>
                    <a:pt x="778" y="143"/>
                  </a:lnTo>
                  <a:lnTo>
                    <a:pt x="769" y="144"/>
                  </a:lnTo>
                  <a:lnTo>
                    <a:pt x="762" y="146"/>
                  </a:lnTo>
                  <a:lnTo>
                    <a:pt x="755" y="149"/>
                  </a:lnTo>
                  <a:lnTo>
                    <a:pt x="748" y="152"/>
                  </a:lnTo>
                  <a:lnTo>
                    <a:pt x="741" y="157"/>
                  </a:lnTo>
                  <a:lnTo>
                    <a:pt x="735" y="163"/>
                  </a:lnTo>
                  <a:lnTo>
                    <a:pt x="729" y="169"/>
                  </a:lnTo>
                  <a:lnTo>
                    <a:pt x="745" y="180"/>
                  </a:lnTo>
                  <a:lnTo>
                    <a:pt x="731" y="169"/>
                  </a:lnTo>
                  <a:lnTo>
                    <a:pt x="724" y="179"/>
                  </a:lnTo>
                  <a:lnTo>
                    <a:pt x="719" y="190"/>
                  </a:lnTo>
                  <a:lnTo>
                    <a:pt x="715" y="202"/>
                  </a:lnTo>
                  <a:lnTo>
                    <a:pt x="715" y="213"/>
                  </a:lnTo>
                  <a:lnTo>
                    <a:pt x="715" y="220"/>
                  </a:lnTo>
                  <a:lnTo>
                    <a:pt x="716" y="227"/>
                  </a:lnTo>
                  <a:lnTo>
                    <a:pt x="718" y="235"/>
                  </a:lnTo>
                  <a:lnTo>
                    <a:pt x="720" y="240"/>
                  </a:lnTo>
                  <a:lnTo>
                    <a:pt x="722" y="247"/>
                  </a:lnTo>
                  <a:lnTo>
                    <a:pt x="726" y="253"/>
                  </a:lnTo>
                  <a:lnTo>
                    <a:pt x="731" y="258"/>
                  </a:lnTo>
                  <a:lnTo>
                    <a:pt x="735" y="264"/>
                  </a:lnTo>
                  <a:lnTo>
                    <a:pt x="740" y="269"/>
                  </a:lnTo>
                  <a:lnTo>
                    <a:pt x="746" y="272"/>
                  </a:lnTo>
                  <a:lnTo>
                    <a:pt x="746" y="272"/>
                  </a:lnTo>
                  <a:lnTo>
                    <a:pt x="747" y="272"/>
                  </a:lnTo>
                  <a:lnTo>
                    <a:pt x="751" y="275"/>
                  </a:lnTo>
                  <a:lnTo>
                    <a:pt x="756" y="278"/>
                  </a:lnTo>
                  <a:lnTo>
                    <a:pt x="765" y="262"/>
                  </a:lnTo>
                  <a:lnTo>
                    <a:pt x="753" y="247"/>
                  </a:lnTo>
                  <a:lnTo>
                    <a:pt x="736" y="262"/>
                  </a:lnTo>
                  <a:lnTo>
                    <a:pt x="720" y="277"/>
                  </a:lnTo>
                  <a:lnTo>
                    <a:pt x="704" y="292"/>
                  </a:lnTo>
                  <a:lnTo>
                    <a:pt x="687" y="309"/>
                  </a:lnTo>
                  <a:lnTo>
                    <a:pt x="701" y="322"/>
                  </a:lnTo>
                  <a:lnTo>
                    <a:pt x="708" y="305"/>
                  </a:lnTo>
                  <a:lnTo>
                    <a:pt x="694" y="299"/>
                  </a:lnTo>
                  <a:lnTo>
                    <a:pt x="679" y="295"/>
                  </a:lnTo>
                  <a:lnTo>
                    <a:pt x="665" y="290"/>
                  </a:lnTo>
                  <a:lnTo>
                    <a:pt x="649" y="286"/>
                  </a:lnTo>
                  <a:lnTo>
                    <a:pt x="642" y="285"/>
                  </a:lnTo>
                  <a:lnTo>
                    <a:pt x="634" y="285"/>
                  </a:lnTo>
                  <a:lnTo>
                    <a:pt x="628" y="285"/>
                  </a:lnTo>
                  <a:lnTo>
                    <a:pt x="621" y="286"/>
                  </a:lnTo>
                  <a:lnTo>
                    <a:pt x="614" y="288"/>
                  </a:lnTo>
                  <a:lnTo>
                    <a:pt x="608" y="290"/>
                  </a:lnTo>
                  <a:lnTo>
                    <a:pt x="602" y="293"/>
                  </a:lnTo>
                  <a:lnTo>
                    <a:pt x="598" y="296"/>
                  </a:lnTo>
                  <a:lnTo>
                    <a:pt x="592" y="300"/>
                  </a:lnTo>
                  <a:lnTo>
                    <a:pt x="587" y="304"/>
                  </a:lnTo>
                  <a:lnTo>
                    <a:pt x="582" y="309"/>
                  </a:lnTo>
                  <a:lnTo>
                    <a:pt x="579" y="315"/>
                  </a:lnTo>
                  <a:lnTo>
                    <a:pt x="575" y="320"/>
                  </a:lnTo>
                  <a:lnTo>
                    <a:pt x="573" y="326"/>
                  </a:lnTo>
                  <a:lnTo>
                    <a:pt x="570" y="332"/>
                  </a:lnTo>
                  <a:lnTo>
                    <a:pt x="568" y="338"/>
                  </a:lnTo>
                  <a:lnTo>
                    <a:pt x="567" y="345"/>
                  </a:lnTo>
                  <a:lnTo>
                    <a:pt x="566" y="352"/>
                  </a:lnTo>
                  <a:lnTo>
                    <a:pt x="566" y="356"/>
                  </a:lnTo>
                  <a:lnTo>
                    <a:pt x="567" y="368"/>
                  </a:lnTo>
                  <a:lnTo>
                    <a:pt x="569" y="379"/>
                  </a:lnTo>
                  <a:lnTo>
                    <a:pt x="574" y="390"/>
                  </a:lnTo>
                  <a:lnTo>
                    <a:pt x="580" y="399"/>
                  </a:lnTo>
                  <a:lnTo>
                    <a:pt x="587" y="408"/>
                  </a:lnTo>
                  <a:lnTo>
                    <a:pt x="596" y="416"/>
                  </a:lnTo>
                  <a:lnTo>
                    <a:pt x="606" y="422"/>
                  </a:lnTo>
                  <a:lnTo>
                    <a:pt x="616" y="425"/>
                  </a:lnTo>
                  <a:lnTo>
                    <a:pt x="622" y="408"/>
                  </a:lnTo>
                  <a:lnTo>
                    <a:pt x="608" y="396"/>
                  </a:lnTo>
                  <a:lnTo>
                    <a:pt x="593" y="413"/>
                  </a:lnTo>
                  <a:lnTo>
                    <a:pt x="579" y="431"/>
                  </a:lnTo>
                  <a:lnTo>
                    <a:pt x="565" y="450"/>
                  </a:lnTo>
                  <a:lnTo>
                    <a:pt x="549" y="469"/>
                  </a:lnTo>
                  <a:lnTo>
                    <a:pt x="565" y="481"/>
                  </a:lnTo>
                  <a:lnTo>
                    <a:pt x="568" y="462"/>
                  </a:lnTo>
                  <a:lnTo>
                    <a:pt x="556" y="459"/>
                  </a:lnTo>
                  <a:lnTo>
                    <a:pt x="543" y="456"/>
                  </a:lnTo>
                  <a:lnTo>
                    <a:pt x="530" y="452"/>
                  </a:lnTo>
                  <a:lnTo>
                    <a:pt x="518" y="449"/>
                  </a:lnTo>
                  <a:lnTo>
                    <a:pt x="518" y="448"/>
                  </a:lnTo>
                  <a:lnTo>
                    <a:pt x="506" y="445"/>
                  </a:lnTo>
                  <a:lnTo>
                    <a:pt x="494" y="445"/>
                  </a:lnTo>
                  <a:lnTo>
                    <a:pt x="483" y="445"/>
                  </a:lnTo>
                  <a:lnTo>
                    <a:pt x="473" y="448"/>
                  </a:lnTo>
                  <a:lnTo>
                    <a:pt x="463" y="451"/>
                  </a:lnTo>
                  <a:lnTo>
                    <a:pt x="455" y="456"/>
                  </a:lnTo>
                  <a:lnTo>
                    <a:pt x="447" y="462"/>
                  </a:lnTo>
                  <a:lnTo>
                    <a:pt x="439" y="469"/>
                  </a:lnTo>
                  <a:lnTo>
                    <a:pt x="433" y="478"/>
                  </a:lnTo>
                  <a:lnTo>
                    <a:pt x="428" y="488"/>
                  </a:lnTo>
                  <a:lnTo>
                    <a:pt x="445" y="495"/>
                  </a:lnTo>
                  <a:lnTo>
                    <a:pt x="428" y="488"/>
                  </a:lnTo>
                  <a:lnTo>
                    <a:pt x="426" y="494"/>
                  </a:lnTo>
                  <a:lnTo>
                    <a:pt x="423" y="501"/>
                  </a:lnTo>
                  <a:lnTo>
                    <a:pt x="422" y="509"/>
                  </a:lnTo>
                  <a:lnTo>
                    <a:pt x="422" y="516"/>
                  </a:lnTo>
                  <a:lnTo>
                    <a:pt x="422" y="524"/>
                  </a:lnTo>
                  <a:lnTo>
                    <a:pt x="423" y="532"/>
                  </a:lnTo>
                  <a:lnTo>
                    <a:pt x="426" y="539"/>
                  </a:lnTo>
                  <a:lnTo>
                    <a:pt x="429" y="548"/>
                  </a:lnTo>
                  <a:lnTo>
                    <a:pt x="429" y="548"/>
                  </a:lnTo>
                  <a:lnTo>
                    <a:pt x="433" y="554"/>
                  </a:lnTo>
                  <a:lnTo>
                    <a:pt x="436" y="559"/>
                  </a:lnTo>
                  <a:lnTo>
                    <a:pt x="441" y="565"/>
                  </a:lnTo>
                  <a:lnTo>
                    <a:pt x="446" y="570"/>
                  </a:lnTo>
                  <a:lnTo>
                    <a:pt x="452" y="575"/>
                  </a:lnTo>
                  <a:lnTo>
                    <a:pt x="457" y="578"/>
                  </a:lnTo>
                  <a:lnTo>
                    <a:pt x="463" y="581"/>
                  </a:lnTo>
                  <a:lnTo>
                    <a:pt x="470" y="583"/>
                  </a:lnTo>
                  <a:lnTo>
                    <a:pt x="475" y="565"/>
                  </a:lnTo>
                  <a:lnTo>
                    <a:pt x="469" y="583"/>
                  </a:lnTo>
                  <a:lnTo>
                    <a:pt x="481" y="587"/>
                  </a:lnTo>
                  <a:lnTo>
                    <a:pt x="493" y="590"/>
                  </a:lnTo>
                  <a:lnTo>
                    <a:pt x="497" y="572"/>
                  </a:lnTo>
                  <a:lnTo>
                    <a:pt x="482" y="562"/>
                  </a:lnTo>
                  <a:lnTo>
                    <a:pt x="467" y="585"/>
                  </a:lnTo>
                  <a:lnTo>
                    <a:pt x="450" y="609"/>
                  </a:lnTo>
                  <a:lnTo>
                    <a:pt x="435" y="634"/>
                  </a:lnTo>
                  <a:lnTo>
                    <a:pt x="419" y="658"/>
                  </a:lnTo>
                  <a:lnTo>
                    <a:pt x="435" y="668"/>
                  </a:lnTo>
                  <a:lnTo>
                    <a:pt x="443" y="651"/>
                  </a:lnTo>
                  <a:lnTo>
                    <a:pt x="432" y="645"/>
                  </a:lnTo>
                  <a:lnTo>
                    <a:pt x="421" y="638"/>
                  </a:lnTo>
                  <a:lnTo>
                    <a:pt x="420" y="638"/>
                  </a:lnTo>
                  <a:lnTo>
                    <a:pt x="420" y="638"/>
                  </a:lnTo>
                  <a:lnTo>
                    <a:pt x="410" y="634"/>
                  </a:lnTo>
                  <a:lnTo>
                    <a:pt x="400" y="629"/>
                  </a:lnTo>
                  <a:lnTo>
                    <a:pt x="389" y="627"/>
                  </a:lnTo>
                  <a:lnTo>
                    <a:pt x="379" y="627"/>
                  </a:lnTo>
                  <a:lnTo>
                    <a:pt x="370" y="627"/>
                  </a:lnTo>
                  <a:lnTo>
                    <a:pt x="363" y="628"/>
                  </a:lnTo>
                  <a:lnTo>
                    <a:pt x="355" y="630"/>
                  </a:lnTo>
                  <a:lnTo>
                    <a:pt x="348" y="632"/>
                  </a:lnTo>
                  <a:lnTo>
                    <a:pt x="341" y="637"/>
                  </a:lnTo>
                  <a:lnTo>
                    <a:pt x="335" y="642"/>
                  </a:lnTo>
                  <a:lnTo>
                    <a:pt x="328" y="647"/>
                  </a:lnTo>
                  <a:lnTo>
                    <a:pt x="323" y="652"/>
                  </a:lnTo>
                  <a:lnTo>
                    <a:pt x="323" y="652"/>
                  </a:lnTo>
                  <a:lnTo>
                    <a:pt x="316" y="663"/>
                  </a:lnTo>
                  <a:lnTo>
                    <a:pt x="311" y="674"/>
                  </a:lnTo>
                  <a:lnTo>
                    <a:pt x="309" y="685"/>
                  </a:lnTo>
                  <a:lnTo>
                    <a:pt x="308" y="697"/>
                  </a:lnTo>
                  <a:lnTo>
                    <a:pt x="308" y="704"/>
                  </a:lnTo>
                  <a:lnTo>
                    <a:pt x="309" y="711"/>
                  </a:lnTo>
                  <a:lnTo>
                    <a:pt x="327" y="708"/>
                  </a:lnTo>
                  <a:lnTo>
                    <a:pt x="309" y="710"/>
                  </a:lnTo>
                  <a:lnTo>
                    <a:pt x="310" y="717"/>
                  </a:lnTo>
                  <a:lnTo>
                    <a:pt x="313" y="724"/>
                  </a:lnTo>
                  <a:lnTo>
                    <a:pt x="315" y="730"/>
                  </a:lnTo>
                  <a:lnTo>
                    <a:pt x="319" y="736"/>
                  </a:lnTo>
                  <a:lnTo>
                    <a:pt x="323" y="742"/>
                  </a:lnTo>
                  <a:lnTo>
                    <a:pt x="328" y="747"/>
                  </a:lnTo>
                  <a:lnTo>
                    <a:pt x="333" y="751"/>
                  </a:lnTo>
                  <a:lnTo>
                    <a:pt x="339" y="756"/>
                  </a:lnTo>
                  <a:lnTo>
                    <a:pt x="348" y="740"/>
                  </a:lnTo>
                  <a:lnTo>
                    <a:pt x="339" y="756"/>
                  </a:lnTo>
                  <a:lnTo>
                    <a:pt x="355" y="765"/>
                  </a:lnTo>
                  <a:lnTo>
                    <a:pt x="373" y="775"/>
                  </a:lnTo>
                  <a:lnTo>
                    <a:pt x="381" y="758"/>
                  </a:lnTo>
                  <a:lnTo>
                    <a:pt x="364" y="750"/>
                  </a:lnTo>
                  <a:lnTo>
                    <a:pt x="352" y="775"/>
                  </a:lnTo>
                  <a:lnTo>
                    <a:pt x="337" y="800"/>
                  </a:lnTo>
                  <a:lnTo>
                    <a:pt x="323" y="824"/>
                  </a:lnTo>
                  <a:lnTo>
                    <a:pt x="310" y="849"/>
                  </a:lnTo>
                  <a:lnTo>
                    <a:pt x="327" y="858"/>
                  </a:lnTo>
                  <a:lnTo>
                    <a:pt x="333" y="841"/>
                  </a:lnTo>
                  <a:lnTo>
                    <a:pt x="319" y="836"/>
                  </a:lnTo>
                  <a:lnTo>
                    <a:pt x="304" y="831"/>
                  </a:lnTo>
                  <a:lnTo>
                    <a:pt x="290" y="828"/>
                  </a:lnTo>
                  <a:lnTo>
                    <a:pt x="275" y="824"/>
                  </a:lnTo>
                  <a:lnTo>
                    <a:pt x="275" y="824"/>
                  </a:lnTo>
                  <a:lnTo>
                    <a:pt x="268" y="823"/>
                  </a:lnTo>
                  <a:lnTo>
                    <a:pt x="261" y="823"/>
                  </a:lnTo>
                  <a:lnTo>
                    <a:pt x="254" y="823"/>
                  </a:lnTo>
                  <a:lnTo>
                    <a:pt x="247" y="824"/>
                  </a:lnTo>
                  <a:lnTo>
                    <a:pt x="240" y="825"/>
                  </a:lnTo>
                  <a:lnTo>
                    <a:pt x="234" y="828"/>
                  </a:lnTo>
                  <a:lnTo>
                    <a:pt x="228" y="831"/>
                  </a:lnTo>
                  <a:lnTo>
                    <a:pt x="222" y="834"/>
                  </a:lnTo>
                  <a:lnTo>
                    <a:pt x="217" y="838"/>
                  </a:lnTo>
                  <a:lnTo>
                    <a:pt x="213" y="843"/>
                  </a:lnTo>
                  <a:lnTo>
                    <a:pt x="208" y="848"/>
                  </a:lnTo>
                  <a:lnTo>
                    <a:pt x="204" y="853"/>
                  </a:lnTo>
                  <a:lnTo>
                    <a:pt x="201" y="858"/>
                  </a:lnTo>
                  <a:lnTo>
                    <a:pt x="197" y="864"/>
                  </a:lnTo>
                  <a:lnTo>
                    <a:pt x="195" y="871"/>
                  </a:lnTo>
                  <a:lnTo>
                    <a:pt x="194" y="877"/>
                  </a:lnTo>
                  <a:lnTo>
                    <a:pt x="193" y="884"/>
                  </a:lnTo>
                  <a:lnTo>
                    <a:pt x="191" y="891"/>
                  </a:lnTo>
                  <a:lnTo>
                    <a:pt x="191" y="891"/>
                  </a:lnTo>
                  <a:lnTo>
                    <a:pt x="191" y="894"/>
                  </a:lnTo>
                  <a:lnTo>
                    <a:pt x="193" y="907"/>
                  </a:lnTo>
                  <a:lnTo>
                    <a:pt x="196" y="918"/>
                  </a:lnTo>
                  <a:lnTo>
                    <a:pt x="201" y="930"/>
                  </a:lnTo>
                  <a:lnTo>
                    <a:pt x="208" y="940"/>
                  </a:lnTo>
                  <a:lnTo>
                    <a:pt x="216" y="949"/>
                  </a:lnTo>
                  <a:lnTo>
                    <a:pt x="226" y="956"/>
                  </a:lnTo>
                  <a:lnTo>
                    <a:pt x="237" y="962"/>
                  </a:lnTo>
                  <a:lnTo>
                    <a:pt x="249" y="966"/>
                  </a:lnTo>
                  <a:lnTo>
                    <a:pt x="249" y="966"/>
                  </a:lnTo>
                  <a:lnTo>
                    <a:pt x="262" y="968"/>
                  </a:lnTo>
                  <a:lnTo>
                    <a:pt x="274" y="971"/>
                  </a:lnTo>
                  <a:lnTo>
                    <a:pt x="280" y="954"/>
                  </a:lnTo>
                  <a:lnTo>
                    <a:pt x="262" y="946"/>
                  </a:lnTo>
                  <a:lnTo>
                    <a:pt x="249" y="973"/>
                  </a:lnTo>
                  <a:lnTo>
                    <a:pt x="236" y="1001"/>
                  </a:lnTo>
                  <a:lnTo>
                    <a:pt x="224" y="1028"/>
                  </a:lnTo>
                  <a:lnTo>
                    <a:pt x="211" y="1056"/>
                  </a:lnTo>
                  <a:lnTo>
                    <a:pt x="229" y="1063"/>
                  </a:lnTo>
                  <a:lnTo>
                    <a:pt x="237" y="1047"/>
                  </a:lnTo>
                  <a:lnTo>
                    <a:pt x="228" y="1041"/>
                  </a:lnTo>
                  <a:lnTo>
                    <a:pt x="217" y="1035"/>
                  </a:lnTo>
                  <a:lnTo>
                    <a:pt x="207" y="1050"/>
                  </a:lnTo>
                  <a:lnTo>
                    <a:pt x="217" y="1035"/>
                  </a:lnTo>
                  <a:lnTo>
                    <a:pt x="208" y="1029"/>
                  </a:lnTo>
                  <a:lnTo>
                    <a:pt x="197" y="1026"/>
                  </a:lnTo>
                  <a:lnTo>
                    <a:pt x="187" y="1023"/>
                  </a:lnTo>
                  <a:lnTo>
                    <a:pt x="176" y="1022"/>
                  </a:lnTo>
                  <a:lnTo>
                    <a:pt x="168" y="1023"/>
                  </a:lnTo>
                  <a:lnTo>
                    <a:pt x="160" y="1024"/>
                  </a:lnTo>
                  <a:lnTo>
                    <a:pt x="153" y="1027"/>
                  </a:lnTo>
                  <a:lnTo>
                    <a:pt x="145" y="1029"/>
                  </a:lnTo>
                  <a:lnTo>
                    <a:pt x="138" y="1033"/>
                  </a:lnTo>
                  <a:lnTo>
                    <a:pt x="131" y="1037"/>
                  </a:lnTo>
                  <a:lnTo>
                    <a:pt x="125" y="1043"/>
                  </a:lnTo>
                  <a:lnTo>
                    <a:pt x="120" y="1049"/>
                  </a:lnTo>
                  <a:lnTo>
                    <a:pt x="135" y="1061"/>
                  </a:lnTo>
                  <a:lnTo>
                    <a:pt x="120" y="1049"/>
                  </a:lnTo>
                  <a:lnTo>
                    <a:pt x="114" y="1060"/>
                  </a:lnTo>
                  <a:lnTo>
                    <a:pt x="109" y="1070"/>
                  </a:lnTo>
                  <a:lnTo>
                    <a:pt x="105" y="1082"/>
                  </a:lnTo>
                  <a:lnTo>
                    <a:pt x="104" y="1094"/>
                  </a:lnTo>
                  <a:lnTo>
                    <a:pt x="105" y="1101"/>
                  </a:lnTo>
                  <a:lnTo>
                    <a:pt x="105" y="1107"/>
                  </a:lnTo>
                  <a:lnTo>
                    <a:pt x="108" y="1114"/>
                  </a:lnTo>
                  <a:lnTo>
                    <a:pt x="109" y="1121"/>
                  </a:lnTo>
                  <a:lnTo>
                    <a:pt x="113" y="1127"/>
                  </a:lnTo>
                  <a:lnTo>
                    <a:pt x="116" y="1133"/>
                  </a:lnTo>
                  <a:lnTo>
                    <a:pt x="120" y="1139"/>
                  </a:lnTo>
                  <a:lnTo>
                    <a:pt x="124" y="1143"/>
                  </a:lnTo>
                  <a:lnTo>
                    <a:pt x="130" y="1148"/>
                  </a:lnTo>
                  <a:lnTo>
                    <a:pt x="135" y="1153"/>
                  </a:lnTo>
                  <a:lnTo>
                    <a:pt x="135" y="1152"/>
                  </a:lnTo>
                  <a:lnTo>
                    <a:pt x="135" y="1152"/>
                  </a:lnTo>
                  <a:lnTo>
                    <a:pt x="144" y="1157"/>
                  </a:lnTo>
                  <a:lnTo>
                    <a:pt x="154" y="1163"/>
                  </a:lnTo>
                  <a:lnTo>
                    <a:pt x="162" y="1168"/>
                  </a:lnTo>
                  <a:lnTo>
                    <a:pt x="171" y="1174"/>
                  </a:lnTo>
                  <a:lnTo>
                    <a:pt x="171" y="1174"/>
                  </a:lnTo>
                  <a:lnTo>
                    <a:pt x="175" y="1175"/>
                  </a:lnTo>
                  <a:lnTo>
                    <a:pt x="178" y="1177"/>
                  </a:lnTo>
                  <a:lnTo>
                    <a:pt x="188" y="1162"/>
                  </a:lnTo>
                  <a:lnTo>
                    <a:pt x="170" y="1155"/>
                  </a:lnTo>
                  <a:lnTo>
                    <a:pt x="160" y="1182"/>
                  </a:lnTo>
                  <a:lnTo>
                    <a:pt x="149" y="1208"/>
                  </a:lnTo>
                  <a:lnTo>
                    <a:pt x="140" y="1235"/>
                  </a:lnTo>
                  <a:lnTo>
                    <a:pt x="129" y="1262"/>
                  </a:lnTo>
                  <a:lnTo>
                    <a:pt x="147" y="1268"/>
                  </a:lnTo>
                  <a:lnTo>
                    <a:pt x="154" y="1250"/>
                  </a:lnTo>
                  <a:lnTo>
                    <a:pt x="143" y="1247"/>
                  </a:lnTo>
                  <a:lnTo>
                    <a:pt x="133" y="1241"/>
                  </a:lnTo>
                  <a:lnTo>
                    <a:pt x="133" y="1241"/>
                  </a:lnTo>
                  <a:lnTo>
                    <a:pt x="133" y="1241"/>
                  </a:lnTo>
                  <a:lnTo>
                    <a:pt x="124" y="1239"/>
                  </a:lnTo>
                  <a:lnTo>
                    <a:pt x="117" y="1236"/>
                  </a:lnTo>
                  <a:lnTo>
                    <a:pt x="110" y="1235"/>
                  </a:lnTo>
                  <a:lnTo>
                    <a:pt x="102" y="1234"/>
                  </a:lnTo>
                  <a:lnTo>
                    <a:pt x="98" y="1235"/>
                  </a:lnTo>
                  <a:lnTo>
                    <a:pt x="94" y="1235"/>
                  </a:lnTo>
                  <a:lnTo>
                    <a:pt x="96" y="1254"/>
                  </a:lnTo>
                  <a:lnTo>
                    <a:pt x="94" y="1235"/>
                  </a:lnTo>
                  <a:lnTo>
                    <a:pt x="82" y="1237"/>
                  </a:lnTo>
                  <a:lnTo>
                    <a:pt x="71" y="1242"/>
                  </a:lnTo>
                  <a:lnTo>
                    <a:pt x="62" y="1248"/>
                  </a:lnTo>
                  <a:lnTo>
                    <a:pt x="54" y="1255"/>
                  </a:lnTo>
                  <a:lnTo>
                    <a:pt x="45" y="1265"/>
                  </a:lnTo>
                  <a:lnTo>
                    <a:pt x="40" y="1274"/>
                  </a:lnTo>
                  <a:lnTo>
                    <a:pt x="36" y="1285"/>
                  </a:lnTo>
                  <a:lnTo>
                    <a:pt x="32" y="1296"/>
                  </a:lnTo>
                  <a:lnTo>
                    <a:pt x="32" y="1296"/>
                  </a:lnTo>
                  <a:lnTo>
                    <a:pt x="32" y="1302"/>
                  </a:lnTo>
                  <a:lnTo>
                    <a:pt x="32" y="1308"/>
                  </a:lnTo>
                  <a:lnTo>
                    <a:pt x="32" y="1318"/>
                  </a:lnTo>
                  <a:lnTo>
                    <a:pt x="35" y="1328"/>
                  </a:lnTo>
                  <a:lnTo>
                    <a:pt x="38" y="1338"/>
                  </a:lnTo>
                  <a:lnTo>
                    <a:pt x="43" y="1346"/>
                  </a:lnTo>
                  <a:lnTo>
                    <a:pt x="49" y="1354"/>
                  </a:lnTo>
                  <a:lnTo>
                    <a:pt x="56" y="1361"/>
                  </a:lnTo>
                  <a:lnTo>
                    <a:pt x="64" y="1367"/>
                  </a:lnTo>
                  <a:lnTo>
                    <a:pt x="74" y="1372"/>
                  </a:lnTo>
                  <a:lnTo>
                    <a:pt x="74" y="1372"/>
                  </a:lnTo>
                  <a:lnTo>
                    <a:pt x="83" y="1376"/>
                  </a:lnTo>
                  <a:lnTo>
                    <a:pt x="93" y="1380"/>
                  </a:lnTo>
                  <a:lnTo>
                    <a:pt x="102" y="1383"/>
                  </a:lnTo>
                  <a:lnTo>
                    <a:pt x="110" y="1387"/>
                  </a:lnTo>
                  <a:lnTo>
                    <a:pt x="117" y="1371"/>
                  </a:lnTo>
                  <a:lnTo>
                    <a:pt x="100" y="1366"/>
                  </a:lnTo>
                  <a:lnTo>
                    <a:pt x="94" y="1391"/>
                  </a:lnTo>
                  <a:lnTo>
                    <a:pt x="89" y="1415"/>
                  </a:lnTo>
                  <a:lnTo>
                    <a:pt x="85" y="1439"/>
                  </a:lnTo>
                  <a:lnTo>
                    <a:pt x="83" y="1462"/>
                  </a:lnTo>
                  <a:lnTo>
                    <a:pt x="102" y="1464"/>
                  </a:lnTo>
                  <a:lnTo>
                    <a:pt x="102" y="1445"/>
                  </a:lnTo>
                  <a:lnTo>
                    <a:pt x="90" y="1445"/>
                  </a:lnTo>
                  <a:lnTo>
                    <a:pt x="78" y="1443"/>
                  </a:lnTo>
                  <a:lnTo>
                    <a:pt x="77" y="1462"/>
                  </a:lnTo>
                  <a:lnTo>
                    <a:pt x="78" y="1443"/>
                  </a:lnTo>
                  <a:lnTo>
                    <a:pt x="75" y="1443"/>
                  </a:lnTo>
                  <a:lnTo>
                    <a:pt x="73" y="1443"/>
                  </a:lnTo>
                  <a:lnTo>
                    <a:pt x="64" y="1443"/>
                  </a:lnTo>
                  <a:lnTo>
                    <a:pt x="57" y="1445"/>
                  </a:lnTo>
                  <a:lnTo>
                    <a:pt x="50" y="1447"/>
                  </a:lnTo>
                  <a:lnTo>
                    <a:pt x="43" y="1449"/>
                  </a:lnTo>
                  <a:lnTo>
                    <a:pt x="36" y="1453"/>
                  </a:lnTo>
                  <a:lnTo>
                    <a:pt x="30" y="1456"/>
                  </a:lnTo>
                  <a:lnTo>
                    <a:pt x="25" y="1460"/>
                  </a:lnTo>
                  <a:lnTo>
                    <a:pt x="20" y="1466"/>
                  </a:lnTo>
                  <a:lnTo>
                    <a:pt x="15" y="1471"/>
                  </a:lnTo>
                  <a:lnTo>
                    <a:pt x="11" y="1476"/>
                  </a:lnTo>
                  <a:lnTo>
                    <a:pt x="8" y="1482"/>
                  </a:lnTo>
                  <a:lnTo>
                    <a:pt x="5" y="1489"/>
                  </a:lnTo>
                  <a:lnTo>
                    <a:pt x="3" y="1495"/>
                  </a:lnTo>
                  <a:lnTo>
                    <a:pt x="1" y="1502"/>
                  </a:lnTo>
                  <a:lnTo>
                    <a:pt x="0" y="1511"/>
                  </a:lnTo>
                  <a:lnTo>
                    <a:pt x="0" y="1518"/>
                  </a:lnTo>
                  <a:lnTo>
                    <a:pt x="0" y="1520"/>
                  </a:lnTo>
                  <a:lnTo>
                    <a:pt x="18" y="1519"/>
                  </a:lnTo>
                  <a:lnTo>
                    <a:pt x="0" y="1520"/>
                  </a:lnTo>
                  <a:lnTo>
                    <a:pt x="1" y="1532"/>
                  </a:lnTo>
                  <a:lnTo>
                    <a:pt x="5" y="1545"/>
                  </a:lnTo>
                  <a:lnTo>
                    <a:pt x="10" y="1555"/>
                  </a:lnTo>
                  <a:lnTo>
                    <a:pt x="18" y="1565"/>
                  </a:lnTo>
                  <a:lnTo>
                    <a:pt x="28" y="1573"/>
                  </a:lnTo>
                  <a:lnTo>
                    <a:pt x="38" y="1579"/>
                  </a:lnTo>
                  <a:lnTo>
                    <a:pt x="50" y="1584"/>
                  </a:lnTo>
                  <a:lnTo>
                    <a:pt x="63" y="1586"/>
                  </a:lnTo>
                  <a:lnTo>
                    <a:pt x="63" y="1586"/>
                  </a:lnTo>
                  <a:lnTo>
                    <a:pt x="73" y="1587"/>
                  </a:lnTo>
                  <a:lnTo>
                    <a:pt x="81" y="1587"/>
                  </a:lnTo>
                  <a:lnTo>
                    <a:pt x="90" y="1588"/>
                  </a:lnTo>
                  <a:lnTo>
                    <a:pt x="100" y="1588"/>
                  </a:lnTo>
                  <a:lnTo>
                    <a:pt x="101" y="1571"/>
                  </a:lnTo>
                  <a:lnTo>
                    <a:pt x="82" y="1572"/>
                  </a:lnTo>
                  <a:lnTo>
                    <a:pt x="85" y="1600"/>
                  </a:lnTo>
                  <a:lnTo>
                    <a:pt x="89" y="1627"/>
                  </a:lnTo>
                  <a:lnTo>
                    <a:pt x="95" y="1654"/>
                  </a:lnTo>
                  <a:lnTo>
                    <a:pt x="102" y="1681"/>
                  </a:lnTo>
                  <a:lnTo>
                    <a:pt x="110" y="1707"/>
                  </a:lnTo>
                  <a:lnTo>
                    <a:pt x="120" y="1733"/>
                  </a:lnTo>
                  <a:lnTo>
                    <a:pt x="131" y="1758"/>
                  </a:lnTo>
                  <a:lnTo>
                    <a:pt x="143" y="1784"/>
                  </a:lnTo>
                  <a:lnTo>
                    <a:pt x="160" y="1774"/>
                  </a:lnTo>
                  <a:lnTo>
                    <a:pt x="148" y="1760"/>
                  </a:lnTo>
                  <a:lnTo>
                    <a:pt x="138" y="1768"/>
                  </a:lnTo>
                  <a:lnTo>
                    <a:pt x="129" y="1774"/>
                  </a:lnTo>
                  <a:lnTo>
                    <a:pt x="129" y="1775"/>
                  </a:lnTo>
                  <a:lnTo>
                    <a:pt x="122" y="1780"/>
                  </a:lnTo>
                  <a:lnTo>
                    <a:pt x="117" y="1786"/>
                  </a:lnTo>
                  <a:lnTo>
                    <a:pt x="111" y="1793"/>
                  </a:lnTo>
                  <a:lnTo>
                    <a:pt x="108" y="1800"/>
                  </a:lnTo>
                  <a:lnTo>
                    <a:pt x="104" y="1807"/>
                  </a:lnTo>
                  <a:lnTo>
                    <a:pt x="102" y="1814"/>
                  </a:lnTo>
                  <a:lnTo>
                    <a:pt x="101" y="1823"/>
                  </a:lnTo>
                  <a:lnTo>
                    <a:pt x="101" y="1831"/>
                  </a:lnTo>
                  <a:lnTo>
                    <a:pt x="101" y="1838"/>
                  </a:lnTo>
                  <a:lnTo>
                    <a:pt x="102" y="1844"/>
                  </a:lnTo>
                  <a:lnTo>
                    <a:pt x="103" y="1851"/>
                  </a:lnTo>
                  <a:lnTo>
                    <a:pt x="105" y="1857"/>
                  </a:lnTo>
                  <a:lnTo>
                    <a:pt x="105" y="1857"/>
                  </a:lnTo>
                  <a:lnTo>
                    <a:pt x="110" y="1867"/>
                  </a:lnTo>
                  <a:lnTo>
                    <a:pt x="117" y="1877"/>
                  </a:lnTo>
                  <a:lnTo>
                    <a:pt x="124" y="1884"/>
                  </a:lnTo>
                  <a:lnTo>
                    <a:pt x="133" y="1891"/>
                  </a:lnTo>
                  <a:lnTo>
                    <a:pt x="142" y="1897"/>
                  </a:lnTo>
                  <a:lnTo>
                    <a:pt x="151" y="1900"/>
                  </a:lnTo>
                  <a:lnTo>
                    <a:pt x="162" y="1903"/>
                  </a:lnTo>
                  <a:lnTo>
                    <a:pt x="173" y="1904"/>
                  </a:lnTo>
                  <a:lnTo>
                    <a:pt x="177" y="1904"/>
                  </a:lnTo>
                  <a:lnTo>
                    <a:pt x="181" y="1904"/>
                  </a:lnTo>
                  <a:lnTo>
                    <a:pt x="181" y="1904"/>
                  </a:lnTo>
                  <a:lnTo>
                    <a:pt x="181" y="1904"/>
                  </a:lnTo>
                  <a:lnTo>
                    <a:pt x="190" y="1901"/>
                  </a:lnTo>
                  <a:lnTo>
                    <a:pt x="198" y="1899"/>
                  </a:lnTo>
                  <a:lnTo>
                    <a:pt x="207" y="1894"/>
                  </a:lnTo>
                  <a:lnTo>
                    <a:pt x="215" y="1890"/>
                  </a:lnTo>
                  <a:lnTo>
                    <a:pt x="215" y="1890"/>
                  </a:lnTo>
                  <a:lnTo>
                    <a:pt x="215" y="1890"/>
                  </a:lnTo>
                  <a:lnTo>
                    <a:pt x="223" y="1884"/>
                  </a:lnTo>
                  <a:lnTo>
                    <a:pt x="229" y="1878"/>
                  </a:lnTo>
                  <a:lnTo>
                    <a:pt x="218" y="1864"/>
                  </a:lnTo>
                  <a:lnTo>
                    <a:pt x="204" y="1876"/>
                  </a:lnTo>
                  <a:lnTo>
                    <a:pt x="221" y="1894"/>
                  </a:lnTo>
                  <a:lnTo>
                    <a:pt x="237" y="1914"/>
                  </a:lnTo>
                  <a:lnTo>
                    <a:pt x="256" y="1932"/>
                  </a:lnTo>
                  <a:lnTo>
                    <a:pt x="275" y="1951"/>
                  </a:lnTo>
                  <a:lnTo>
                    <a:pt x="288" y="1937"/>
                  </a:lnTo>
                  <a:lnTo>
                    <a:pt x="271" y="1927"/>
                  </a:lnTo>
                  <a:lnTo>
                    <a:pt x="267" y="1936"/>
                  </a:lnTo>
                  <a:lnTo>
                    <a:pt x="261" y="1944"/>
                  </a:lnTo>
                  <a:lnTo>
                    <a:pt x="256" y="1951"/>
                  </a:lnTo>
                  <a:lnTo>
                    <a:pt x="250" y="1957"/>
                  </a:lnTo>
                  <a:lnTo>
                    <a:pt x="250" y="1957"/>
                  </a:lnTo>
                  <a:lnTo>
                    <a:pt x="246" y="1961"/>
                  </a:lnTo>
                  <a:lnTo>
                    <a:pt x="241" y="1967"/>
                  </a:lnTo>
                  <a:lnTo>
                    <a:pt x="237" y="1973"/>
                  </a:lnTo>
                  <a:lnTo>
                    <a:pt x="235" y="1979"/>
                  </a:lnTo>
                  <a:lnTo>
                    <a:pt x="233" y="1985"/>
                  </a:lnTo>
                  <a:lnTo>
                    <a:pt x="231" y="1991"/>
                  </a:lnTo>
                  <a:lnTo>
                    <a:pt x="230" y="1998"/>
                  </a:lnTo>
                  <a:lnTo>
                    <a:pt x="229" y="2004"/>
                  </a:lnTo>
                  <a:lnTo>
                    <a:pt x="230" y="2011"/>
                  </a:lnTo>
                  <a:lnTo>
                    <a:pt x="231" y="2018"/>
                  </a:lnTo>
                  <a:lnTo>
                    <a:pt x="234" y="2025"/>
                  </a:lnTo>
                  <a:lnTo>
                    <a:pt x="236" y="2032"/>
                  </a:lnTo>
                  <a:lnTo>
                    <a:pt x="253" y="2024"/>
                  </a:lnTo>
                  <a:lnTo>
                    <a:pt x="236" y="2032"/>
                  </a:lnTo>
                  <a:lnTo>
                    <a:pt x="242" y="2041"/>
                  </a:lnTo>
                  <a:lnTo>
                    <a:pt x="248" y="2050"/>
                  </a:lnTo>
                  <a:lnTo>
                    <a:pt x="256" y="2057"/>
                  </a:lnTo>
                  <a:lnTo>
                    <a:pt x="264" y="2063"/>
                  </a:lnTo>
                  <a:lnTo>
                    <a:pt x="274" y="2067"/>
                  </a:lnTo>
                  <a:lnTo>
                    <a:pt x="283" y="2071"/>
                  </a:lnTo>
                  <a:lnTo>
                    <a:pt x="294" y="2073"/>
                  </a:lnTo>
                  <a:lnTo>
                    <a:pt x="304" y="2074"/>
                  </a:lnTo>
                  <a:lnTo>
                    <a:pt x="309" y="2074"/>
                  </a:lnTo>
                  <a:lnTo>
                    <a:pt x="313" y="2073"/>
                  </a:lnTo>
                  <a:lnTo>
                    <a:pt x="313" y="2073"/>
                  </a:lnTo>
                  <a:lnTo>
                    <a:pt x="326" y="2071"/>
                  </a:lnTo>
                  <a:lnTo>
                    <a:pt x="336" y="2066"/>
                  </a:lnTo>
                  <a:lnTo>
                    <a:pt x="347" y="2060"/>
                  </a:lnTo>
                  <a:lnTo>
                    <a:pt x="356" y="2052"/>
                  </a:lnTo>
                  <a:lnTo>
                    <a:pt x="356" y="2053"/>
                  </a:lnTo>
                  <a:lnTo>
                    <a:pt x="356" y="2052"/>
                  </a:lnTo>
                  <a:lnTo>
                    <a:pt x="364" y="2044"/>
                  </a:lnTo>
                  <a:lnTo>
                    <a:pt x="373" y="2034"/>
                  </a:lnTo>
                  <a:lnTo>
                    <a:pt x="380" y="2024"/>
                  </a:lnTo>
                  <a:lnTo>
                    <a:pt x="388" y="2013"/>
                  </a:lnTo>
                  <a:lnTo>
                    <a:pt x="372" y="2004"/>
                  </a:lnTo>
                  <a:lnTo>
                    <a:pt x="361" y="2019"/>
                  </a:lnTo>
                  <a:lnTo>
                    <a:pt x="389" y="2037"/>
                  </a:lnTo>
                  <a:lnTo>
                    <a:pt x="417" y="2054"/>
                  </a:lnTo>
                  <a:lnTo>
                    <a:pt x="447" y="2071"/>
                  </a:lnTo>
                  <a:lnTo>
                    <a:pt x="477" y="2087"/>
                  </a:lnTo>
                  <a:lnTo>
                    <a:pt x="486" y="2071"/>
                  </a:lnTo>
                  <a:lnTo>
                    <a:pt x="468" y="2073"/>
                  </a:lnTo>
                  <a:lnTo>
                    <a:pt x="469" y="2085"/>
                  </a:lnTo>
                  <a:lnTo>
                    <a:pt x="469" y="2098"/>
                  </a:lnTo>
                  <a:lnTo>
                    <a:pt x="469" y="2111"/>
                  </a:lnTo>
                  <a:lnTo>
                    <a:pt x="467" y="2124"/>
                  </a:lnTo>
                  <a:lnTo>
                    <a:pt x="462" y="2134"/>
                  </a:lnTo>
                  <a:lnTo>
                    <a:pt x="456" y="2145"/>
                  </a:lnTo>
                  <a:lnTo>
                    <a:pt x="456" y="2145"/>
                  </a:lnTo>
                  <a:lnTo>
                    <a:pt x="450" y="2156"/>
                  </a:lnTo>
                  <a:lnTo>
                    <a:pt x="446" y="2165"/>
                  </a:lnTo>
                  <a:lnTo>
                    <a:pt x="443" y="2177"/>
                  </a:lnTo>
                  <a:lnTo>
                    <a:pt x="442" y="2187"/>
                  </a:lnTo>
                  <a:lnTo>
                    <a:pt x="443" y="2197"/>
                  </a:lnTo>
                  <a:lnTo>
                    <a:pt x="446" y="2206"/>
                  </a:lnTo>
                  <a:lnTo>
                    <a:pt x="448" y="2215"/>
                  </a:lnTo>
                  <a:lnTo>
                    <a:pt x="453" y="2224"/>
                  </a:lnTo>
                  <a:lnTo>
                    <a:pt x="459" y="2232"/>
                  </a:lnTo>
                  <a:lnTo>
                    <a:pt x="465" y="2239"/>
                  </a:lnTo>
                  <a:lnTo>
                    <a:pt x="472" y="2245"/>
                  </a:lnTo>
                  <a:lnTo>
                    <a:pt x="480" y="2251"/>
                  </a:lnTo>
                  <a:lnTo>
                    <a:pt x="488" y="2255"/>
                  </a:lnTo>
                  <a:lnTo>
                    <a:pt x="497" y="2258"/>
                  </a:lnTo>
                  <a:lnTo>
                    <a:pt x="506" y="2259"/>
                  </a:lnTo>
                  <a:lnTo>
                    <a:pt x="515" y="2260"/>
                  </a:lnTo>
                  <a:lnTo>
                    <a:pt x="520" y="2260"/>
                  </a:lnTo>
                  <a:lnTo>
                    <a:pt x="523" y="2260"/>
                  </a:lnTo>
                  <a:lnTo>
                    <a:pt x="530" y="2259"/>
                  </a:lnTo>
                  <a:lnTo>
                    <a:pt x="538" y="2257"/>
                  </a:lnTo>
                  <a:lnTo>
                    <a:pt x="545" y="2255"/>
                  </a:lnTo>
                  <a:lnTo>
                    <a:pt x="550" y="2251"/>
                  </a:lnTo>
                  <a:lnTo>
                    <a:pt x="556" y="2246"/>
                  </a:lnTo>
                  <a:lnTo>
                    <a:pt x="562" y="2242"/>
                  </a:lnTo>
                  <a:lnTo>
                    <a:pt x="567" y="2237"/>
                  </a:lnTo>
                  <a:lnTo>
                    <a:pt x="572" y="2231"/>
                  </a:lnTo>
                  <a:lnTo>
                    <a:pt x="572" y="2231"/>
                  </a:lnTo>
                  <a:lnTo>
                    <a:pt x="579" y="2220"/>
                  </a:lnTo>
                  <a:lnTo>
                    <a:pt x="586" y="2210"/>
                  </a:lnTo>
                  <a:lnTo>
                    <a:pt x="592" y="2199"/>
                  </a:lnTo>
                  <a:lnTo>
                    <a:pt x="596" y="2187"/>
                  </a:lnTo>
                  <a:lnTo>
                    <a:pt x="601" y="2176"/>
                  </a:lnTo>
                  <a:lnTo>
                    <a:pt x="605" y="2163"/>
                  </a:lnTo>
                  <a:lnTo>
                    <a:pt x="608" y="2150"/>
                  </a:lnTo>
                  <a:lnTo>
                    <a:pt x="611" y="2136"/>
                  </a:lnTo>
                  <a:lnTo>
                    <a:pt x="592" y="2133"/>
                  </a:lnTo>
                  <a:lnTo>
                    <a:pt x="585" y="2151"/>
                  </a:lnTo>
                  <a:lnTo>
                    <a:pt x="614" y="2164"/>
                  </a:lnTo>
                  <a:lnTo>
                    <a:pt x="641" y="2179"/>
                  </a:lnTo>
                  <a:lnTo>
                    <a:pt x="666" y="2192"/>
                  </a:lnTo>
                  <a:lnTo>
                    <a:pt x="687" y="2205"/>
                  </a:lnTo>
                  <a:lnTo>
                    <a:pt x="704" y="2217"/>
                  </a:lnTo>
                  <a:lnTo>
                    <a:pt x="716" y="2225"/>
                  </a:lnTo>
                  <a:lnTo>
                    <a:pt x="721" y="2229"/>
                  </a:lnTo>
                  <a:lnTo>
                    <a:pt x="724" y="2231"/>
                  </a:lnTo>
                  <a:lnTo>
                    <a:pt x="726" y="2233"/>
                  </a:lnTo>
                  <a:lnTo>
                    <a:pt x="727" y="2233"/>
                  </a:lnTo>
                  <a:lnTo>
                    <a:pt x="732" y="2237"/>
                  </a:lnTo>
                  <a:lnTo>
                    <a:pt x="738" y="2237"/>
                  </a:lnTo>
                  <a:lnTo>
                    <a:pt x="740" y="2237"/>
                  </a:lnTo>
                  <a:lnTo>
                    <a:pt x="744" y="2237"/>
                  </a:lnTo>
                  <a:lnTo>
                    <a:pt x="747" y="2237"/>
                  </a:lnTo>
                  <a:lnTo>
                    <a:pt x="747" y="2219"/>
                  </a:lnTo>
                  <a:lnTo>
                    <a:pt x="736" y="2233"/>
                  </a:lnTo>
                  <a:lnTo>
                    <a:pt x="741" y="2236"/>
                  </a:lnTo>
                  <a:lnTo>
                    <a:pt x="747" y="2237"/>
                  </a:lnTo>
                  <a:lnTo>
                    <a:pt x="747" y="2219"/>
                  </a:lnTo>
                  <a:lnTo>
                    <a:pt x="736" y="2233"/>
                  </a:lnTo>
                  <a:lnTo>
                    <a:pt x="746" y="2222"/>
                  </a:lnTo>
                  <a:lnTo>
                    <a:pt x="732" y="2229"/>
                  </a:lnTo>
                  <a:lnTo>
                    <a:pt x="733" y="2230"/>
                  </a:lnTo>
                  <a:lnTo>
                    <a:pt x="736" y="2233"/>
                  </a:lnTo>
                  <a:lnTo>
                    <a:pt x="746" y="2222"/>
                  </a:lnTo>
                  <a:lnTo>
                    <a:pt x="732" y="2229"/>
                  </a:lnTo>
                  <a:lnTo>
                    <a:pt x="738" y="2226"/>
                  </a:lnTo>
                  <a:lnTo>
                    <a:pt x="732" y="2227"/>
                  </a:lnTo>
                  <a:lnTo>
                    <a:pt x="732" y="2229"/>
                  </a:lnTo>
                  <a:lnTo>
                    <a:pt x="738" y="2226"/>
                  </a:lnTo>
                  <a:lnTo>
                    <a:pt x="732" y="2227"/>
                  </a:lnTo>
                  <a:lnTo>
                    <a:pt x="733" y="2231"/>
                  </a:lnTo>
                  <a:lnTo>
                    <a:pt x="734" y="2238"/>
                  </a:lnTo>
                  <a:lnTo>
                    <a:pt x="735" y="2246"/>
                  </a:lnTo>
                  <a:lnTo>
                    <a:pt x="736" y="2255"/>
                  </a:lnTo>
                  <a:lnTo>
                    <a:pt x="736" y="2255"/>
                  </a:lnTo>
                  <a:lnTo>
                    <a:pt x="738" y="2263"/>
                  </a:lnTo>
                  <a:lnTo>
                    <a:pt x="741" y="2271"/>
                  </a:lnTo>
                  <a:lnTo>
                    <a:pt x="745" y="2278"/>
                  </a:lnTo>
                  <a:lnTo>
                    <a:pt x="749" y="2284"/>
                  </a:lnTo>
                  <a:lnTo>
                    <a:pt x="754" y="2290"/>
                  </a:lnTo>
                  <a:lnTo>
                    <a:pt x="760" y="2295"/>
                  </a:lnTo>
                  <a:lnTo>
                    <a:pt x="766" y="2298"/>
                  </a:lnTo>
                  <a:lnTo>
                    <a:pt x="772" y="2302"/>
                  </a:lnTo>
                  <a:lnTo>
                    <a:pt x="780" y="2286"/>
                  </a:lnTo>
                  <a:lnTo>
                    <a:pt x="765" y="2296"/>
                  </a:lnTo>
                  <a:lnTo>
                    <a:pt x="767" y="2300"/>
                  </a:lnTo>
                  <a:lnTo>
                    <a:pt x="771" y="2304"/>
                  </a:lnTo>
                  <a:lnTo>
                    <a:pt x="775" y="2306"/>
                  </a:lnTo>
                  <a:lnTo>
                    <a:pt x="779" y="2309"/>
                  </a:lnTo>
                  <a:lnTo>
                    <a:pt x="788" y="2312"/>
                  </a:lnTo>
                  <a:lnTo>
                    <a:pt x="797" y="2312"/>
                  </a:lnTo>
                  <a:lnTo>
                    <a:pt x="809" y="2311"/>
                  </a:lnTo>
                  <a:lnTo>
                    <a:pt x="820" y="2308"/>
                  </a:lnTo>
                  <a:lnTo>
                    <a:pt x="825" y="2306"/>
                  </a:lnTo>
                  <a:lnTo>
                    <a:pt x="828" y="2302"/>
                  </a:lnTo>
                  <a:lnTo>
                    <a:pt x="814" y="2290"/>
                  </a:lnTo>
                  <a:lnTo>
                    <a:pt x="817" y="2308"/>
                  </a:lnTo>
                  <a:lnTo>
                    <a:pt x="824" y="2306"/>
                  </a:lnTo>
                  <a:lnTo>
                    <a:pt x="831" y="2304"/>
                  </a:lnTo>
                  <a:lnTo>
                    <a:pt x="838" y="2302"/>
                  </a:lnTo>
                  <a:lnTo>
                    <a:pt x="844" y="2298"/>
                  </a:lnTo>
                  <a:lnTo>
                    <a:pt x="849" y="2295"/>
                  </a:lnTo>
                  <a:lnTo>
                    <a:pt x="855" y="2290"/>
                  </a:lnTo>
                  <a:lnTo>
                    <a:pt x="860" y="2285"/>
                  </a:lnTo>
                  <a:lnTo>
                    <a:pt x="865" y="2279"/>
                  </a:lnTo>
                  <a:lnTo>
                    <a:pt x="851" y="2269"/>
                  </a:lnTo>
                  <a:lnTo>
                    <a:pt x="865" y="2280"/>
                  </a:lnTo>
                  <a:lnTo>
                    <a:pt x="871" y="2271"/>
                  </a:lnTo>
                  <a:lnTo>
                    <a:pt x="875" y="2260"/>
                  </a:lnTo>
                  <a:lnTo>
                    <a:pt x="879" y="2249"/>
                  </a:lnTo>
                  <a:lnTo>
                    <a:pt x="879" y="2238"/>
                  </a:lnTo>
                  <a:lnTo>
                    <a:pt x="879" y="2232"/>
                  </a:lnTo>
                  <a:lnTo>
                    <a:pt x="879" y="2227"/>
                  </a:lnTo>
                  <a:lnTo>
                    <a:pt x="877" y="2210"/>
                  </a:lnTo>
                  <a:lnTo>
                    <a:pt x="873" y="2192"/>
                  </a:lnTo>
                  <a:lnTo>
                    <a:pt x="870" y="2175"/>
                  </a:lnTo>
                  <a:lnTo>
                    <a:pt x="865" y="2157"/>
                  </a:lnTo>
                  <a:lnTo>
                    <a:pt x="847" y="2162"/>
                  </a:lnTo>
                  <a:lnTo>
                    <a:pt x="847" y="2180"/>
                  </a:lnTo>
                  <a:lnTo>
                    <a:pt x="884" y="2179"/>
                  </a:lnTo>
                  <a:lnTo>
                    <a:pt x="920" y="2178"/>
                  </a:lnTo>
                  <a:lnTo>
                    <a:pt x="957" y="2177"/>
                  </a:lnTo>
                  <a:lnTo>
                    <a:pt x="994" y="2176"/>
                  </a:lnTo>
                  <a:lnTo>
                    <a:pt x="993" y="2157"/>
                  </a:lnTo>
                  <a:lnTo>
                    <a:pt x="977" y="2164"/>
                  </a:lnTo>
                  <a:lnTo>
                    <a:pt x="983" y="2179"/>
                  </a:lnTo>
                  <a:lnTo>
                    <a:pt x="991" y="2193"/>
                  </a:lnTo>
                  <a:lnTo>
                    <a:pt x="999" y="2207"/>
                  </a:lnTo>
                  <a:lnTo>
                    <a:pt x="1008" y="2220"/>
                  </a:lnTo>
                  <a:lnTo>
                    <a:pt x="1018" y="2233"/>
                  </a:lnTo>
                  <a:lnTo>
                    <a:pt x="1028" y="2245"/>
                  </a:lnTo>
                  <a:lnTo>
                    <a:pt x="1040" y="2257"/>
                  </a:lnTo>
                  <a:lnTo>
                    <a:pt x="1053" y="2268"/>
                  </a:lnTo>
                  <a:lnTo>
                    <a:pt x="1053" y="2268"/>
                  </a:lnTo>
                  <a:lnTo>
                    <a:pt x="1063" y="2275"/>
                  </a:lnTo>
                  <a:lnTo>
                    <a:pt x="1073" y="2279"/>
                  </a:lnTo>
                  <a:lnTo>
                    <a:pt x="1085" y="2283"/>
                  </a:lnTo>
                  <a:lnTo>
                    <a:pt x="1097" y="2284"/>
                  </a:lnTo>
                  <a:lnTo>
                    <a:pt x="1101" y="2284"/>
                  </a:lnTo>
                  <a:lnTo>
                    <a:pt x="1105" y="2283"/>
                  </a:lnTo>
                  <a:lnTo>
                    <a:pt x="1105" y="2283"/>
                  </a:lnTo>
                  <a:lnTo>
                    <a:pt x="1116" y="2280"/>
                  </a:lnTo>
                  <a:lnTo>
                    <a:pt x="1126" y="2277"/>
                  </a:lnTo>
                  <a:lnTo>
                    <a:pt x="1134" y="2272"/>
                  </a:lnTo>
                  <a:lnTo>
                    <a:pt x="1144" y="2266"/>
                  </a:lnTo>
                  <a:lnTo>
                    <a:pt x="1151" y="2258"/>
                  </a:lnTo>
                  <a:lnTo>
                    <a:pt x="1157" y="2250"/>
                  </a:lnTo>
                  <a:lnTo>
                    <a:pt x="1163" y="2240"/>
                  </a:lnTo>
                  <a:lnTo>
                    <a:pt x="1166" y="2230"/>
                  </a:lnTo>
                  <a:lnTo>
                    <a:pt x="1169" y="2220"/>
                  </a:lnTo>
                  <a:lnTo>
                    <a:pt x="1169" y="2210"/>
                  </a:lnTo>
                  <a:lnTo>
                    <a:pt x="1169" y="2203"/>
                  </a:lnTo>
                  <a:lnTo>
                    <a:pt x="1167" y="2195"/>
                  </a:lnTo>
                  <a:lnTo>
                    <a:pt x="1165" y="2187"/>
                  </a:lnTo>
                  <a:lnTo>
                    <a:pt x="1161" y="2180"/>
                  </a:lnTo>
                  <a:lnTo>
                    <a:pt x="1158" y="2173"/>
                  </a:lnTo>
                  <a:lnTo>
                    <a:pt x="1153" y="2167"/>
                  </a:lnTo>
                  <a:lnTo>
                    <a:pt x="1149" y="2162"/>
                  </a:lnTo>
                  <a:lnTo>
                    <a:pt x="1143" y="2156"/>
                  </a:lnTo>
                  <a:lnTo>
                    <a:pt x="1143" y="2156"/>
                  </a:lnTo>
                  <a:lnTo>
                    <a:pt x="1134" y="2147"/>
                  </a:lnTo>
                  <a:lnTo>
                    <a:pt x="1126" y="2138"/>
                  </a:lnTo>
                  <a:lnTo>
                    <a:pt x="1111" y="2150"/>
                  </a:lnTo>
                  <a:lnTo>
                    <a:pt x="1112" y="2167"/>
                  </a:lnTo>
                  <a:lnTo>
                    <a:pt x="1136" y="2166"/>
                  </a:lnTo>
                  <a:lnTo>
                    <a:pt x="1159" y="2164"/>
                  </a:lnTo>
                  <a:lnTo>
                    <a:pt x="1183" y="2163"/>
                  </a:lnTo>
                  <a:lnTo>
                    <a:pt x="1206" y="2160"/>
                  </a:lnTo>
                  <a:lnTo>
                    <a:pt x="1204" y="2142"/>
                  </a:lnTo>
                  <a:lnTo>
                    <a:pt x="1186" y="2145"/>
                  </a:lnTo>
                  <a:lnTo>
                    <a:pt x="1189" y="2157"/>
                  </a:lnTo>
                  <a:lnTo>
                    <a:pt x="1191" y="2169"/>
                  </a:lnTo>
                  <a:lnTo>
                    <a:pt x="1194" y="2179"/>
                  </a:lnTo>
                  <a:lnTo>
                    <a:pt x="1198" y="2190"/>
                  </a:lnTo>
                  <a:lnTo>
                    <a:pt x="1216" y="2183"/>
                  </a:lnTo>
                  <a:lnTo>
                    <a:pt x="1198" y="2189"/>
                  </a:lnTo>
                  <a:lnTo>
                    <a:pt x="1203" y="2199"/>
                  </a:lnTo>
                  <a:lnTo>
                    <a:pt x="1207" y="2207"/>
                  </a:lnTo>
                  <a:lnTo>
                    <a:pt x="1214" y="2216"/>
                  </a:lnTo>
                  <a:lnTo>
                    <a:pt x="1223" y="2223"/>
                  </a:lnTo>
                  <a:lnTo>
                    <a:pt x="1231" y="2227"/>
                  </a:lnTo>
                  <a:lnTo>
                    <a:pt x="1240" y="2232"/>
                  </a:lnTo>
                  <a:lnTo>
                    <a:pt x="1251" y="2235"/>
                  </a:lnTo>
                  <a:lnTo>
                    <a:pt x="1262" y="2235"/>
                  </a:lnTo>
                  <a:lnTo>
                    <a:pt x="1266" y="2235"/>
                  </a:lnTo>
                  <a:lnTo>
                    <a:pt x="1270" y="2235"/>
                  </a:lnTo>
                  <a:lnTo>
                    <a:pt x="1270" y="2235"/>
                  </a:lnTo>
                  <a:lnTo>
                    <a:pt x="1278" y="2232"/>
                  </a:lnTo>
                  <a:lnTo>
                    <a:pt x="1286" y="2230"/>
                  </a:lnTo>
                  <a:lnTo>
                    <a:pt x="1294" y="2227"/>
                  </a:lnTo>
                  <a:lnTo>
                    <a:pt x="1302" y="2223"/>
                  </a:lnTo>
                  <a:lnTo>
                    <a:pt x="1309" y="2218"/>
                  </a:lnTo>
                  <a:lnTo>
                    <a:pt x="1315" y="2212"/>
                  </a:lnTo>
                  <a:lnTo>
                    <a:pt x="1320" y="2206"/>
                  </a:lnTo>
                  <a:lnTo>
                    <a:pt x="1325" y="2199"/>
                  </a:lnTo>
                  <a:lnTo>
                    <a:pt x="1330" y="2190"/>
                  </a:lnTo>
                  <a:lnTo>
                    <a:pt x="1333" y="2182"/>
                  </a:lnTo>
                  <a:lnTo>
                    <a:pt x="1336" y="2172"/>
                  </a:lnTo>
                  <a:lnTo>
                    <a:pt x="1336" y="2162"/>
                  </a:lnTo>
                  <a:lnTo>
                    <a:pt x="1335" y="2150"/>
                  </a:lnTo>
                  <a:lnTo>
                    <a:pt x="1331" y="2137"/>
                  </a:lnTo>
                  <a:lnTo>
                    <a:pt x="1313" y="2143"/>
                  </a:lnTo>
                  <a:lnTo>
                    <a:pt x="1331" y="2137"/>
                  </a:lnTo>
                  <a:lnTo>
                    <a:pt x="1330" y="2131"/>
                  </a:lnTo>
                  <a:lnTo>
                    <a:pt x="1327" y="2126"/>
                  </a:lnTo>
                  <a:lnTo>
                    <a:pt x="1310" y="2131"/>
                  </a:lnTo>
                  <a:lnTo>
                    <a:pt x="1312" y="2149"/>
                  </a:lnTo>
                  <a:lnTo>
                    <a:pt x="1352" y="2144"/>
                  </a:lnTo>
                  <a:lnTo>
                    <a:pt x="1391" y="2139"/>
                  </a:lnTo>
                  <a:lnTo>
                    <a:pt x="1431" y="2133"/>
                  </a:lnTo>
                  <a:lnTo>
                    <a:pt x="1470" y="2127"/>
                  </a:lnTo>
                  <a:lnTo>
                    <a:pt x="1468" y="2110"/>
                  </a:lnTo>
                  <a:lnTo>
                    <a:pt x="1451" y="2118"/>
                  </a:lnTo>
                  <a:lnTo>
                    <a:pt x="1458" y="2134"/>
                  </a:lnTo>
                  <a:lnTo>
                    <a:pt x="1465" y="2151"/>
                  </a:lnTo>
                  <a:lnTo>
                    <a:pt x="1470" y="2169"/>
                  </a:lnTo>
                  <a:lnTo>
                    <a:pt x="1473" y="2187"/>
                  </a:lnTo>
                  <a:lnTo>
                    <a:pt x="1475" y="2195"/>
                  </a:lnTo>
                  <a:lnTo>
                    <a:pt x="1476" y="2200"/>
                  </a:lnTo>
                  <a:lnTo>
                    <a:pt x="1478" y="2206"/>
                  </a:lnTo>
                  <a:lnTo>
                    <a:pt x="1480" y="2212"/>
                  </a:lnTo>
                  <a:lnTo>
                    <a:pt x="1488" y="2223"/>
                  </a:lnTo>
                  <a:lnTo>
                    <a:pt x="1497" y="2232"/>
                  </a:lnTo>
                  <a:lnTo>
                    <a:pt x="1506" y="2239"/>
                  </a:lnTo>
                  <a:lnTo>
                    <a:pt x="1518" y="2244"/>
                  </a:lnTo>
                  <a:lnTo>
                    <a:pt x="1531" y="2247"/>
                  </a:lnTo>
                  <a:lnTo>
                    <a:pt x="1544" y="2249"/>
                  </a:lnTo>
                  <a:lnTo>
                    <a:pt x="1549" y="2249"/>
                  </a:lnTo>
                  <a:lnTo>
                    <a:pt x="1552" y="2249"/>
                  </a:lnTo>
                  <a:lnTo>
                    <a:pt x="1553" y="2249"/>
                  </a:lnTo>
                  <a:lnTo>
                    <a:pt x="1561" y="2247"/>
                  </a:lnTo>
                  <a:lnTo>
                    <a:pt x="1566" y="2245"/>
                  </a:lnTo>
                  <a:lnTo>
                    <a:pt x="1574" y="2243"/>
                  </a:lnTo>
                  <a:lnTo>
                    <a:pt x="1581" y="2239"/>
                  </a:lnTo>
                  <a:lnTo>
                    <a:pt x="1586" y="2236"/>
                  </a:lnTo>
                  <a:lnTo>
                    <a:pt x="1592" y="2231"/>
                  </a:lnTo>
                  <a:lnTo>
                    <a:pt x="1597" y="2226"/>
                  </a:lnTo>
                  <a:lnTo>
                    <a:pt x="1602" y="2220"/>
                  </a:lnTo>
                  <a:lnTo>
                    <a:pt x="1586" y="2210"/>
                  </a:lnTo>
                  <a:lnTo>
                    <a:pt x="1602" y="2222"/>
                  </a:lnTo>
                  <a:lnTo>
                    <a:pt x="1608" y="2212"/>
                  </a:lnTo>
                  <a:lnTo>
                    <a:pt x="1612" y="2202"/>
                  </a:lnTo>
                  <a:lnTo>
                    <a:pt x="1615" y="2191"/>
                  </a:lnTo>
                  <a:lnTo>
                    <a:pt x="1616" y="2179"/>
                  </a:lnTo>
                  <a:lnTo>
                    <a:pt x="1616" y="2175"/>
                  </a:lnTo>
                  <a:lnTo>
                    <a:pt x="1615" y="2169"/>
                  </a:lnTo>
                  <a:lnTo>
                    <a:pt x="1615" y="2169"/>
                  </a:lnTo>
                  <a:lnTo>
                    <a:pt x="1611" y="2147"/>
                  </a:lnTo>
                  <a:lnTo>
                    <a:pt x="1606" y="2125"/>
                  </a:lnTo>
                  <a:lnTo>
                    <a:pt x="1601" y="2105"/>
                  </a:lnTo>
                  <a:lnTo>
                    <a:pt x="1592" y="2084"/>
                  </a:lnTo>
                  <a:lnTo>
                    <a:pt x="1576" y="2091"/>
                  </a:lnTo>
                  <a:lnTo>
                    <a:pt x="1578" y="2110"/>
                  </a:lnTo>
                  <a:lnTo>
                    <a:pt x="1604" y="2105"/>
                  </a:lnTo>
                  <a:lnTo>
                    <a:pt x="1629" y="2100"/>
                  </a:lnTo>
                  <a:lnTo>
                    <a:pt x="1652" y="2094"/>
                  </a:lnTo>
                  <a:lnTo>
                    <a:pt x="1677" y="2090"/>
                  </a:lnTo>
                  <a:lnTo>
                    <a:pt x="1672" y="2072"/>
                  </a:lnTo>
                  <a:lnTo>
                    <a:pt x="1655" y="2076"/>
                  </a:lnTo>
                  <a:lnTo>
                    <a:pt x="1659" y="2094"/>
                  </a:lnTo>
                  <a:lnTo>
                    <a:pt x="1664" y="2113"/>
                  </a:lnTo>
                  <a:lnTo>
                    <a:pt x="1670" y="2131"/>
                  </a:lnTo>
                  <a:lnTo>
                    <a:pt x="1677" y="2150"/>
                  </a:lnTo>
                  <a:lnTo>
                    <a:pt x="1685" y="2169"/>
                  </a:lnTo>
                  <a:lnTo>
                    <a:pt x="1694" y="2186"/>
                  </a:lnTo>
                  <a:lnTo>
                    <a:pt x="1702" y="2205"/>
                  </a:lnTo>
                  <a:lnTo>
                    <a:pt x="1711" y="2223"/>
                  </a:lnTo>
                  <a:lnTo>
                    <a:pt x="1717" y="2232"/>
                  </a:lnTo>
                  <a:lnTo>
                    <a:pt x="1723" y="2239"/>
                  </a:lnTo>
                  <a:lnTo>
                    <a:pt x="1730" y="2246"/>
                  </a:lnTo>
                  <a:lnTo>
                    <a:pt x="1738" y="2251"/>
                  </a:lnTo>
                  <a:lnTo>
                    <a:pt x="1748" y="2256"/>
                  </a:lnTo>
                  <a:lnTo>
                    <a:pt x="1756" y="2259"/>
                  </a:lnTo>
                  <a:lnTo>
                    <a:pt x="1767" y="2260"/>
                  </a:lnTo>
                  <a:lnTo>
                    <a:pt x="1776" y="2262"/>
                  </a:lnTo>
                  <a:lnTo>
                    <a:pt x="1781" y="2262"/>
                  </a:lnTo>
                  <a:lnTo>
                    <a:pt x="1785" y="2260"/>
                  </a:lnTo>
                  <a:lnTo>
                    <a:pt x="1785" y="2260"/>
                  </a:lnTo>
                  <a:lnTo>
                    <a:pt x="1795" y="2259"/>
                  </a:lnTo>
                  <a:lnTo>
                    <a:pt x="1803" y="2257"/>
                  </a:lnTo>
                  <a:lnTo>
                    <a:pt x="1811" y="2253"/>
                  </a:lnTo>
                  <a:lnTo>
                    <a:pt x="1818" y="2249"/>
                  </a:lnTo>
                  <a:lnTo>
                    <a:pt x="1825" y="2243"/>
                  </a:lnTo>
                  <a:lnTo>
                    <a:pt x="1832" y="2237"/>
                  </a:lnTo>
                  <a:lnTo>
                    <a:pt x="1837" y="2230"/>
                  </a:lnTo>
                  <a:lnTo>
                    <a:pt x="1842" y="2223"/>
                  </a:lnTo>
                  <a:lnTo>
                    <a:pt x="1825" y="2215"/>
                  </a:lnTo>
                  <a:lnTo>
                    <a:pt x="1842" y="2223"/>
                  </a:lnTo>
                  <a:lnTo>
                    <a:pt x="1845" y="2216"/>
                  </a:lnTo>
                  <a:lnTo>
                    <a:pt x="1848" y="2209"/>
                  </a:lnTo>
                  <a:lnTo>
                    <a:pt x="1849" y="2202"/>
                  </a:lnTo>
                  <a:lnTo>
                    <a:pt x="1849" y="2193"/>
                  </a:lnTo>
                  <a:lnTo>
                    <a:pt x="1849" y="2185"/>
                  </a:lnTo>
                  <a:lnTo>
                    <a:pt x="1847" y="2177"/>
                  </a:lnTo>
                  <a:lnTo>
                    <a:pt x="1844" y="2169"/>
                  </a:lnTo>
                  <a:lnTo>
                    <a:pt x="1840" y="2160"/>
                  </a:lnTo>
                  <a:lnTo>
                    <a:pt x="1841" y="2160"/>
                  </a:lnTo>
                  <a:lnTo>
                    <a:pt x="1824" y="2130"/>
                  </a:lnTo>
                  <a:lnTo>
                    <a:pt x="1812" y="2100"/>
                  </a:lnTo>
                  <a:lnTo>
                    <a:pt x="1807" y="2086"/>
                  </a:lnTo>
                  <a:lnTo>
                    <a:pt x="1802" y="2072"/>
                  </a:lnTo>
                  <a:lnTo>
                    <a:pt x="1798" y="2058"/>
                  </a:lnTo>
                  <a:lnTo>
                    <a:pt x="1795" y="2044"/>
                  </a:lnTo>
                  <a:lnTo>
                    <a:pt x="1776" y="2047"/>
                  </a:lnTo>
                  <a:lnTo>
                    <a:pt x="1781" y="2065"/>
                  </a:lnTo>
                  <a:lnTo>
                    <a:pt x="1808" y="2059"/>
                  </a:lnTo>
                  <a:lnTo>
                    <a:pt x="1834" y="2052"/>
                  </a:lnTo>
                  <a:lnTo>
                    <a:pt x="1861" y="2044"/>
                  </a:lnTo>
                  <a:lnTo>
                    <a:pt x="1887" y="2037"/>
                  </a:lnTo>
                  <a:lnTo>
                    <a:pt x="1881" y="2019"/>
                  </a:lnTo>
                  <a:lnTo>
                    <a:pt x="1868" y="2032"/>
                  </a:lnTo>
                  <a:lnTo>
                    <a:pt x="1889" y="2053"/>
                  </a:lnTo>
                  <a:lnTo>
                    <a:pt x="1913" y="2074"/>
                  </a:lnTo>
                  <a:lnTo>
                    <a:pt x="1925" y="2085"/>
                  </a:lnTo>
                  <a:lnTo>
                    <a:pt x="1938" y="2094"/>
                  </a:lnTo>
                  <a:lnTo>
                    <a:pt x="1953" y="2104"/>
                  </a:lnTo>
                  <a:lnTo>
                    <a:pt x="1967" y="2113"/>
                  </a:lnTo>
                  <a:lnTo>
                    <a:pt x="1967" y="2113"/>
                  </a:lnTo>
                  <a:lnTo>
                    <a:pt x="1975" y="2117"/>
                  </a:lnTo>
                  <a:lnTo>
                    <a:pt x="1982" y="2119"/>
                  </a:lnTo>
                  <a:lnTo>
                    <a:pt x="1990" y="2120"/>
                  </a:lnTo>
                  <a:lnTo>
                    <a:pt x="1997" y="2122"/>
                  </a:lnTo>
                  <a:lnTo>
                    <a:pt x="2008" y="2120"/>
                  </a:lnTo>
                  <a:lnTo>
                    <a:pt x="2019" y="2118"/>
                  </a:lnTo>
                  <a:lnTo>
                    <a:pt x="2028" y="2114"/>
                  </a:lnTo>
                  <a:lnTo>
                    <a:pt x="2037" y="2110"/>
                  </a:lnTo>
                  <a:lnTo>
                    <a:pt x="2046" y="2104"/>
                  </a:lnTo>
                  <a:lnTo>
                    <a:pt x="2054" y="2096"/>
                  </a:lnTo>
                  <a:lnTo>
                    <a:pt x="2060" y="2087"/>
                  </a:lnTo>
                  <a:lnTo>
                    <a:pt x="2066" y="2078"/>
                  </a:lnTo>
                  <a:lnTo>
                    <a:pt x="2066" y="2078"/>
                  </a:lnTo>
                  <a:lnTo>
                    <a:pt x="2068" y="2071"/>
                  </a:lnTo>
                  <a:lnTo>
                    <a:pt x="2069" y="2064"/>
                  </a:lnTo>
                  <a:lnTo>
                    <a:pt x="2070" y="2057"/>
                  </a:lnTo>
                  <a:lnTo>
                    <a:pt x="2071" y="2050"/>
                  </a:lnTo>
                  <a:lnTo>
                    <a:pt x="2070" y="2040"/>
                  </a:lnTo>
                  <a:lnTo>
                    <a:pt x="2068" y="2031"/>
                  </a:lnTo>
                  <a:lnTo>
                    <a:pt x="2066" y="2021"/>
                  </a:lnTo>
                  <a:lnTo>
                    <a:pt x="2061" y="2013"/>
                  </a:lnTo>
                  <a:lnTo>
                    <a:pt x="2055" y="2005"/>
                  </a:lnTo>
                  <a:lnTo>
                    <a:pt x="2048" y="1998"/>
                  </a:lnTo>
                  <a:lnTo>
                    <a:pt x="2041" y="1991"/>
                  </a:lnTo>
                  <a:lnTo>
                    <a:pt x="2031" y="1986"/>
                  </a:lnTo>
                  <a:lnTo>
                    <a:pt x="2033" y="1986"/>
                  </a:lnTo>
                  <a:lnTo>
                    <a:pt x="2019" y="1977"/>
                  </a:lnTo>
                  <a:lnTo>
                    <a:pt x="2007" y="1969"/>
                  </a:lnTo>
                  <a:lnTo>
                    <a:pt x="1995" y="1983"/>
                  </a:lnTo>
                  <a:lnTo>
                    <a:pt x="2001" y="2000"/>
                  </a:lnTo>
                  <a:lnTo>
                    <a:pt x="2014" y="1996"/>
                  </a:lnTo>
                  <a:lnTo>
                    <a:pt x="2027" y="1991"/>
                  </a:lnTo>
                  <a:lnTo>
                    <a:pt x="2040" y="1986"/>
                  </a:lnTo>
                  <a:lnTo>
                    <a:pt x="2051" y="1981"/>
                  </a:lnTo>
                  <a:lnTo>
                    <a:pt x="2046" y="1964"/>
                  </a:lnTo>
                  <a:lnTo>
                    <a:pt x="2035" y="1979"/>
                  </a:lnTo>
                  <a:lnTo>
                    <a:pt x="2047" y="1987"/>
                  </a:lnTo>
                  <a:lnTo>
                    <a:pt x="2061" y="1997"/>
                  </a:lnTo>
                  <a:lnTo>
                    <a:pt x="2075" y="2005"/>
                  </a:lnTo>
                  <a:lnTo>
                    <a:pt x="2091" y="2014"/>
                  </a:lnTo>
                  <a:lnTo>
                    <a:pt x="2100" y="1998"/>
                  </a:lnTo>
                  <a:lnTo>
                    <a:pt x="2091" y="2014"/>
                  </a:lnTo>
                  <a:lnTo>
                    <a:pt x="2099" y="2018"/>
                  </a:lnTo>
                  <a:lnTo>
                    <a:pt x="2106" y="2020"/>
                  </a:lnTo>
                  <a:lnTo>
                    <a:pt x="2114" y="2021"/>
                  </a:lnTo>
                  <a:lnTo>
                    <a:pt x="2122" y="2023"/>
                  </a:lnTo>
                  <a:lnTo>
                    <a:pt x="2132" y="2021"/>
                  </a:lnTo>
                  <a:lnTo>
                    <a:pt x="2142" y="2019"/>
                  </a:lnTo>
                  <a:lnTo>
                    <a:pt x="2152" y="2016"/>
                  </a:lnTo>
                  <a:lnTo>
                    <a:pt x="2161" y="2011"/>
                  </a:lnTo>
                  <a:lnTo>
                    <a:pt x="2169" y="2005"/>
                  </a:lnTo>
                  <a:lnTo>
                    <a:pt x="2177" y="1997"/>
                  </a:lnTo>
                  <a:lnTo>
                    <a:pt x="2184" y="1989"/>
                  </a:lnTo>
                  <a:lnTo>
                    <a:pt x="2189" y="1979"/>
                  </a:lnTo>
                  <a:lnTo>
                    <a:pt x="2189" y="1979"/>
                  </a:lnTo>
                  <a:lnTo>
                    <a:pt x="2192" y="1972"/>
                  </a:lnTo>
                  <a:lnTo>
                    <a:pt x="2194" y="1965"/>
                  </a:lnTo>
                  <a:lnTo>
                    <a:pt x="2195" y="1958"/>
                  </a:lnTo>
                  <a:lnTo>
                    <a:pt x="2195" y="1951"/>
                  </a:lnTo>
                  <a:lnTo>
                    <a:pt x="2195" y="1945"/>
                  </a:lnTo>
                  <a:lnTo>
                    <a:pt x="2194" y="1938"/>
                  </a:lnTo>
                  <a:lnTo>
                    <a:pt x="2193" y="1931"/>
                  </a:lnTo>
                  <a:lnTo>
                    <a:pt x="2190" y="1925"/>
                  </a:lnTo>
                  <a:lnTo>
                    <a:pt x="2187" y="1919"/>
                  </a:lnTo>
                  <a:lnTo>
                    <a:pt x="2183" y="1913"/>
                  </a:lnTo>
                  <a:lnTo>
                    <a:pt x="2180" y="1907"/>
                  </a:lnTo>
                  <a:lnTo>
                    <a:pt x="2175" y="1903"/>
                  </a:lnTo>
                  <a:lnTo>
                    <a:pt x="2162" y="1916"/>
                  </a:lnTo>
                  <a:lnTo>
                    <a:pt x="2169" y="1932"/>
                  </a:lnTo>
                  <a:lnTo>
                    <a:pt x="2197" y="1919"/>
                  </a:lnTo>
                  <a:lnTo>
                    <a:pt x="2225" y="1906"/>
                  </a:lnTo>
                  <a:lnTo>
                    <a:pt x="2250" y="1892"/>
                  </a:lnTo>
                  <a:lnTo>
                    <a:pt x="2275" y="1878"/>
                  </a:lnTo>
                  <a:lnTo>
                    <a:pt x="2267" y="1863"/>
                  </a:lnTo>
                  <a:lnTo>
                    <a:pt x="2255" y="1878"/>
                  </a:lnTo>
                  <a:lnTo>
                    <a:pt x="2279" y="1896"/>
                  </a:lnTo>
                  <a:lnTo>
                    <a:pt x="2302" y="1917"/>
                  </a:lnTo>
                  <a:lnTo>
                    <a:pt x="2325" y="1939"/>
                  </a:lnTo>
                  <a:lnTo>
                    <a:pt x="2348" y="1964"/>
                  </a:lnTo>
                  <a:lnTo>
                    <a:pt x="2348" y="1964"/>
                  </a:lnTo>
                  <a:lnTo>
                    <a:pt x="2353" y="1969"/>
                  </a:lnTo>
                  <a:lnTo>
                    <a:pt x="2359" y="1973"/>
                  </a:lnTo>
                  <a:lnTo>
                    <a:pt x="2366" y="1977"/>
                  </a:lnTo>
                  <a:lnTo>
                    <a:pt x="2372" y="1980"/>
                  </a:lnTo>
                  <a:lnTo>
                    <a:pt x="2379" y="1983"/>
                  </a:lnTo>
                  <a:lnTo>
                    <a:pt x="2386" y="1985"/>
                  </a:lnTo>
                  <a:lnTo>
                    <a:pt x="2394" y="1986"/>
                  </a:lnTo>
                  <a:lnTo>
                    <a:pt x="2401" y="1986"/>
                  </a:lnTo>
                  <a:lnTo>
                    <a:pt x="2406" y="1986"/>
                  </a:lnTo>
                  <a:lnTo>
                    <a:pt x="2409" y="1986"/>
                  </a:lnTo>
                  <a:lnTo>
                    <a:pt x="2409" y="1986"/>
                  </a:lnTo>
                  <a:lnTo>
                    <a:pt x="2420" y="1984"/>
                  </a:lnTo>
                  <a:lnTo>
                    <a:pt x="2429" y="1980"/>
                  </a:lnTo>
                  <a:lnTo>
                    <a:pt x="2439" y="1977"/>
                  </a:lnTo>
                  <a:lnTo>
                    <a:pt x="2447" y="1971"/>
                  </a:lnTo>
                  <a:lnTo>
                    <a:pt x="2455" y="1964"/>
                  </a:lnTo>
                  <a:lnTo>
                    <a:pt x="2461" y="1957"/>
                  </a:lnTo>
                  <a:lnTo>
                    <a:pt x="2467" y="1947"/>
                  </a:lnTo>
                  <a:lnTo>
                    <a:pt x="2472" y="1938"/>
                  </a:lnTo>
                  <a:lnTo>
                    <a:pt x="2472" y="1938"/>
                  </a:lnTo>
                  <a:lnTo>
                    <a:pt x="2474" y="1927"/>
                  </a:lnTo>
                  <a:lnTo>
                    <a:pt x="2475" y="1917"/>
                  </a:lnTo>
                  <a:lnTo>
                    <a:pt x="2475" y="1910"/>
                  </a:lnTo>
                  <a:lnTo>
                    <a:pt x="2474" y="1904"/>
                  </a:lnTo>
                  <a:lnTo>
                    <a:pt x="2473" y="1898"/>
                  </a:lnTo>
                  <a:lnTo>
                    <a:pt x="2471" y="1892"/>
                  </a:lnTo>
                  <a:lnTo>
                    <a:pt x="2465" y="1880"/>
                  </a:lnTo>
                  <a:lnTo>
                    <a:pt x="2456" y="1870"/>
                  </a:lnTo>
                  <a:lnTo>
                    <a:pt x="2438" y="1850"/>
                  </a:lnTo>
                  <a:lnTo>
                    <a:pt x="2418" y="1830"/>
                  </a:lnTo>
                  <a:lnTo>
                    <a:pt x="2396" y="1808"/>
                  </a:lnTo>
                  <a:lnTo>
                    <a:pt x="2374" y="1788"/>
                  </a:lnTo>
                  <a:lnTo>
                    <a:pt x="2362" y="1803"/>
                  </a:lnTo>
                  <a:lnTo>
                    <a:pt x="2373" y="1818"/>
                  </a:lnTo>
                  <a:lnTo>
                    <a:pt x="2394" y="1804"/>
                  </a:lnTo>
                  <a:lnTo>
                    <a:pt x="2415" y="1788"/>
                  </a:lnTo>
                  <a:lnTo>
                    <a:pt x="2435" y="1772"/>
                  </a:lnTo>
                  <a:lnTo>
                    <a:pt x="2455" y="1757"/>
                  </a:lnTo>
                  <a:lnTo>
                    <a:pt x="2455" y="1757"/>
                  </a:lnTo>
                  <a:lnTo>
                    <a:pt x="2459" y="1753"/>
                  </a:lnTo>
                  <a:lnTo>
                    <a:pt x="2447" y="1739"/>
                  </a:lnTo>
                  <a:lnTo>
                    <a:pt x="2436" y="1755"/>
                  </a:lnTo>
                  <a:lnTo>
                    <a:pt x="2449" y="1764"/>
                  </a:lnTo>
                  <a:lnTo>
                    <a:pt x="2461" y="1771"/>
                  </a:lnTo>
                  <a:lnTo>
                    <a:pt x="2472" y="1778"/>
                  </a:lnTo>
                  <a:lnTo>
                    <a:pt x="2482" y="1786"/>
                  </a:lnTo>
                  <a:lnTo>
                    <a:pt x="2482" y="1786"/>
                  </a:lnTo>
                  <a:lnTo>
                    <a:pt x="2492" y="1792"/>
                  </a:lnTo>
                  <a:lnTo>
                    <a:pt x="2502" y="1797"/>
                  </a:lnTo>
                  <a:lnTo>
                    <a:pt x="2513" y="1800"/>
                  </a:lnTo>
                  <a:lnTo>
                    <a:pt x="2525" y="1800"/>
                  </a:lnTo>
                  <a:lnTo>
                    <a:pt x="2529" y="1800"/>
                  </a:lnTo>
                  <a:lnTo>
                    <a:pt x="2533" y="1800"/>
                  </a:lnTo>
                  <a:lnTo>
                    <a:pt x="2533" y="1800"/>
                  </a:lnTo>
                  <a:lnTo>
                    <a:pt x="2544" y="1798"/>
                  </a:lnTo>
                  <a:lnTo>
                    <a:pt x="2554" y="1794"/>
                  </a:lnTo>
                  <a:lnTo>
                    <a:pt x="2564" y="1788"/>
                  </a:lnTo>
                  <a:lnTo>
                    <a:pt x="2572" y="1783"/>
                  </a:lnTo>
                  <a:lnTo>
                    <a:pt x="2580" y="1774"/>
                  </a:lnTo>
                  <a:lnTo>
                    <a:pt x="2586" y="1766"/>
                  </a:lnTo>
                  <a:lnTo>
                    <a:pt x="2592" y="1757"/>
                  </a:lnTo>
                  <a:lnTo>
                    <a:pt x="2595" y="1746"/>
                  </a:lnTo>
                  <a:lnTo>
                    <a:pt x="2595" y="1746"/>
                  </a:lnTo>
                  <a:lnTo>
                    <a:pt x="2597" y="1737"/>
                  </a:lnTo>
                  <a:lnTo>
                    <a:pt x="2598" y="1727"/>
                  </a:lnTo>
                  <a:lnTo>
                    <a:pt x="2598" y="1719"/>
                  </a:lnTo>
                  <a:lnTo>
                    <a:pt x="2595" y="1712"/>
                  </a:lnTo>
                  <a:lnTo>
                    <a:pt x="2593" y="1704"/>
                  </a:lnTo>
                  <a:lnTo>
                    <a:pt x="2591" y="1697"/>
                  </a:lnTo>
                  <a:lnTo>
                    <a:pt x="2586" y="1690"/>
                  </a:lnTo>
                  <a:lnTo>
                    <a:pt x="2581" y="1684"/>
                  </a:lnTo>
                  <a:lnTo>
                    <a:pt x="2575" y="1678"/>
                  </a:lnTo>
                  <a:lnTo>
                    <a:pt x="2569" y="1672"/>
                  </a:lnTo>
                  <a:lnTo>
                    <a:pt x="2559" y="1687"/>
                  </a:lnTo>
                  <a:lnTo>
                    <a:pt x="2569" y="1672"/>
                  </a:lnTo>
                  <a:lnTo>
                    <a:pt x="2561" y="1666"/>
                  </a:lnTo>
                  <a:lnTo>
                    <a:pt x="2552" y="1659"/>
                  </a:lnTo>
                  <a:lnTo>
                    <a:pt x="2542" y="1653"/>
                  </a:lnTo>
                  <a:lnTo>
                    <a:pt x="2533" y="1646"/>
                  </a:lnTo>
                  <a:lnTo>
                    <a:pt x="2522" y="1661"/>
                  </a:lnTo>
                  <a:lnTo>
                    <a:pt x="2536" y="1673"/>
                  </a:lnTo>
                  <a:lnTo>
                    <a:pt x="2548" y="1657"/>
                  </a:lnTo>
                  <a:lnTo>
                    <a:pt x="2560" y="1640"/>
                  </a:lnTo>
                  <a:lnTo>
                    <a:pt x="2569" y="1624"/>
                  </a:lnTo>
                  <a:lnTo>
                    <a:pt x="2578" y="1606"/>
                  </a:lnTo>
                  <a:lnTo>
                    <a:pt x="2585" y="1589"/>
                  </a:lnTo>
                  <a:lnTo>
                    <a:pt x="2592" y="1572"/>
                  </a:lnTo>
                  <a:lnTo>
                    <a:pt x="2597" y="1554"/>
                  </a:lnTo>
                  <a:lnTo>
                    <a:pt x="2601" y="1536"/>
                  </a:lnTo>
                  <a:lnTo>
                    <a:pt x="2582" y="1533"/>
                  </a:lnTo>
                  <a:lnTo>
                    <a:pt x="2587" y="1552"/>
                  </a:lnTo>
                  <a:lnTo>
                    <a:pt x="2595" y="1549"/>
                  </a:lnTo>
                  <a:lnTo>
                    <a:pt x="2604" y="1547"/>
                  </a:lnTo>
                  <a:lnTo>
                    <a:pt x="2604" y="1547"/>
                  </a:lnTo>
                  <a:lnTo>
                    <a:pt x="2604" y="1547"/>
                  </a:lnTo>
                  <a:lnTo>
                    <a:pt x="2617" y="1544"/>
                  </a:lnTo>
                  <a:lnTo>
                    <a:pt x="2628" y="1540"/>
                  </a:lnTo>
                  <a:lnTo>
                    <a:pt x="2641" y="1536"/>
                  </a:lnTo>
                  <a:lnTo>
                    <a:pt x="2653" y="1534"/>
                  </a:lnTo>
                  <a:lnTo>
                    <a:pt x="2653" y="1534"/>
                  </a:lnTo>
                  <a:lnTo>
                    <a:pt x="2660" y="1532"/>
                  </a:lnTo>
                  <a:lnTo>
                    <a:pt x="2666" y="1529"/>
                  </a:lnTo>
                  <a:lnTo>
                    <a:pt x="2673" y="1527"/>
                  </a:lnTo>
                  <a:lnTo>
                    <a:pt x="2678" y="1524"/>
                  </a:lnTo>
                  <a:lnTo>
                    <a:pt x="2688" y="1515"/>
                  </a:lnTo>
                  <a:lnTo>
                    <a:pt x="2697" y="1506"/>
                  </a:lnTo>
                  <a:lnTo>
                    <a:pt x="2702" y="1495"/>
                  </a:lnTo>
                  <a:lnTo>
                    <a:pt x="2707" y="1484"/>
                  </a:lnTo>
                  <a:lnTo>
                    <a:pt x="2710" y="1473"/>
                  </a:lnTo>
                  <a:lnTo>
                    <a:pt x="2710" y="1461"/>
                  </a:lnTo>
                  <a:lnTo>
                    <a:pt x="2710" y="1454"/>
                  </a:lnTo>
                  <a:lnTo>
                    <a:pt x="2710" y="1448"/>
                  </a:lnTo>
                  <a:lnTo>
                    <a:pt x="2710" y="1448"/>
                  </a:lnTo>
                  <a:lnTo>
                    <a:pt x="2706" y="1436"/>
                  </a:lnTo>
                  <a:lnTo>
                    <a:pt x="2701" y="1426"/>
                  </a:lnTo>
                  <a:lnTo>
                    <a:pt x="2695" y="1416"/>
                  </a:lnTo>
                  <a:lnTo>
                    <a:pt x="2687" y="1407"/>
                  </a:lnTo>
                  <a:lnTo>
                    <a:pt x="2678" y="1401"/>
                  </a:lnTo>
                  <a:lnTo>
                    <a:pt x="2667" y="1395"/>
                  </a:lnTo>
                  <a:lnTo>
                    <a:pt x="2657" y="1393"/>
                  </a:lnTo>
                  <a:lnTo>
                    <a:pt x="2645" y="1392"/>
                  </a:lnTo>
                  <a:lnTo>
                    <a:pt x="2635" y="1392"/>
                  </a:lnTo>
                  <a:lnTo>
                    <a:pt x="2627" y="1393"/>
                  </a:lnTo>
                  <a:lnTo>
                    <a:pt x="2632" y="1412"/>
                  </a:lnTo>
                  <a:lnTo>
                    <a:pt x="2627" y="1393"/>
                  </a:lnTo>
                  <a:lnTo>
                    <a:pt x="2632" y="1412"/>
                  </a:lnTo>
                  <a:lnTo>
                    <a:pt x="2635" y="1429"/>
                  </a:lnTo>
                  <a:lnTo>
                    <a:pt x="2640" y="1429"/>
                  </a:lnTo>
                  <a:lnTo>
                    <a:pt x="2645" y="1428"/>
                  </a:lnTo>
                  <a:lnTo>
                    <a:pt x="2650" y="1429"/>
                  </a:lnTo>
                  <a:lnTo>
                    <a:pt x="2654" y="1431"/>
                  </a:lnTo>
                  <a:lnTo>
                    <a:pt x="2659" y="1433"/>
                  </a:lnTo>
                  <a:lnTo>
                    <a:pt x="2662" y="1435"/>
                  </a:lnTo>
                  <a:lnTo>
                    <a:pt x="2666" y="1439"/>
                  </a:lnTo>
                  <a:lnTo>
                    <a:pt x="2668" y="1443"/>
                  </a:lnTo>
                  <a:lnTo>
                    <a:pt x="2671" y="1448"/>
                  </a:lnTo>
                  <a:lnTo>
                    <a:pt x="2672" y="1454"/>
                  </a:lnTo>
                  <a:lnTo>
                    <a:pt x="2672" y="1454"/>
                  </a:lnTo>
                  <a:lnTo>
                    <a:pt x="2673" y="1458"/>
                  </a:lnTo>
                  <a:lnTo>
                    <a:pt x="2673" y="1461"/>
                  </a:lnTo>
                  <a:lnTo>
                    <a:pt x="2673" y="1467"/>
                  </a:lnTo>
                  <a:lnTo>
                    <a:pt x="2671" y="1473"/>
                  </a:lnTo>
                  <a:lnTo>
                    <a:pt x="2670" y="1479"/>
                  </a:lnTo>
                  <a:lnTo>
                    <a:pt x="2666" y="1484"/>
                  </a:lnTo>
                  <a:lnTo>
                    <a:pt x="2662" y="1488"/>
                  </a:lnTo>
                  <a:lnTo>
                    <a:pt x="2658" y="1493"/>
                  </a:lnTo>
                  <a:lnTo>
                    <a:pt x="2652" y="1495"/>
                  </a:lnTo>
                  <a:lnTo>
                    <a:pt x="2645" y="1498"/>
                  </a:lnTo>
                  <a:lnTo>
                    <a:pt x="2645" y="1498"/>
                  </a:lnTo>
                  <a:lnTo>
                    <a:pt x="2632" y="1501"/>
                  </a:lnTo>
                  <a:lnTo>
                    <a:pt x="2619" y="1505"/>
                  </a:lnTo>
                  <a:lnTo>
                    <a:pt x="2607" y="1507"/>
                  </a:lnTo>
                  <a:lnTo>
                    <a:pt x="2594" y="1511"/>
                  </a:lnTo>
                  <a:lnTo>
                    <a:pt x="2599" y="1529"/>
                  </a:lnTo>
                  <a:lnTo>
                    <a:pt x="2594" y="1511"/>
                  </a:lnTo>
                  <a:lnTo>
                    <a:pt x="2586" y="1513"/>
                  </a:lnTo>
                  <a:lnTo>
                    <a:pt x="2578" y="1515"/>
                  </a:lnTo>
                  <a:lnTo>
                    <a:pt x="2566" y="1519"/>
                  </a:lnTo>
                  <a:lnTo>
                    <a:pt x="2565" y="1529"/>
                  </a:lnTo>
                  <a:lnTo>
                    <a:pt x="2561" y="1545"/>
                  </a:lnTo>
                  <a:lnTo>
                    <a:pt x="2557" y="1560"/>
                  </a:lnTo>
                  <a:lnTo>
                    <a:pt x="2551" y="1575"/>
                  </a:lnTo>
                  <a:lnTo>
                    <a:pt x="2544" y="1591"/>
                  </a:lnTo>
                  <a:lnTo>
                    <a:pt x="2536" y="1606"/>
                  </a:lnTo>
                  <a:lnTo>
                    <a:pt x="2528" y="1620"/>
                  </a:lnTo>
                  <a:lnTo>
                    <a:pt x="2518" y="1635"/>
                  </a:lnTo>
                  <a:lnTo>
                    <a:pt x="2507" y="1651"/>
                  </a:lnTo>
                  <a:lnTo>
                    <a:pt x="2495" y="1666"/>
                  </a:lnTo>
                  <a:lnTo>
                    <a:pt x="2512" y="1677"/>
                  </a:lnTo>
                  <a:lnTo>
                    <a:pt x="2531" y="1690"/>
                  </a:lnTo>
                  <a:lnTo>
                    <a:pt x="2547" y="1701"/>
                  </a:lnTo>
                  <a:lnTo>
                    <a:pt x="2547" y="1702"/>
                  </a:lnTo>
                  <a:lnTo>
                    <a:pt x="2547" y="1702"/>
                  </a:lnTo>
                  <a:lnTo>
                    <a:pt x="2553" y="1707"/>
                  </a:lnTo>
                  <a:lnTo>
                    <a:pt x="2558" y="1713"/>
                  </a:lnTo>
                  <a:lnTo>
                    <a:pt x="2560" y="1720"/>
                  </a:lnTo>
                  <a:lnTo>
                    <a:pt x="2560" y="1727"/>
                  </a:lnTo>
                  <a:lnTo>
                    <a:pt x="2560" y="1732"/>
                  </a:lnTo>
                  <a:lnTo>
                    <a:pt x="2559" y="1737"/>
                  </a:lnTo>
                  <a:lnTo>
                    <a:pt x="2578" y="1741"/>
                  </a:lnTo>
                  <a:lnTo>
                    <a:pt x="2559" y="1737"/>
                  </a:lnTo>
                  <a:lnTo>
                    <a:pt x="2558" y="1741"/>
                  </a:lnTo>
                  <a:lnTo>
                    <a:pt x="2555" y="1746"/>
                  </a:lnTo>
                  <a:lnTo>
                    <a:pt x="2552" y="1751"/>
                  </a:lnTo>
                  <a:lnTo>
                    <a:pt x="2547" y="1754"/>
                  </a:lnTo>
                  <a:lnTo>
                    <a:pt x="2544" y="1758"/>
                  </a:lnTo>
                  <a:lnTo>
                    <a:pt x="2539" y="1760"/>
                  </a:lnTo>
                  <a:lnTo>
                    <a:pt x="2534" y="1763"/>
                  </a:lnTo>
                  <a:lnTo>
                    <a:pt x="2528" y="1764"/>
                  </a:lnTo>
                  <a:lnTo>
                    <a:pt x="2528" y="1764"/>
                  </a:lnTo>
                  <a:lnTo>
                    <a:pt x="2525" y="1764"/>
                  </a:lnTo>
                  <a:lnTo>
                    <a:pt x="2520" y="1763"/>
                  </a:lnTo>
                  <a:lnTo>
                    <a:pt x="2514" y="1761"/>
                  </a:lnTo>
                  <a:lnTo>
                    <a:pt x="2509" y="1759"/>
                  </a:lnTo>
                  <a:lnTo>
                    <a:pt x="2505" y="1757"/>
                  </a:lnTo>
                  <a:lnTo>
                    <a:pt x="2493" y="1771"/>
                  </a:lnTo>
                  <a:lnTo>
                    <a:pt x="2505" y="1757"/>
                  </a:lnTo>
                  <a:lnTo>
                    <a:pt x="2494" y="1748"/>
                  </a:lnTo>
                  <a:lnTo>
                    <a:pt x="2482" y="1740"/>
                  </a:lnTo>
                  <a:lnTo>
                    <a:pt x="2469" y="1732"/>
                  </a:lnTo>
                  <a:lnTo>
                    <a:pt x="2456" y="1724"/>
                  </a:lnTo>
                  <a:lnTo>
                    <a:pt x="2445" y="1717"/>
                  </a:lnTo>
                  <a:lnTo>
                    <a:pt x="2431" y="1728"/>
                  </a:lnTo>
                  <a:lnTo>
                    <a:pt x="2443" y="1742"/>
                  </a:lnTo>
                  <a:lnTo>
                    <a:pt x="2432" y="1728"/>
                  </a:lnTo>
                  <a:lnTo>
                    <a:pt x="2413" y="1744"/>
                  </a:lnTo>
                  <a:lnTo>
                    <a:pt x="2393" y="1758"/>
                  </a:lnTo>
                  <a:lnTo>
                    <a:pt x="2373" y="1773"/>
                  </a:lnTo>
                  <a:lnTo>
                    <a:pt x="2352" y="1787"/>
                  </a:lnTo>
                  <a:lnTo>
                    <a:pt x="2332" y="1801"/>
                  </a:lnTo>
                  <a:lnTo>
                    <a:pt x="2350" y="1817"/>
                  </a:lnTo>
                  <a:lnTo>
                    <a:pt x="2370" y="1835"/>
                  </a:lnTo>
                  <a:lnTo>
                    <a:pt x="2391" y="1856"/>
                  </a:lnTo>
                  <a:lnTo>
                    <a:pt x="2411" y="1876"/>
                  </a:lnTo>
                  <a:lnTo>
                    <a:pt x="2429" y="1896"/>
                  </a:lnTo>
                  <a:lnTo>
                    <a:pt x="2433" y="1900"/>
                  </a:lnTo>
                  <a:lnTo>
                    <a:pt x="2436" y="1906"/>
                  </a:lnTo>
                  <a:lnTo>
                    <a:pt x="2438" y="1911"/>
                  </a:lnTo>
                  <a:lnTo>
                    <a:pt x="2439" y="1917"/>
                  </a:lnTo>
                  <a:lnTo>
                    <a:pt x="2438" y="1921"/>
                  </a:lnTo>
                  <a:lnTo>
                    <a:pt x="2436" y="1926"/>
                  </a:lnTo>
                  <a:lnTo>
                    <a:pt x="2436" y="1926"/>
                  </a:lnTo>
                  <a:lnTo>
                    <a:pt x="2435" y="1930"/>
                  </a:lnTo>
                  <a:lnTo>
                    <a:pt x="2432" y="1934"/>
                  </a:lnTo>
                  <a:lnTo>
                    <a:pt x="2428" y="1938"/>
                  </a:lnTo>
                  <a:lnTo>
                    <a:pt x="2425" y="1941"/>
                  </a:lnTo>
                  <a:lnTo>
                    <a:pt x="2420" y="1944"/>
                  </a:lnTo>
                  <a:lnTo>
                    <a:pt x="2415" y="1946"/>
                  </a:lnTo>
                  <a:lnTo>
                    <a:pt x="2411" y="1948"/>
                  </a:lnTo>
                  <a:lnTo>
                    <a:pt x="2406" y="1950"/>
                  </a:lnTo>
                  <a:lnTo>
                    <a:pt x="2407" y="1967"/>
                  </a:lnTo>
                  <a:lnTo>
                    <a:pt x="2406" y="1950"/>
                  </a:lnTo>
                  <a:lnTo>
                    <a:pt x="2401" y="1950"/>
                  </a:lnTo>
                  <a:lnTo>
                    <a:pt x="2394" y="1948"/>
                  </a:lnTo>
                  <a:lnTo>
                    <a:pt x="2387" y="1946"/>
                  </a:lnTo>
                  <a:lnTo>
                    <a:pt x="2380" y="1943"/>
                  </a:lnTo>
                  <a:lnTo>
                    <a:pt x="2375" y="1938"/>
                  </a:lnTo>
                  <a:lnTo>
                    <a:pt x="2375" y="1938"/>
                  </a:lnTo>
                  <a:lnTo>
                    <a:pt x="2352" y="1913"/>
                  </a:lnTo>
                  <a:lnTo>
                    <a:pt x="2328" y="1890"/>
                  </a:lnTo>
                  <a:lnTo>
                    <a:pt x="2316" y="1878"/>
                  </a:lnTo>
                  <a:lnTo>
                    <a:pt x="2303" y="1867"/>
                  </a:lnTo>
                  <a:lnTo>
                    <a:pt x="2290" y="1857"/>
                  </a:lnTo>
                  <a:lnTo>
                    <a:pt x="2277" y="1847"/>
                  </a:lnTo>
                  <a:lnTo>
                    <a:pt x="2268" y="1840"/>
                  </a:lnTo>
                  <a:lnTo>
                    <a:pt x="2257" y="1846"/>
                  </a:lnTo>
                  <a:lnTo>
                    <a:pt x="2233" y="1859"/>
                  </a:lnTo>
                  <a:lnTo>
                    <a:pt x="2207" y="1873"/>
                  </a:lnTo>
                  <a:lnTo>
                    <a:pt x="2181" y="1886"/>
                  </a:lnTo>
                  <a:lnTo>
                    <a:pt x="2154" y="1898"/>
                  </a:lnTo>
                  <a:lnTo>
                    <a:pt x="2130" y="1908"/>
                  </a:lnTo>
                  <a:lnTo>
                    <a:pt x="2148" y="1927"/>
                  </a:lnTo>
                  <a:lnTo>
                    <a:pt x="2153" y="1933"/>
                  </a:lnTo>
                  <a:lnTo>
                    <a:pt x="2155" y="1939"/>
                  </a:lnTo>
                  <a:lnTo>
                    <a:pt x="2157" y="1945"/>
                  </a:lnTo>
                  <a:lnTo>
                    <a:pt x="2159" y="1951"/>
                  </a:lnTo>
                  <a:lnTo>
                    <a:pt x="2157" y="1958"/>
                  </a:lnTo>
                  <a:lnTo>
                    <a:pt x="2155" y="1964"/>
                  </a:lnTo>
                  <a:lnTo>
                    <a:pt x="2155" y="1964"/>
                  </a:lnTo>
                  <a:lnTo>
                    <a:pt x="2153" y="1969"/>
                  </a:lnTo>
                  <a:lnTo>
                    <a:pt x="2150" y="1972"/>
                  </a:lnTo>
                  <a:lnTo>
                    <a:pt x="2146" y="1976"/>
                  </a:lnTo>
                  <a:lnTo>
                    <a:pt x="2142" y="1979"/>
                  </a:lnTo>
                  <a:lnTo>
                    <a:pt x="2136" y="1981"/>
                  </a:lnTo>
                  <a:lnTo>
                    <a:pt x="2132" y="1984"/>
                  </a:lnTo>
                  <a:lnTo>
                    <a:pt x="2127" y="1985"/>
                  </a:lnTo>
                  <a:lnTo>
                    <a:pt x="2122" y="1985"/>
                  </a:lnTo>
                  <a:lnTo>
                    <a:pt x="2115" y="1984"/>
                  </a:lnTo>
                  <a:lnTo>
                    <a:pt x="2109" y="1983"/>
                  </a:lnTo>
                  <a:lnTo>
                    <a:pt x="2109" y="1981"/>
                  </a:lnTo>
                  <a:lnTo>
                    <a:pt x="2109" y="1981"/>
                  </a:lnTo>
                  <a:lnTo>
                    <a:pt x="2094" y="1973"/>
                  </a:lnTo>
                  <a:lnTo>
                    <a:pt x="2081" y="1965"/>
                  </a:lnTo>
                  <a:lnTo>
                    <a:pt x="2068" y="1957"/>
                  </a:lnTo>
                  <a:lnTo>
                    <a:pt x="2056" y="1948"/>
                  </a:lnTo>
                  <a:lnTo>
                    <a:pt x="2048" y="1943"/>
                  </a:lnTo>
                  <a:lnTo>
                    <a:pt x="2039" y="1946"/>
                  </a:lnTo>
                  <a:lnTo>
                    <a:pt x="2027" y="1951"/>
                  </a:lnTo>
                  <a:lnTo>
                    <a:pt x="2014" y="1956"/>
                  </a:lnTo>
                  <a:lnTo>
                    <a:pt x="2001" y="1960"/>
                  </a:lnTo>
                  <a:lnTo>
                    <a:pt x="1988" y="1965"/>
                  </a:lnTo>
                  <a:lnTo>
                    <a:pt x="1958" y="1977"/>
                  </a:lnTo>
                  <a:lnTo>
                    <a:pt x="1983" y="1997"/>
                  </a:lnTo>
                  <a:lnTo>
                    <a:pt x="1997" y="2007"/>
                  </a:lnTo>
                  <a:lnTo>
                    <a:pt x="2014" y="2018"/>
                  </a:lnTo>
                  <a:lnTo>
                    <a:pt x="2014" y="2018"/>
                  </a:lnTo>
                  <a:lnTo>
                    <a:pt x="2019" y="2021"/>
                  </a:lnTo>
                  <a:lnTo>
                    <a:pt x="2022" y="2025"/>
                  </a:lnTo>
                  <a:lnTo>
                    <a:pt x="2026" y="2029"/>
                  </a:lnTo>
                  <a:lnTo>
                    <a:pt x="2029" y="2032"/>
                  </a:lnTo>
                  <a:lnTo>
                    <a:pt x="2031" y="2037"/>
                  </a:lnTo>
                  <a:lnTo>
                    <a:pt x="2033" y="2041"/>
                  </a:lnTo>
                  <a:lnTo>
                    <a:pt x="2034" y="2045"/>
                  </a:lnTo>
                  <a:lnTo>
                    <a:pt x="2034" y="2050"/>
                  </a:lnTo>
                  <a:lnTo>
                    <a:pt x="2034" y="2057"/>
                  </a:lnTo>
                  <a:lnTo>
                    <a:pt x="2031" y="2063"/>
                  </a:lnTo>
                  <a:lnTo>
                    <a:pt x="2031" y="2064"/>
                  </a:lnTo>
                  <a:lnTo>
                    <a:pt x="2029" y="2067"/>
                  </a:lnTo>
                  <a:lnTo>
                    <a:pt x="2026" y="2071"/>
                  </a:lnTo>
                  <a:lnTo>
                    <a:pt x="2022" y="2074"/>
                  </a:lnTo>
                  <a:lnTo>
                    <a:pt x="2017" y="2078"/>
                  </a:lnTo>
                  <a:lnTo>
                    <a:pt x="2013" y="2080"/>
                  </a:lnTo>
                  <a:lnTo>
                    <a:pt x="2008" y="2083"/>
                  </a:lnTo>
                  <a:lnTo>
                    <a:pt x="2002" y="2084"/>
                  </a:lnTo>
                  <a:lnTo>
                    <a:pt x="1997" y="2084"/>
                  </a:lnTo>
                  <a:lnTo>
                    <a:pt x="1991" y="2083"/>
                  </a:lnTo>
                  <a:lnTo>
                    <a:pt x="1986" y="2080"/>
                  </a:lnTo>
                  <a:lnTo>
                    <a:pt x="1986" y="2082"/>
                  </a:lnTo>
                  <a:lnTo>
                    <a:pt x="1973" y="2073"/>
                  </a:lnTo>
                  <a:lnTo>
                    <a:pt x="1960" y="2065"/>
                  </a:lnTo>
                  <a:lnTo>
                    <a:pt x="1948" y="2056"/>
                  </a:lnTo>
                  <a:lnTo>
                    <a:pt x="1936" y="2046"/>
                  </a:lnTo>
                  <a:lnTo>
                    <a:pt x="1915" y="2027"/>
                  </a:lnTo>
                  <a:lnTo>
                    <a:pt x="1894" y="2006"/>
                  </a:lnTo>
                  <a:lnTo>
                    <a:pt x="1887" y="1998"/>
                  </a:lnTo>
                  <a:lnTo>
                    <a:pt x="1876" y="2001"/>
                  </a:lnTo>
                  <a:lnTo>
                    <a:pt x="1850" y="2009"/>
                  </a:lnTo>
                  <a:lnTo>
                    <a:pt x="1824" y="2016"/>
                  </a:lnTo>
                  <a:lnTo>
                    <a:pt x="1798" y="2023"/>
                  </a:lnTo>
                  <a:lnTo>
                    <a:pt x="1772" y="2030"/>
                  </a:lnTo>
                  <a:lnTo>
                    <a:pt x="1755" y="2033"/>
                  </a:lnTo>
                  <a:lnTo>
                    <a:pt x="1758" y="2051"/>
                  </a:lnTo>
                  <a:lnTo>
                    <a:pt x="1762" y="2067"/>
                  </a:lnTo>
                  <a:lnTo>
                    <a:pt x="1767" y="2083"/>
                  </a:lnTo>
                  <a:lnTo>
                    <a:pt x="1771" y="2098"/>
                  </a:lnTo>
                  <a:lnTo>
                    <a:pt x="1777" y="2114"/>
                  </a:lnTo>
                  <a:lnTo>
                    <a:pt x="1791" y="2146"/>
                  </a:lnTo>
                  <a:lnTo>
                    <a:pt x="1808" y="2178"/>
                  </a:lnTo>
                  <a:lnTo>
                    <a:pt x="1808" y="2179"/>
                  </a:lnTo>
                  <a:lnTo>
                    <a:pt x="1811" y="2186"/>
                  </a:lnTo>
                  <a:lnTo>
                    <a:pt x="1812" y="2193"/>
                  </a:lnTo>
                  <a:lnTo>
                    <a:pt x="1811" y="2199"/>
                  </a:lnTo>
                  <a:lnTo>
                    <a:pt x="1809" y="2205"/>
                  </a:lnTo>
                  <a:lnTo>
                    <a:pt x="1809" y="2206"/>
                  </a:lnTo>
                  <a:lnTo>
                    <a:pt x="1804" y="2212"/>
                  </a:lnTo>
                  <a:lnTo>
                    <a:pt x="1798" y="2218"/>
                  </a:lnTo>
                  <a:lnTo>
                    <a:pt x="1790" y="2222"/>
                  </a:lnTo>
                  <a:lnTo>
                    <a:pt x="1781" y="2224"/>
                  </a:lnTo>
                  <a:lnTo>
                    <a:pt x="1781" y="2224"/>
                  </a:lnTo>
                  <a:lnTo>
                    <a:pt x="1778" y="2224"/>
                  </a:lnTo>
                  <a:lnTo>
                    <a:pt x="1776" y="2224"/>
                  </a:lnTo>
                  <a:lnTo>
                    <a:pt x="1771" y="2224"/>
                  </a:lnTo>
                  <a:lnTo>
                    <a:pt x="1767" y="2223"/>
                  </a:lnTo>
                  <a:lnTo>
                    <a:pt x="1762" y="2222"/>
                  </a:lnTo>
                  <a:lnTo>
                    <a:pt x="1757" y="2219"/>
                  </a:lnTo>
                  <a:lnTo>
                    <a:pt x="1754" y="2217"/>
                  </a:lnTo>
                  <a:lnTo>
                    <a:pt x="1750" y="2213"/>
                  </a:lnTo>
                  <a:lnTo>
                    <a:pt x="1747" y="2210"/>
                  </a:lnTo>
                  <a:lnTo>
                    <a:pt x="1744" y="2205"/>
                  </a:lnTo>
                  <a:lnTo>
                    <a:pt x="1735" y="2189"/>
                  </a:lnTo>
                  <a:lnTo>
                    <a:pt x="1727" y="2171"/>
                  </a:lnTo>
                  <a:lnTo>
                    <a:pt x="1719" y="2153"/>
                  </a:lnTo>
                  <a:lnTo>
                    <a:pt x="1712" y="2137"/>
                  </a:lnTo>
                  <a:lnTo>
                    <a:pt x="1705" y="2119"/>
                  </a:lnTo>
                  <a:lnTo>
                    <a:pt x="1699" y="2102"/>
                  </a:lnTo>
                  <a:lnTo>
                    <a:pt x="1695" y="2085"/>
                  </a:lnTo>
                  <a:lnTo>
                    <a:pt x="1691" y="2067"/>
                  </a:lnTo>
                  <a:lnTo>
                    <a:pt x="1688" y="2050"/>
                  </a:lnTo>
                  <a:lnTo>
                    <a:pt x="1669" y="2053"/>
                  </a:lnTo>
                  <a:lnTo>
                    <a:pt x="1645" y="2058"/>
                  </a:lnTo>
                  <a:lnTo>
                    <a:pt x="1621" y="2064"/>
                  </a:lnTo>
                  <a:lnTo>
                    <a:pt x="1597" y="2069"/>
                  </a:lnTo>
                  <a:lnTo>
                    <a:pt x="1572" y="2073"/>
                  </a:lnTo>
                  <a:lnTo>
                    <a:pt x="1550" y="2077"/>
                  </a:lnTo>
                  <a:lnTo>
                    <a:pt x="1558" y="2098"/>
                  </a:lnTo>
                  <a:lnTo>
                    <a:pt x="1565" y="2117"/>
                  </a:lnTo>
                  <a:lnTo>
                    <a:pt x="1570" y="2136"/>
                  </a:lnTo>
                  <a:lnTo>
                    <a:pt x="1575" y="2155"/>
                  </a:lnTo>
                  <a:lnTo>
                    <a:pt x="1578" y="2175"/>
                  </a:lnTo>
                  <a:lnTo>
                    <a:pt x="1578" y="2175"/>
                  </a:lnTo>
                  <a:lnTo>
                    <a:pt x="1578" y="2177"/>
                  </a:lnTo>
                  <a:lnTo>
                    <a:pt x="1578" y="2179"/>
                  </a:lnTo>
                  <a:lnTo>
                    <a:pt x="1578" y="2185"/>
                  </a:lnTo>
                  <a:lnTo>
                    <a:pt x="1577" y="2190"/>
                  </a:lnTo>
                  <a:lnTo>
                    <a:pt x="1575" y="2195"/>
                  </a:lnTo>
                  <a:lnTo>
                    <a:pt x="1572" y="2198"/>
                  </a:lnTo>
                  <a:lnTo>
                    <a:pt x="1572" y="2199"/>
                  </a:lnTo>
                  <a:lnTo>
                    <a:pt x="1572" y="2199"/>
                  </a:lnTo>
                  <a:lnTo>
                    <a:pt x="1568" y="2203"/>
                  </a:lnTo>
                  <a:lnTo>
                    <a:pt x="1562" y="2207"/>
                  </a:lnTo>
                  <a:lnTo>
                    <a:pt x="1556" y="2210"/>
                  </a:lnTo>
                  <a:lnTo>
                    <a:pt x="1549" y="2211"/>
                  </a:lnTo>
                  <a:lnTo>
                    <a:pt x="1551" y="2230"/>
                  </a:lnTo>
                  <a:lnTo>
                    <a:pt x="1549" y="2211"/>
                  </a:lnTo>
                  <a:lnTo>
                    <a:pt x="1546" y="2211"/>
                  </a:lnTo>
                  <a:lnTo>
                    <a:pt x="1544" y="2212"/>
                  </a:lnTo>
                  <a:lnTo>
                    <a:pt x="1537" y="2211"/>
                  </a:lnTo>
                  <a:lnTo>
                    <a:pt x="1531" y="2210"/>
                  </a:lnTo>
                  <a:lnTo>
                    <a:pt x="1525" y="2207"/>
                  </a:lnTo>
                  <a:lnTo>
                    <a:pt x="1521" y="2204"/>
                  </a:lnTo>
                  <a:lnTo>
                    <a:pt x="1517" y="2199"/>
                  </a:lnTo>
                  <a:lnTo>
                    <a:pt x="1513" y="2195"/>
                  </a:lnTo>
                  <a:lnTo>
                    <a:pt x="1511" y="2189"/>
                  </a:lnTo>
                  <a:lnTo>
                    <a:pt x="1510" y="2183"/>
                  </a:lnTo>
                  <a:lnTo>
                    <a:pt x="1505" y="2160"/>
                  </a:lnTo>
                  <a:lnTo>
                    <a:pt x="1501" y="2139"/>
                  </a:lnTo>
                  <a:lnTo>
                    <a:pt x="1492" y="2119"/>
                  </a:lnTo>
                  <a:lnTo>
                    <a:pt x="1483" y="2100"/>
                  </a:lnTo>
                  <a:lnTo>
                    <a:pt x="1477" y="2089"/>
                  </a:lnTo>
                  <a:lnTo>
                    <a:pt x="1464" y="2091"/>
                  </a:lnTo>
                  <a:lnTo>
                    <a:pt x="1425" y="2097"/>
                  </a:lnTo>
                  <a:lnTo>
                    <a:pt x="1386" y="2103"/>
                  </a:lnTo>
                  <a:lnTo>
                    <a:pt x="1347" y="2107"/>
                  </a:lnTo>
                  <a:lnTo>
                    <a:pt x="1307" y="2112"/>
                  </a:lnTo>
                  <a:lnTo>
                    <a:pt x="1286" y="2114"/>
                  </a:lnTo>
                  <a:lnTo>
                    <a:pt x="1292" y="2136"/>
                  </a:lnTo>
                  <a:lnTo>
                    <a:pt x="1294" y="2143"/>
                  </a:lnTo>
                  <a:lnTo>
                    <a:pt x="1297" y="2149"/>
                  </a:lnTo>
                  <a:lnTo>
                    <a:pt x="1297" y="2150"/>
                  </a:lnTo>
                  <a:lnTo>
                    <a:pt x="1297" y="2150"/>
                  </a:lnTo>
                  <a:lnTo>
                    <a:pt x="1298" y="2156"/>
                  </a:lnTo>
                  <a:lnTo>
                    <a:pt x="1299" y="2162"/>
                  </a:lnTo>
                  <a:lnTo>
                    <a:pt x="1298" y="2166"/>
                  </a:lnTo>
                  <a:lnTo>
                    <a:pt x="1298" y="2171"/>
                  </a:lnTo>
                  <a:lnTo>
                    <a:pt x="1296" y="2176"/>
                  </a:lnTo>
                  <a:lnTo>
                    <a:pt x="1293" y="2179"/>
                  </a:lnTo>
                  <a:lnTo>
                    <a:pt x="1289" y="2186"/>
                  </a:lnTo>
                  <a:lnTo>
                    <a:pt x="1282" y="2191"/>
                  </a:lnTo>
                  <a:lnTo>
                    <a:pt x="1274" y="2196"/>
                  </a:lnTo>
                  <a:lnTo>
                    <a:pt x="1265" y="2197"/>
                  </a:lnTo>
                  <a:lnTo>
                    <a:pt x="1266" y="2197"/>
                  </a:lnTo>
                  <a:lnTo>
                    <a:pt x="1262" y="2198"/>
                  </a:lnTo>
                  <a:lnTo>
                    <a:pt x="1257" y="2197"/>
                  </a:lnTo>
                  <a:lnTo>
                    <a:pt x="1252" y="2196"/>
                  </a:lnTo>
                  <a:lnTo>
                    <a:pt x="1247" y="2195"/>
                  </a:lnTo>
                  <a:lnTo>
                    <a:pt x="1244" y="2192"/>
                  </a:lnTo>
                  <a:lnTo>
                    <a:pt x="1240" y="2190"/>
                  </a:lnTo>
                  <a:lnTo>
                    <a:pt x="1238" y="2186"/>
                  </a:lnTo>
                  <a:lnTo>
                    <a:pt x="1234" y="2182"/>
                  </a:lnTo>
                  <a:lnTo>
                    <a:pt x="1233" y="2177"/>
                  </a:lnTo>
                  <a:lnTo>
                    <a:pt x="1233" y="2177"/>
                  </a:lnTo>
                  <a:lnTo>
                    <a:pt x="1232" y="2176"/>
                  </a:lnTo>
                  <a:lnTo>
                    <a:pt x="1230" y="2169"/>
                  </a:lnTo>
                  <a:lnTo>
                    <a:pt x="1227" y="2159"/>
                  </a:lnTo>
                  <a:lnTo>
                    <a:pt x="1225" y="2149"/>
                  </a:lnTo>
                  <a:lnTo>
                    <a:pt x="1223" y="2138"/>
                  </a:lnTo>
                  <a:lnTo>
                    <a:pt x="1219" y="2122"/>
                  </a:lnTo>
                  <a:lnTo>
                    <a:pt x="1203" y="2123"/>
                  </a:lnTo>
                  <a:lnTo>
                    <a:pt x="1179" y="2125"/>
                  </a:lnTo>
                  <a:lnTo>
                    <a:pt x="1156" y="2127"/>
                  </a:lnTo>
                  <a:lnTo>
                    <a:pt x="1133" y="2130"/>
                  </a:lnTo>
                  <a:lnTo>
                    <a:pt x="1110" y="2131"/>
                  </a:lnTo>
                  <a:lnTo>
                    <a:pt x="1076" y="2133"/>
                  </a:lnTo>
                  <a:lnTo>
                    <a:pt x="1097" y="2160"/>
                  </a:lnTo>
                  <a:lnTo>
                    <a:pt x="1107" y="2173"/>
                  </a:lnTo>
                  <a:lnTo>
                    <a:pt x="1119" y="2184"/>
                  </a:lnTo>
                  <a:lnTo>
                    <a:pt x="1119" y="2184"/>
                  </a:lnTo>
                  <a:lnTo>
                    <a:pt x="1125" y="2190"/>
                  </a:lnTo>
                  <a:lnTo>
                    <a:pt x="1129" y="2197"/>
                  </a:lnTo>
                  <a:lnTo>
                    <a:pt x="1131" y="2203"/>
                  </a:lnTo>
                  <a:lnTo>
                    <a:pt x="1132" y="2210"/>
                  </a:lnTo>
                  <a:lnTo>
                    <a:pt x="1131" y="2215"/>
                  </a:lnTo>
                  <a:lnTo>
                    <a:pt x="1130" y="2220"/>
                  </a:lnTo>
                  <a:lnTo>
                    <a:pt x="1129" y="2225"/>
                  </a:lnTo>
                  <a:lnTo>
                    <a:pt x="1126" y="2230"/>
                  </a:lnTo>
                  <a:lnTo>
                    <a:pt x="1123" y="2235"/>
                  </a:lnTo>
                  <a:lnTo>
                    <a:pt x="1119" y="2238"/>
                  </a:lnTo>
                  <a:lnTo>
                    <a:pt x="1114" y="2242"/>
                  </a:lnTo>
                  <a:lnTo>
                    <a:pt x="1110" y="2244"/>
                  </a:lnTo>
                  <a:lnTo>
                    <a:pt x="1106" y="2245"/>
                  </a:lnTo>
                  <a:lnTo>
                    <a:pt x="1101" y="2246"/>
                  </a:lnTo>
                  <a:lnTo>
                    <a:pt x="1100" y="2246"/>
                  </a:lnTo>
                  <a:lnTo>
                    <a:pt x="1097" y="2246"/>
                  </a:lnTo>
                  <a:lnTo>
                    <a:pt x="1092" y="2246"/>
                  </a:lnTo>
                  <a:lnTo>
                    <a:pt x="1086" y="2244"/>
                  </a:lnTo>
                  <a:lnTo>
                    <a:pt x="1081" y="2242"/>
                  </a:lnTo>
                  <a:lnTo>
                    <a:pt x="1077" y="2238"/>
                  </a:lnTo>
                  <a:lnTo>
                    <a:pt x="1077" y="2238"/>
                  </a:lnTo>
                  <a:lnTo>
                    <a:pt x="1066" y="2230"/>
                  </a:lnTo>
                  <a:lnTo>
                    <a:pt x="1056" y="2219"/>
                  </a:lnTo>
                  <a:lnTo>
                    <a:pt x="1046" y="2209"/>
                  </a:lnTo>
                  <a:lnTo>
                    <a:pt x="1038" y="2198"/>
                  </a:lnTo>
                  <a:lnTo>
                    <a:pt x="1030" y="2186"/>
                  </a:lnTo>
                  <a:lnTo>
                    <a:pt x="1023" y="2175"/>
                  </a:lnTo>
                  <a:lnTo>
                    <a:pt x="1017" y="2163"/>
                  </a:lnTo>
                  <a:lnTo>
                    <a:pt x="1011" y="2150"/>
                  </a:lnTo>
                  <a:lnTo>
                    <a:pt x="1005" y="2138"/>
                  </a:lnTo>
                  <a:lnTo>
                    <a:pt x="992" y="2138"/>
                  </a:lnTo>
                  <a:lnTo>
                    <a:pt x="955" y="2140"/>
                  </a:lnTo>
                  <a:lnTo>
                    <a:pt x="919" y="2142"/>
                  </a:lnTo>
                  <a:lnTo>
                    <a:pt x="882" y="2143"/>
                  </a:lnTo>
                  <a:lnTo>
                    <a:pt x="847" y="2143"/>
                  </a:lnTo>
                  <a:lnTo>
                    <a:pt x="824" y="2144"/>
                  </a:lnTo>
                  <a:lnTo>
                    <a:pt x="829" y="2166"/>
                  </a:lnTo>
                  <a:lnTo>
                    <a:pt x="833" y="2183"/>
                  </a:lnTo>
                  <a:lnTo>
                    <a:pt x="837" y="2199"/>
                  </a:lnTo>
                  <a:lnTo>
                    <a:pt x="839" y="2216"/>
                  </a:lnTo>
                  <a:lnTo>
                    <a:pt x="841" y="2232"/>
                  </a:lnTo>
                  <a:lnTo>
                    <a:pt x="842" y="2236"/>
                  </a:lnTo>
                  <a:lnTo>
                    <a:pt x="842" y="2238"/>
                  </a:lnTo>
                  <a:lnTo>
                    <a:pt x="841" y="2243"/>
                  </a:lnTo>
                  <a:lnTo>
                    <a:pt x="840" y="2249"/>
                  </a:lnTo>
                  <a:lnTo>
                    <a:pt x="839" y="2253"/>
                  </a:lnTo>
                  <a:lnTo>
                    <a:pt x="835" y="2257"/>
                  </a:lnTo>
                  <a:lnTo>
                    <a:pt x="835" y="2257"/>
                  </a:lnTo>
                  <a:lnTo>
                    <a:pt x="835" y="2257"/>
                  </a:lnTo>
                  <a:lnTo>
                    <a:pt x="831" y="2263"/>
                  </a:lnTo>
                  <a:lnTo>
                    <a:pt x="825" y="2266"/>
                  </a:lnTo>
                  <a:lnTo>
                    <a:pt x="819" y="2270"/>
                  </a:lnTo>
                  <a:lnTo>
                    <a:pt x="812" y="2271"/>
                  </a:lnTo>
                  <a:lnTo>
                    <a:pt x="805" y="2272"/>
                  </a:lnTo>
                  <a:lnTo>
                    <a:pt x="799" y="2278"/>
                  </a:lnTo>
                  <a:lnTo>
                    <a:pt x="813" y="2291"/>
                  </a:lnTo>
                  <a:lnTo>
                    <a:pt x="806" y="2273"/>
                  </a:lnTo>
                  <a:lnTo>
                    <a:pt x="800" y="2275"/>
                  </a:lnTo>
                  <a:lnTo>
                    <a:pt x="797" y="2276"/>
                  </a:lnTo>
                  <a:lnTo>
                    <a:pt x="795" y="2276"/>
                  </a:lnTo>
                  <a:lnTo>
                    <a:pt x="795" y="2276"/>
                  </a:lnTo>
                  <a:lnTo>
                    <a:pt x="795" y="2277"/>
                  </a:lnTo>
                  <a:lnTo>
                    <a:pt x="795" y="2276"/>
                  </a:lnTo>
                  <a:lnTo>
                    <a:pt x="795" y="2276"/>
                  </a:lnTo>
                  <a:lnTo>
                    <a:pt x="795" y="2277"/>
                  </a:lnTo>
                  <a:lnTo>
                    <a:pt x="795" y="2276"/>
                  </a:lnTo>
                  <a:lnTo>
                    <a:pt x="794" y="2278"/>
                  </a:lnTo>
                  <a:lnTo>
                    <a:pt x="797" y="2276"/>
                  </a:lnTo>
                  <a:lnTo>
                    <a:pt x="795" y="2276"/>
                  </a:lnTo>
                  <a:lnTo>
                    <a:pt x="794" y="2278"/>
                  </a:lnTo>
                  <a:lnTo>
                    <a:pt x="797" y="2276"/>
                  </a:lnTo>
                  <a:lnTo>
                    <a:pt x="795" y="2277"/>
                  </a:lnTo>
                  <a:lnTo>
                    <a:pt x="797" y="2276"/>
                  </a:lnTo>
                  <a:lnTo>
                    <a:pt x="797" y="2276"/>
                  </a:lnTo>
                  <a:lnTo>
                    <a:pt x="795" y="2277"/>
                  </a:lnTo>
                  <a:lnTo>
                    <a:pt x="797" y="2276"/>
                  </a:lnTo>
                  <a:lnTo>
                    <a:pt x="794" y="2272"/>
                  </a:lnTo>
                  <a:lnTo>
                    <a:pt x="789" y="2270"/>
                  </a:lnTo>
                  <a:lnTo>
                    <a:pt x="782" y="2265"/>
                  </a:lnTo>
                  <a:lnTo>
                    <a:pt x="778" y="2260"/>
                  </a:lnTo>
                  <a:lnTo>
                    <a:pt x="775" y="2257"/>
                  </a:lnTo>
                  <a:lnTo>
                    <a:pt x="773" y="2250"/>
                  </a:lnTo>
                  <a:lnTo>
                    <a:pt x="773" y="2250"/>
                  </a:lnTo>
                  <a:lnTo>
                    <a:pt x="772" y="2238"/>
                  </a:lnTo>
                  <a:lnTo>
                    <a:pt x="769" y="2226"/>
                  </a:lnTo>
                  <a:lnTo>
                    <a:pt x="768" y="2220"/>
                  </a:lnTo>
                  <a:lnTo>
                    <a:pt x="767" y="2216"/>
                  </a:lnTo>
                  <a:lnTo>
                    <a:pt x="766" y="2212"/>
                  </a:lnTo>
                  <a:lnTo>
                    <a:pt x="764" y="2209"/>
                  </a:lnTo>
                  <a:lnTo>
                    <a:pt x="762" y="2206"/>
                  </a:lnTo>
                  <a:lnTo>
                    <a:pt x="759" y="2204"/>
                  </a:lnTo>
                  <a:lnTo>
                    <a:pt x="754" y="2202"/>
                  </a:lnTo>
                  <a:lnTo>
                    <a:pt x="747" y="2200"/>
                  </a:lnTo>
                  <a:lnTo>
                    <a:pt x="740" y="2200"/>
                  </a:lnTo>
                  <a:lnTo>
                    <a:pt x="738" y="2200"/>
                  </a:lnTo>
                  <a:lnTo>
                    <a:pt x="738" y="2219"/>
                  </a:lnTo>
                  <a:lnTo>
                    <a:pt x="749" y="2204"/>
                  </a:lnTo>
                  <a:lnTo>
                    <a:pt x="738" y="2196"/>
                  </a:lnTo>
                  <a:lnTo>
                    <a:pt x="707" y="2175"/>
                  </a:lnTo>
                  <a:lnTo>
                    <a:pt x="685" y="2160"/>
                  </a:lnTo>
                  <a:lnTo>
                    <a:pt x="659" y="2146"/>
                  </a:lnTo>
                  <a:lnTo>
                    <a:pt x="631" y="2131"/>
                  </a:lnTo>
                  <a:lnTo>
                    <a:pt x="599" y="2117"/>
                  </a:lnTo>
                  <a:lnTo>
                    <a:pt x="575" y="2106"/>
                  </a:lnTo>
                  <a:lnTo>
                    <a:pt x="573" y="2132"/>
                  </a:lnTo>
                  <a:lnTo>
                    <a:pt x="572" y="2144"/>
                  </a:lnTo>
                  <a:lnTo>
                    <a:pt x="569" y="2155"/>
                  </a:lnTo>
                  <a:lnTo>
                    <a:pt x="566" y="2164"/>
                  </a:lnTo>
                  <a:lnTo>
                    <a:pt x="562" y="2172"/>
                  </a:lnTo>
                  <a:lnTo>
                    <a:pt x="559" y="2182"/>
                  </a:lnTo>
                  <a:lnTo>
                    <a:pt x="554" y="2191"/>
                  </a:lnTo>
                  <a:lnTo>
                    <a:pt x="548" y="2199"/>
                  </a:lnTo>
                  <a:lnTo>
                    <a:pt x="541" y="2210"/>
                  </a:lnTo>
                  <a:lnTo>
                    <a:pt x="541" y="2210"/>
                  </a:lnTo>
                  <a:lnTo>
                    <a:pt x="536" y="2215"/>
                  </a:lnTo>
                  <a:lnTo>
                    <a:pt x="530" y="2219"/>
                  </a:lnTo>
                  <a:lnTo>
                    <a:pt x="526" y="2222"/>
                  </a:lnTo>
                  <a:lnTo>
                    <a:pt x="520" y="2223"/>
                  </a:lnTo>
                  <a:lnTo>
                    <a:pt x="515" y="2224"/>
                  </a:lnTo>
                  <a:lnTo>
                    <a:pt x="512" y="2223"/>
                  </a:lnTo>
                  <a:lnTo>
                    <a:pt x="507" y="2222"/>
                  </a:lnTo>
                  <a:lnTo>
                    <a:pt x="502" y="2220"/>
                  </a:lnTo>
                  <a:lnTo>
                    <a:pt x="499" y="2218"/>
                  </a:lnTo>
                  <a:lnTo>
                    <a:pt x="494" y="2216"/>
                  </a:lnTo>
                  <a:lnTo>
                    <a:pt x="490" y="2212"/>
                  </a:lnTo>
                  <a:lnTo>
                    <a:pt x="488" y="2209"/>
                  </a:lnTo>
                  <a:lnTo>
                    <a:pt x="485" y="2205"/>
                  </a:lnTo>
                  <a:lnTo>
                    <a:pt x="482" y="2200"/>
                  </a:lnTo>
                  <a:lnTo>
                    <a:pt x="481" y="2196"/>
                  </a:lnTo>
                  <a:lnTo>
                    <a:pt x="480" y="2192"/>
                  </a:lnTo>
                  <a:lnTo>
                    <a:pt x="480" y="2187"/>
                  </a:lnTo>
                  <a:lnTo>
                    <a:pt x="480" y="2183"/>
                  </a:lnTo>
                  <a:lnTo>
                    <a:pt x="481" y="2177"/>
                  </a:lnTo>
                  <a:lnTo>
                    <a:pt x="483" y="2172"/>
                  </a:lnTo>
                  <a:lnTo>
                    <a:pt x="487" y="2167"/>
                  </a:lnTo>
                  <a:lnTo>
                    <a:pt x="487" y="2167"/>
                  </a:lnTo>
                  <a:lnTo>
                    <a:pt x="492" y="2159"/>
                  </a:lnTo>
                  <a:lnTo>
                    <a:pt x="496" y="2150"/>
                  </a:lnTo>
                  <a:lnTo>
                    <a:pt x="500" y="2142"/>
                  </a:lnTo>
                  <a:lnTo>
                    <a:pt x="502" y="2133"/>
                  </a:lnTo>
                  <a:lnTo>
                    <a:pt x="506" y="2116"/>
                  </a:lnTo>
                  <a:lnTo>
                    <a:pt x="507" y="2098"/>
                  </a:lnTo>
                  <a:lnTo>
                    <a:pt x="506" y="2083"/>
                  </a:lnTo>
                  <a:lnTo>
                    <a:pt x="505" y="2069"/>
                  </a:lnTo>
                  <a:lnTo>
                    <a:pt x="503" y="2058"/>
                  </a:lnTo>
                  <a:lnTo>
                    <a:pt x="494" y="2054"/>
                  </a:lnTo>
                  <a:lnTo>
                    <a:pt x="465" y="2039"/>
                  </a:lnTo>
                  <a:lnTo>
                    <a:pt x="436" y="2023"/>
                  </a:lnTo>
                  <a:lnTo>
                    <a:pt x="409" y="2006"/>
                  </a:lnTo>
                  <a:lnTo>
                    <a:pt x="382" y="1989"/>
                  </a:lnTo>
                  <a:lnTo>
                    <a:pt x="367" y="1977"/>
                  </a:lnTo>
                  <a:lnTo>
                    <a:pt x="356" y="1993"/>
                  </a:lnTo>
                  <a:lnTo>
                    <a:pt x="343" y="2011"/>
                  </a:lnTo>
                  <a:lnTo>
                    <a:pt x="329" y="2026"/>
                  </a:lnTo>
                  <a:lnTo>
                    <a:pt x="343" y="2039"/>
                  </a:lnTo>
                  <a:lnTo>
                    <a:pt x="330" y="2026"/>
                  </a:lnTo>
                  <a:lnTo>
                    <a:pt x="324" y="2030"/>
                  </a:lnTo>
                  <a:lnTo>
                    <a:pt x="320" y="2033"/>
                  </a:lnTo>
                  <a:lnTo>
                    <a:pt x="314" y="2036"/>
                  </a:lnTo>
                  <a:lnTo>
                    <a:pt x="309" y="2037"/>
                  </a:lnTo>
                  <a:lnTo>
                    <a:pt x="309" y="2037"/>
                  </a:lnTo>
                  <a:lnTo>
                    <a:pt x="304" y="2037"/>
                  </a:lnTo>
                  <a:lnTo>
                    <a:pt x="299" y="2037"/>
                  </a:lnTo>
                  <a:lnTo>
                    <a:pt x="294" y="2036"/>
                  </a:lnTo>
                  <a:lnTo>
                    <a:pt x="289" y="2033"/>
                  </a:lnTo>
                  <a:lnTo>
                    <a:pt x="283" y="2031"/>
                  </a:lnTo>
                  <a:lnTo>
                    <a:pt x="280" y="2029"/>
                  </a:lnTo>
                  <a:lnTo>
                    <a:pt x="275" y="2025"/>
                  </a:lnTo>
                  <a:lnTo>
                    <a:pt x="273" y="2020"/>
                  </a:lnTo>
                  <a:lnTo>
                    <a:pt x="270" y="2017"/>
                  </a:lnTo>
                  <a:lnTo>
                    <a:pt x="269" y="2016"/>
                  </a:lnTo>
                  <a:lnTo>
                    <a:pt x="269" y="2016"/>
                  </a:lnTo>
                  <a:lnTo>
                    <a:pt x="268" y="2010"/>
                  </a:lnTo>
                  <a:lnTo>
                    <a:pt x="267" y="2004"/>
                  </a:lnTo>
                  <a:lnTo>
                    <a:pt x="267" y="1999"/>
                  </a:lnTo>
                  <a:lnTo>
                    <a:pt x="269" y="1993"/>
                  </a:lnTo>
                  <a:lnTo>
                    <a:pt x="271" y="1989"/>
                  </a:lnTo>
                  <a:lnTo>
                    <a:pt x="276" y="1983"/>
                  </a:lnTo>
                  <a:lnTo>
                    <a:pt x="276" y="1983"/>
                  </a:lnTo>
                  <a:lnTo>
                    <a:pt x="283" y="1976"/>
                  </a:lnTo>
                  <a:lnTo>
                    <a:pt x="290" y="1966"/>
                  </a:lnTo>
                  <a:lnTo>
                    <a:pt x="297" y="1957"/>
                  </a:lnTo>
                  <a:lnTo>
                    <a:pt x="304" y="1946"/>
                  </a:lnTo>
                  <a:lnTo>
                    <a:pt x="311" y="1933"/>
                  </a:lnTo>
                  <a:lnTo>
                    <a:pt x="301" y="1924"/>
                  </a:lnTo>
                  <a:lnTo>
                    <a:pt x="282" y="1906"/>
                  </a:lnTo>
                  <a:lnTo>
                    <a:pt x="264" y="1888"/>
                  </a:lnTo>
                  <a:lnTo>
                    <a:pt x="248" y="1871"/>
                  </a:lnTo>
                  <a:lnTo>
                    <a:pt x="233" y="1852"/>
                  </a:lnTo>
                  <a:lnTo>
                    <a:pt x="222" y="1838"/>
                  </a:lnTo>
                  <a:lnTo>
                    <a:pt x="208" y="1848"/>
                  </a:lnTo>
                  <a:lnTo>
                    <a:pt x="200" y="1854"/>
                  </a:lnTo>
                  <a:lnTo>
                    <a:pt x="193" y="1860"/>
                  </a:lnTo>
                  <a:lnTo>
                    <a:pt x="204" y="1874"/>
                  </a:lnTo>
                  <a:lnTo>
                    <a:pt x="193" y="1859"/>
                  </a:lnTo>
                  <a:lnTo>
                    <a:pt x="184" y="1865"/>
                  </a:lnTo>
                  <a:lnTo>
                    <a:pt x="176" y="1866"/>
                  </a:lnTo>
                  <a:lnTo>
                    <a:pt x="176" y="1866"/>
                  </a:lnTo>
                  <a:lnTo>
                    <a:pt x="173" y="1867"/>
                  </a:lnTo>
                  <a:lnTo>
                    <a:pt x="168" y="1866"/>
                  </a:lnTo>
                  <a:lnTo>
                    <a:pt x="163" y="1865"/>
                  </a:lnTo>
                  <a:lnTo>
                    <a:pt x="158" y="1864"/>
                  </a:lnTo>
                  <a:lnTo>
                    <a:pt x="154" y="1860"/>
                  </a:lnTo>
                  <a:lnTo>
                    <a:pt x="149" y="1857"/>
                  </a:lnTo>
                  <a:lnTo>
                    <a:pt x="145" y="1853"/>
                  </a:lnTo>
                  <a:lnTo>
                    <a:pt x="142" y="1848"/>
                  </a:lnTo>
                  <a:lnTo>
                    <a:pt x="140" y="1844"/>
                  </a:lnTo>
                  <a:lnTo>
                    <a:pt x="140" y="1844"/>
                  </a:lnTo>
                  <a:lnTo>
                    <a:pt x="138" y="1837"/>
                  </a:lnTo>
                  <a:lnTo>
                    <a:pt x="137" y="1831"/>
                  </a:lnTo>
                  <a:lnTo>
                    <a:pt x="138" y="1824"/>
                  </a:lnTo>
                  <a:lnTo>
                    <a:pt x="141" y="1817"/>
                  </a:lnTo>
                  <a:lnTo>
                    <a:pt x="145" y="1811"/>
                  </a:lnTo>
                  <a:lnTo>
                    <a:pt x="151" y="1805"/>
                  </a:lnTo>
                  <a:lnTo>
                    <a:pt x="151" y="1805"/>
                  </a:lnTo>
                  <a:lnTo>
                    <a:pt x="161" y="1798"/>
                  </a:lnTo>
                  <a:lnTo>
                    <a:pt x="171" y="1788"/>
                  </a:lnTo>
                  <a:lnTo>
                    <a:pt x="183" y="1779"/>
                  </a:lnTo>
                  <a:lnTo>
                    <a:pt x="176" y="1766"/>
                  </a:lnTo>
                  <a:lnTo>
                    <a:pt x="164" y="1742"/>
                  </a:lnTo>
                  <a:lnTo>
                    <a:pt x="155" y="1719"/>
                  </a:lnTo>
                  <a:lnTo>
                    <a:pt x="145" y="1695"/>
                  </a:lnTo>
                  <a:lnTo>
                    <a:pt x="137" y="1671"/>
                  </a:lnTo>
                  <a:lnTo>
                    <a:pt x="131" y="1646"/>
                  </a:lnTo>
                  <a:lnTo>
                    <a:pt x="125" y="1620"/>
                  </a:lnTo>
                  <a:lnTo>
                    <a:pt x="122" y="1594"/>
                  </a:lnTo>
                  <a:lnTo>
                    <a:pt x="120" y="1568"/>
                  </a:lnTo>
                  <a:lnTo>
                    <a:pt x="118" y="1553"/>
                  </a:lnTo>
                  <a:lnTo>
                    <a:pt x="102" y="1552"/>
                  </a:lnTo>
                  <a:lnTo>
                    <a:pt x="93" y="1551"/>
                  </a:lnTo>
                  <a:lnTo>
                    <a:pt x="84" y="1551"/>
                  </a:lnTo>
                  <a:lnTo>
                    <a:pt x="75" y="1549"/>
                  </a:lnTo>
                  <a:lnTo>
                    <a:pt x="65" y="1548"/>
                  </a:lnTo>
                  <a:lnTo>
                    <a:pt x="65" y="1548"/>
                  </a:lnTo>
                  <a:lnTo>
                    <a:pt x="60" y="1548"/>
                  </a:lnTo>
                  <a:lnTo>
                    <a:pt x="54" y="1546"/>
                  </a:lnTo>
                  <a:lnTo>
                    <a:pt x="49" y="1544"/>
                  </a:lnTo>
                  <a:lnTo>
                    <a:pt x="45" y="1540"/>
                  </a:lnTo>
                  <a:lnTo>
                    <a:pt x="42" y="1535"/>
                  </a:lnTo>
                  <a:lnTo>
                    <a:pt x="40" y="1531"/>
                  </a:lnTo>
                  <a:lnTo>
                    <a:pt x="37" y="1525"/>
                  </a:lnTo>
                  <a:lnTo>
                    <a:pt x="37" y="1519"/>
                  </a:lnTo>
                  <a:lnTo>
                    <a:pt x="37" y="1519"/>
                  </a:lnTo>
                  <a:lnTo>
                    <a:pt x="37" y="1518"/>
                  </a:lnTo>
                  <a:lnTo>
                    <a:pt x="37" y="1518"/>
                  </a:lnTo>
                  <a:lnTo>
                    <a:pt x="37" y="1509"/>
                  </a:lnTo>
                  <a:lnTo>
                    <a:pt x="40" y="1502"/>
                  </a:lnTo>
                  <a:lnTo>
                    <a:pt x="43" y="1496"/>
                  </a:lnTo>
                  <a:lnTo>
                    <a:pt x="47" y="1491"/>
                  </a:lnTo>
                  <a:lnTo>
                    <a:pt x="52" y="1487"/>
                  </a:lnTo>
                  <a:lnTo>
                    <a:pt x="57" y="1484"/>
                  </a:lnTo>
                  <a:lnTo>
                    <a:pt x="64" y="1481"/>
                  </a:lnTo>
                  <a:lnTo>
                    <a:pt x="73" y="1480"/>
                  </a:lnTo>
                  <a:lnTo>
                    <a:pt x="75" y="1480"/>
                  </a:lnTo>
                  <a:lnTo>
                    <a:pt x="76" y="1480"/>
                  </a:lnTo>
                  <a:lnTo>
                    <a:pt x="76" y="1481"/>
                  </a:lnTo>
                  <a:lnTo>
                    <a:pt x="88" y="1481"/>
                  </a:lnTo>
                  <a:lnTo>
                    <a:pt x="101" y="1482"/>
                  </a:lnTo>
                  <a:lnTo>
                    <a:pt x="118" y="1482"/>
                  </a:lnTo>
                  <a:lnTo>
                    <a:pt x="120" y="1466"/>
                  </a:lnTo>
                  <a:lnTo>
                    <a:pt x="123" y="1443"/>
                  </a:lnTo>
                  <a:lnTo>
                    <a:pt x="127" y="1421"/>
                  </a:lnTo>
                  <a:lnTo>
                    <a:pt x="130" y="1398"/>
                  </a:lnTo>
                  <a:lnTo>
                    <a:pt x="135" y="1374"/>
                  </a:lnTo>
                  <a:lnTo>
                    <a:pt x="138" y="1359"/>
                  </a:lnTo>
                  <a:lnTo>
                    <a:pt x="124" y="1353"/>
                  </a:lnTo>
                  <a:lnTo>
                    <a:pt x="107" y="1346"/>
                  </a:lnTo>
                  <a:lnTo>
                    <a:pt x="89" y="1339"/>
                  </a:lnTo>
                  <a:lnTo>
                    <a:pt x="89" y="1339"/>
                  </a:lnTo>
                  <a:lnTo>
                    <a:pt x="84" y="1335"/>
                  </a:lnTo>
                  <a:lnTo>
                    <a:pt x="81" y="1333"/>
                  </a:lnTo>
                  <a:lnTo>
                    <a:pt x="77" y="1329"/>
                  </a:lnTo>
                  <a:lnTo>
                    <a:pt x="74" y="1326"/>
                  </a:lnTo>
                  <a:lnTo>
                    <a:pt x="73" y="1322"/>
                  </a:lnTo>
                  <a:lnTo>
                    <a:pt x="70" y="1318"/>
                  </a:lnTo>
                  <a:lnTo>
                    <a:pt x="69" y="1313"/>
                  </a:lnTo>
                  <a:lnTo>
                    <a:pt x="69" y="1308"/>
                  </a:lnTo>
                  <a:lnTo>
                    <a:pt x="69" y="1305"/>
                  </a:lnTo>
                  <a:lnTo>
                    <a:pt x="69" y="1302"/>
                  </a:lnTo>
                  <a:lnTo>
                    <a:pt x="69" y="1302"/>
                  </a:lnTo>
                  <a:lnTo>
                    <a:pt x="71" y="1296"/>
                  </a:lnTo>
                  <a:lnTo>
                    <a:pt x="74" y="1290"/>
                  </a:lnTo>
                  <a:lnTo>
                    <a:pt x="76" y="1286"/>
                  </a:lnTo>
                  <a:lnTo>
                    <a:pt x="80" y="1281"/>
                  </a:lnTo>
                  <a:lnTo>
                    <a:pt x="84" y="1278"/>
                  </a:lnTo>
                  <a:lnTo>
                    <a:pt x="89" y="1275"/>
                  </a:lnTo>
                  <a:lnTo>
                    <a:pt x="94" y="1273"/>
                  </a:lnTo>
                  <a:lnTo>
                    <a:pt x="98" y="1272"/>
                  </a:lnTo>
                  <a:lnTo>
                    <a:pt x="98" y="1272"/>
                  </a:lnTo>
                  <a:lnTo>
                    <a:pt x="102" y="1272"/>
                  </a:lnTo>
                  <a:lnTo>
                    <a:pt x="109" y="1273"/>
                  </a:lnTo>
                  <a:lnTo>
                    <a:pt x="116" y="1275"/>
                  </a:lnTo>
                  <a:lnTo>
                    <a:pt x="124" y="1257"/>
                  </a:lnTo>
                  <a:lnTo>
                    <a:pt x="116" y="1275"/>
                  </a:lnTo>
                  <a:lnTo>
                    <a:pt x="129" y="1281"/>
                  </a:lnTo>
                  <a:lnTo>
                    <a:pt x="140" y="1286"/>
                  </a:lnTo>
                  <a:lnTo>
                    <a:pt x="158" y="1293"/>
                  </a:lnTo>
                  <a:lnTo>
                    <a:pt x="164" y="1274"/>
                  </a:lnTo>
                  <a:lnTo>
                    <a:pt x="174" y="1248"/>
                  </a:lnTo>
                  <a:lnTo>
                    <a:pt x="184" y="1222"/>
                  </a:lnTo>
                  <a:lnTo>
                    <a:pt x="194" y="1195"/>
                  </a:lnTo>
                  <a:lnTo>
                    <a:pt x="204" y="1168"/>
                  </a:lnTo>
                  <a:lnTo>
                    <a:pt x="211" y="1154"/>
                  </a:lnTo>
                  <a:lnTo>
                    <a:pt x="197" y="1146"/>
                  </a:lnTo>
                  <a:lnTo>
                    <a:pt x="194" y="1143"/>
                  </a:lnTo>
                  <a:lnTo>
                    <a:pt x="190" y="1141"/>
                  </a:lnTo>
                  <a:lnTo>
                    <a:pt x="189" y="1141"/>
                  </a:lnTo>
                  <a:lnTo>
                    <a:pt x="173" y="1132"/>
                  </a:lnTo>
                  <a:lnTo>
                    <a:pt x="155" y="1121"/>
                  </a:lnTo>
                  <a:lnTo>
                    <a:pt x="155" y="1121"/>
                  </a:lnTo>
                  <a:lnTo>
                    <a:pt x="150" y="1117"/>
                  </a:lnTo>
                  <a:lnTo>
                    <a:pt x="147" y="1113"/>
                  </a:lnTo>
                  <a:lnTo>
                    <a:pt x="144" y="1107"/>
                  </a:lnTo>
                  <a:lnTo>
                    <a:pt x="142" y="1101"/>
                  </a:lnTo>
                  <a:lnTo>
                    <a:pt x="142" y="1097"/>
                  </a:lnTo>
                  <a:lnTo>
                    <a:pt x="142" y="1094"/>
                  </a:lnTo>
                  <a:lnTo>
                    <a:pt x="142" y="1088"/>
                  </a:lnTo>
                  <a:lnTo>
                    <a:pt x="144" y="1082"/>
                  </a:lnTo>
                  <a:lnTo>
                    <a:pt x="147" y="1077"/>
                  </a:lnTo>
                  <a:lnTo>
                    <a:pt x="149" y="1073"/>
                  </a:lnTo>
                  <a:lnTo>
                    <a:pt x="149" y="1073"/>
                  </a:lnTo>
                  <a:lnTo>
                    <a:pt x="149" y="1073"/>
                  </a:lnTo>
                  <a:lnTo>
                    <a:pt x="155" y="1067"/>
                  </a:lnTo>
                  <a:lnTo>
                    <a:pt x="161" y="1063"/>
                  </a:lnTo>
                  <a:lnTo>
                    <a:pt x="168" y="1061"/>
                  </a:lnTo>
                  <a:lnTo>
                    <a:pt x="176" y="1060"/>
                  </a:lnTo>
                  <a:lnTo>
                    <a:pt x="181" y="1060"/>
                  </a:lnTo>
                  <a:lnTo>
                    <a:pt x="187" y="1061"/>
                  </a:lnTo>
                  <a:lnTo>
                    <a:pt x="193" y="1063"/>
                  </a:lnTo>
                  <a:lnTo>
                    <a:pt x="197" y="1066"/>
                  </a:lnTo>
                  <a:lnTo>
                    <a:pt x="197" y="1067"/>
                  </a:lnTo>
                  <a:lnTo>
                    <a:pt x="197" y="1067"/>
                  </a:lnTo>
                  <a:lnTo>
                    <a:pt x="208" y="1073"/>
                  </a:lnTo>
                  <a:lnTo>
                    <a:pt x="220" y="1080"/>
                  </a:lnTo>
                  <a:lnTo>
                    <a:pt x="237" y="1090"/>
                  </a:lnTo>
                  <a:lnTo>
                    <a:pt x="246" y="1070"/>
                  </a:lnTo>
                  <a:lnTo>
                    <a:pt x="257" y="1043"/>
                  </a:lnTo>
                  <a:lnTo>
                    <a:pt x="270" y="1016"/>
                  </a:lnTo>
                  <a:lnTo>
                    <a:pt x="283" y="989"/>
                  </a:lnTo>
                  <a:lnTo>
                    <a:pt x="296" y="962"/>
                  </a:lnTo>
                  <a:lnTo>
                    <a:pt x="306" y="942"/>
                  </a:lnTo>
                  <a:lnTo>
                    <a:pt x="284" y="936"/>
                  </a:lnTo>
                  <a:lnTo>
                    <a:pt x="271" y="931"/>
                  </a:lnTo>
                  <a:lnTo>
                    <a:pt x="257" y="929"/>
                  </a:lnTo>
                  <a:lnTo>
                    <a:pt x="257" y="929"/>
                  </a:lnTo>
                  <a:lnTo>
                    <a:pt x="250" y="927"/>
                  </a:lnTo>
                  <a:lnTo>
                    <a:pt x="246" y="924"/>
                  </a:lnTo>
                  <a:lnTo>
                    <a:pt x="241" y="921"/>
                  </a:lnTo>
                  <a:lnTo>
                    <a:pt x="236" y="916"/>
                  </a:lnTo>
                  <a:lnTo>
                    <a:pt x="234" y="911"/>
                  </a:lnTo>
                  <a:lnTo>
                    <a:pt x="231" y="907"/>
                  </a:lnTo>
                  <a:lnTo>
                    <a:pt x="229" y="901"/>
                  </a:lnTo>
                  <a:lnTo>
                    <a:pt x="229" y="894"/>
                  </a:lnTo>
                  <a:lnTo>
                    <a:pt x="229" y="893"/>
                  </a:lnTo>
                  <a:lnTo>
                    <a:pt x="229" y="893"/>
                  </a:lnTo>
                  <a:lnTo>
                    <a:pt x="230" y="886"/>
                  </a:lnTo>
                  <a:lnTo>
                    <a:pt x="231" y="880"/>
                  </a:lnTo>
                  <a:lnTo>
                    <a:pt x="235" y="874"/>
                  </a:lnTo>
                  <a:lnTo>
                    <a:pt x="238" y="869"/>
                  </a:lnTo>
                  <a:lnTo>
                    <a:pt x="243" y="865"/>
                  </a:lnTo>
                  <a:lnTo>
                    <a:pt x="248" y="862"/>
                  </a:lnTo>
                  <a:lnTo>
                    <a:pt x="254" y="861"/>
                  </a:lnTo>
                  <a:lnTo>
                    <a:pt x="261" y="860"/>
                  </a:lnTo>
                  <a:lnTo>
                    <a:pt x="263" y="860"/>
                  </a:lnTo>
                  <a:lnTo>
                    <a:pt x="267" y="861"/>
                  </a:lnTo>
                  <a:lnTo>
                    <a:pt x="267" y="861"/>
                  </a:lnTo>
                  <a:lnTo>
                    <a:pt x="281" y="863"/>
                  </a:lnTo>
                  <a:lnTo>
                    <a:pt x="294" y="867"/>
                  </a:lnTo>
                  <a:lnTo>
                    <a:pt x="308" y="871"/>
                  </a:lnTo>
                  <a:lnTo>
                    <a:pt x="321" y="876"/>
                  </a:lnTo>
                  <a:lnTo>
                    <a:pt x="336" y="881"/>
                  </a:lnTo>
                  <a:lnTo>
                    <a:pt x="343" y="867"/>
                  </a:lnTo>
                  <a:lnTo>
                    <a:pt x="356" y="842"/>
                  </a:lnTo>
                  <a:lnTo>
                    <a:pt x="370" y="817"/>
                  </a:lnTo>
                  <a:lnTo>
                    <a:pt x="383" y="793"/>
                  </a:lnTo>
                  <a:lnTo>
                    <a:pt x="397" y="768"/>
                  </a:lnTo>
                  <a:lnTo>
                    <a:pt x="407" y="751"/>
                  </a:lnTo>
                  <a:lnTo>
                    <a:pt x="389" y="742"/>
                  </a:lnTo>
                  <a:lnTo>
                    <a:pt x="374" y="734"/>
                  </a:lnTo>
                  <a:lnTo>
                    <a:pt x="359" y="724"/>
                  </a:lnTo>
                  <a:lnTo>
                    <a:pt x="359" y="724"/>
                  </a:lnTo>
                  <a:lnTo>
                    <a:pt x="359" y="724"/>
                  </a:lnTo>
                  <a:lnTo>
                    <a:pt x="354" y="721"/>
                  </a:lnTo>
                  <a:lnTo>
                    <a:pt x="350" y="716"/>
                  </a:lnTo>
                  <a:lnTo>
                    <a:pt x="347" y="711"/>
                  </a:lnTo>
                  <a:lnTo>
                    <a:pt x="346" y="704"/>
                  </a:lnTo>
                  <a:lnTo>
                    <a:pt x="346" y="704"/>
                  </a:lnTo>
                  <a:lnTo>
                    <a:pt x="346" y="704"/>
                  </a:lnTo>
                  <a:lnTo>
                    <a:pt x="346" y="701"/>
                  </a:lnTo>
                  <a:lnTo>
                    <a:pt x="344" y="697"/>
                  </a:lnTo>
                  <a:lnTo>
                    <a:pt x="346" y="691"/>
                  </a:lnTo>
                  <a:lnTo>
                    <a:pt x="347" y="685"/>
                  </a:lnTo>
                  <a:lnTo>
                    <a:pt x="349" y="681"/>
                  </a:lnTo>
                  <a:lnTo>
                    <a:pt x="353" y="676"/>
                  </a:lnTo>
                  <a:lnTo>
                    <a:pt x="353" y="676"/>
                  </a:lnTo>
                  <a:lnTo>
                    <a:pt x="357" y="670"/>
                  </a:lnTo>
                  <a:lnTo>
                    <a:pt x="363" y="667"/>
                  </a:lnTo>
                  <a:lnTo>
                    <a:pt x="370" y="664"/>
                  </a:lnTo>
                  <a:lnTo>
                    <a:pt x="379" y="663"/>
                  </a:lnTo>
                  <a:lnTo>
                    <a:pt x="384" y="664"/>
                  </a:lnTo>
                  <a:lnTo>
                    <a:pt x="389" y="665"/>
                  </a:lnTo>
                  <a:lnTo>
                    <a:pt x="395" y="667"/>
                  </a:lnTo>
                  <a:lnTo>
                    <a:pt x="401" y="670"/>
                  </a:lnTo>
                  <a:lnTo>
                    <a:pt x="410" y="654"/>
                  </a:lnTo>
                  <a:lnTo>
                    <a:pt x="400" y="670"/>
                  </a:lnTo>
                  <a:lnTo>
                    <a:pt x="413" y="677"/>
                  </a:lnTo>
                  <a:lnTo>
                    <a:pt x="427" y="684"/>
                  </a:lnTo>
                  <a:lnTo>
                    <a:pt x="442" y="692"/>
                  </a:lnTo>
                  <a:lnTo>
                    <a:pt x="450" y="678"/>
                  </a:lnTo>
                  <a:lnTo>
                    <a:pt x="466" y="654"/>
                  </a:lnTo>
                  <a:lnTo>
                    <a:pt x="482" y="629"/>
                  </a:lnTo>
                  <a:lnTo>
                    <a:pt x="497" y="605"/>
                  </a:lnTo>
                  <a:lnTo>
                    <a:pt x="513" y="583"/>
                  </a:lnTo>
                  <a:lnTo>
                    <a:pt x="528" y="562"/>
                  </a:lnTo>
                  <a:lnTo>
                    <a:pt x="503" y="555"/>
                  </a:lnTo>
                  <a:lnTo>
                    <a:pt x="492" y="551"/>
                  </a:lnTo>
                  <a:lnTo>
                    <a:pt x="481" y="548"/>
                  </a:lnTo>
                  <a:lnTo>
                    <a:pt x="480" y="548"/>
                  </a:lnTo>
                  <a:lnTo>
                    <a:pt x="480" y="548"/>
                  </a:lnTo>
                  <a:lnTo>
                    <a:pt x="475" y="545"/>
                  </a:lnTo>
                  <a:lnTo>
                    <a:pt x="470" y="542"/>
                  </a:lnTo>
                  <a:lnTo>
                    <a:pt x="466" y="537"/>
                  </a:lnTo>
                  <a:lnTo>
                    <a:pt x="462" y="532"/>
                  </a:lnTo>
                  <a:lnTo>
                    <a:pt x="463" y="532"/>
                  </a:lnTo>
                  <a:lnTo>
                    <a:pt x="460" y="524"/>
                  </a:lnTo>
                  <a:lnTo>
                    <a:pt x="459" y="516"/>
                  </a:lnTo>
                  <a:lnTo>
                    <a:pt x="460" y="509"/>
                  </a:lnTo>
                  <a:lnTo>
                    <a:pt x="462" y="502"/>
                  </a:lnTo>
                  <a:lnTo>
                    <a:pt x="462" y="502"/>
                  </a:lnTo>
                  <a:lnTo>
                    <a:pt x="465" y="497"/>
                  </a:lnTo>
                  <a:lnTo>
                    <a:pt x="467" y="494"/>
                  </a:lnTo>
                  <a:lnTo>
                    <a:pt x="470" y="490"/>
                  </a:lnTo>
                  <a:lnTo>
                    <a:pt x="474" y="488"/>
                  </a:lnTo>
                  <a:lnTo>
                    <a:pt x="479" y="485"/>
                  </a:lnTo>
                  <a:lnTo>
                    <a:pt x="483" y="483"/>
                  </a:lnTo>
                  <a:lnTo>
                    <a:pt x="488" y="482"/>
                  </a:lnTo>
                  <a:lnTo>
                    <a:pt x="494" y="482"/>
                  </a:lnTo>
                  <a:lnTo>
                    <a:pt x="500" y="483"/>
                  </a:lnTo>
                  <a:lnTo>
                    <a:pt x="507" y="484"/>
                  </a:lnTo>
                  <a:lnTo>
                    <a:pt x="507" y="484"/>
                  </a:lnTo>
                  <a:lnTo>
                    <a:pt x="521" y="488"/>
                  </a:lnTo>
                  <a:lnTo>
                    <a:pt x="534" y="491"/>
                  </a:lnTo>
                  <a:lnTo>
                    <a:pt x="547" y="495"/>
                  </a:lnTo>
                  <a:lnTo>
                    <a:pt x="560" y="498"/>
                  </a:lnTo>
                  <a:lnTo>
                    <a:pt x="572" y="501"/>
                  </a:lnTo>
                  <a:lnTo>
                    <a:pt x="579" y="491"/>
                  </a:lnTo>
                  <a:lnTo>
                    <a:pt x="593" y="472"/>
                  </a:lnTo>
                  <a:lnTo>
                    <a:pt x="608" y="455"/>
                  </a:lnTo>
                  <a:lnTo>
                    <a:pt x="622" y="437"/>
                  </a:lnTo>
                  <a:lnTo>
                    <a:pt x="636" y="421"/>
                  </a:lnTo>
                  <a:lnTo>
                    <a:pt x="654" y="398"/>
                  </a:lnTo>
                  <a:lnTo>
                    <a:pt x="628" y="390"/>
                  </a:lnTo>
                  <a:lnTo>
                    <a:pt x="622" y="388"/>
                  </a:lnTo>
                  <a:lnTo>
                    <a:pt x="618" y="385"/>
                  </a:lnTo>
                  <a:lnTo>
                    <a:pt x="614" y="382"/>
                  </a:lnTo>
                  <a:lnTo>
                    <a:pt x="611" y="378"/>
                  </a:lnTo>
                  <a:lnTo>
                    <a:pt x="607" y="373"/>
                  </a:lnTo>
                  <a:lnTo>
                    <a:pt x="605" y="368"/>
                  </a:lnTo>
                  <a:lnTo>
                    <a:pt x="603" y="362"/>
                  </a:lnTo>
                  <a:lnTo>
                    <a:pt x="603" y="356"/>
                  </a:lnTo>
                  <a:lnTo>
                    <a:pt x="603" y="353"/>
                  </a:lnTo>
                  <a:lnTo>
                    <a:pt x="605" y="348"/>
                  </a:lnTo>
                  <a:lnTo>
                    <a:pt x="606" y="340"/>
                  </a:lnTo>
                  <a:lnTo>
                    <a:pt x="609" y="336"/>
                  </a:lnTo>
                  <a:lnTo>
                    <a:pt x="613" y="331"/>
                  </a:lnTo>
                  <a:lnTo>
                    <a:pt x="618" y="328"/>
                  </a:lnTo>
                  <a:lnTo>
                    <a:pt x="622" y="324"/>
                  </a:lnTo>
                  <a:lnTo>
                    <a:pt x="628" y="323"/>
                  </a:lnTo>
                  <a:lnTo>
                    <a:pt x="634" y="322"/>
                  </a:lnTo>
                  <a:lnTo>
                    <a:pt x="638" y="322"/>
                  </a:lnTo>
                  <a:lnTo>
                    <a:pt x="641" y="323"/>
                  </a:lnTo>
                  <a:lnTo>
                    <a:pt x="655" y="326"/>
                  </a:lnTo>
                  <a:lnTo>
                    <a:pt x="668" y="330"/>
                  </a:lnTo>
                  <a:lnTo>
                    <a:pt x="681" y="335"/>
                  </a:lnTo>
                  <a:lnTo>
                    <a:pt x="694" y="339"/>
                  </a:lnTo>
                  <a:lnTo>
                    <a:pt x="705" y="344"/>
                  </a:lnTo>
                  <a:lnTo>
                    <a:pt x="714" y="336"/>
                  </a:lnTo>
                  <a:lnTo>
                    <a:pt x="729" y="319"/>
                  </a:lnTo>
                  <a:lnTo>
                    <a:pt x="746" y="304"/>
                  </a:lnTo>
                  <a:lnTo>
                    <a:pt x="761" y="290"/>
                  </a:lnTo>
                  <a:lnTo>
                    <a:pt x="778" y="276"/>
                  </a:lnTo>
                  <a:lnTo>
                    <a:pt x="798" y="258"/>
                  </a:lnTo>
                  <a:lnTo>
                    <a:pt x="774" y="245"/>
                  </a:lnTo>
                  <a:lnTo>
                    <a:pt x="769" y="243"/>
                  </a:lnTo>
                  <a:lnTo>
                    <a:pt x="765" y="240"/>
                  </a:lnTo>
                  <a:lnTo>
                    <a:pt x="755" y="257"/>
                  </a:lnTo>
                  <a:lnTo>
                    <a:pt x="766" y="240"/>
                  </a:lnTo>
                  <a:lnTo>
                    <a:pt x="761" y="237"/>
                  </a:lnTo>
                  <a:lnTo>
                    <a:pt x="758" y="232"/>
                  </a:lnTo>
                  <a:lnTo>
                    <a:pt x="754" y="227"/>
                  </a:lnTo>
                  <a:lnTo>
                    <a:pt x="753" y="220"/>
                  </a:lnTo>
                  <a:lnTo>
                    <a:pt x="752" y="217"/>
                  </a:lnTo>
                  <a:lnTo>
                    <a:pt x="752" y="213"/>
                  </a:lnTo>
                  <a:lnTo>
                    <a:pt x="753" y="207"/>
                  </a:lnTo>
                  <a:lnTo>
                    <a:pt x="754" y="202"/>
                  </a:lnTo>
                  <a:lnTo>
                    <a:pt x="756" y="197"/>
                  </a:lnTo>
                  <a:lnTo>
                    <a:pt x="759" y="192"/>
                  </a:lnTo>
                  <a:lnTo>
                    <a:pt x="759" y="192"/>
                  </a:lnTo>
                  <a:lnTo>
                    <a:pt x="765" y="186"/>
                  </a:lnTo>
                  <a:lnTo>
                    <a:pt x="771" y="183"/>
                  </a:lnTo>
                  <a:lnTo>
                    <a:pt x="778" y="180"/>
                  </a:lnTo>
                  <a:lnTo>
                    <a:pt x="786" y="179"/>
                  </a:lnTo>
                  <a:lnTo>
                    <a:pt x="791" y="179"/>
                  </a:lnTo>
                  <a:lnTo>
                    <a:pt x="797" y="180"/>
                  </a:lnTo>
                  <a:lnTo>
                    <a:pt x="802" y="183"/>
                  </a:lnTo>
                  <a:lnTo>
                    <a:pt x="807" y="185"/>
                  </a:lnTo>
                  <a:lnTo>
                    <a:pt x="817" y="170"/>
                  </a:lnTo>
                  <a:lnTo>
                    <a:pt x="807" y="185"/>
                  </a:lnTo>
                  <a:lnTo>
                    <a:pt x="818" y="191"/>
                  </a:lnTo>
                  <a:lnTo>
                    <a:pt x="828" y="197"/>
                  </a:lnTo>
                  <a:lnTo>
                    <a:pt x="839" y="203"/>
                  </a:lnTo>
                  <a:lnTo>
                    <a:pt x="852" y="209"/>
                  </a:lnTo>
                  <a:lnTo>
                    <a:pt x="860" y="212"/>
                  </a:lnTo>
                  <a:lnTo>
                    <a:pt x="870" y="206"/>
                  </a:lnTo>
                  <a:lnTo>
                    <a:pt x="894" y="191"/>
                  </a:lnTo>
                  <a:lnTo>
                    <a:pt x="920" y="177"/>
                  </a:lnTo>
                  <a:lnTo>
                    <a:pt x="945" y="165"/>
                  </a:lnTo>
                  <a:lnTo>
                    <a:pt x="970" y="154"/>
                  </a:lnTo>
                  <a:lnTo>
                    <a:pt x="986" y="147"/>
                  </a:lnTo>
                  <a:lnTo>
                    <a:pt x="981" y="132"/>
                  </a:lnTo>
                  <a:lnTo>
                    <a:pt x="977" y="119"/>
                  </a:lnTo>
                  <a:lnTo>
                    <a:pt x="974" y="107"/>
                  </a:lnTo>
                  <a:lnTo>
                    <a:pt x="971" y="96"/>
                  </a:lnTo>
                  <a:lnTo>
                    <a:pt x="967" y="85"/>
                  </a:lnTo>
                  <a:lnTo>
                    <a:pt x="967" y="84"/>
                  </a:lnTo>
                  <a:lnTo>
                    <a:pt x="966" y="78"/>
                  </a:lnTo>
                  <a:lnTo>
                    <a:pt x="966" y="72"/>
                  </a:lnTo>
                  <a:lnTo>
                    <a:pt x="966" y="66"/>
                  </a:lnTo>
                  <a:lnTo>
                    <a:pt x="967" y="61"/>
                  </a:lnTo>
                  <a:lnTo>
                    <a:pt x="968" y="57"/>
                  </a:lnTo>
                  <a:lnTo>
                    <a:pt x="971" y="52"/>
                  </a:lnTo>
                  <a:lnTo>
                    <a:pt x="974" y="49"/>
                  </a:lnTo>
                  <a:lnTo>
                    <a:pt x="978" y="45"/>
                  </a:lnTo>
                  <a:lnTo>
                    <a:pt x="981" y="43"/>
                  </a:lnTo>
                  <a:lnTo>
                    <a:pt x="986" y="40"/>
                  </a:lnTo>
                  <a:lnTo>
                    <a:pt x="979" y="23"/>
                  </a:lnTo>
                  <a:lnTo>
                    <a:pt x="986" y="40"/>
                  </a:lnTo>
                  <a:lnTo>
                    <a:pt x="992" y="38"/>
                  </a:lnTo>
                  <a:lnTo>
                    <a:pt x="999" y="38"/>
                  </a:lnTo>
                  <a:lnTo>
                    <a:pt x="1005" y="38"/>
                  </a:lnTo>
                  <a:lnTo>
                    <a:pt x="1010" y="39"/>
                  </a:lnTo>
                  <a:lnTo>
                    <a:pt x="1015" y="41"/>
                  </a:lnTo>
                  <a:lnTo>
                    <a:pt x="1020" y="44"/>
                  </a:lnTo>
                  <a:lnTo>
                    <a:pt x="1024" y="46"/>
                  </a:lnTo>
                  <a:lnTo>
                    <a:pt x="1027" y="50"/>
                  </a:lnTo>
                  <a:lnTo>
                    <a:pt x="1030" y="54"/>
                  </a:lnTo>
                  <a:lnTo>
                    <a:pt x="1032" y="59"/>
                  </a:lnTo>
                  <a:lnTo>
                    <a:pt x="1032" y="59"/>
                  </a:lnTo>
                  <a:lnTo>
                    <a:pt x="1035" y="73"/>
                  </a:lnTo>
                  <a:lnTo>
                    <a:pt x="1039" y="87"/>
                  </a:lnTo>
                  <a:lnTo>
                    <a:pt x="1044" y="103"/>
                  </a:lnTo>
                  <a:lnTo>
                    <a:pt x="1048" y="117"/>
                  </a:lnTo>
                  <a:lnTo>
                    <a:pt x="1053" y="132"/>
                  </a:lnTo>
                  <a:lnTo>
                    <a:pt x="1067" y="130"/>
                  </a:lnTo>
                  <a:lnTo>
                    <a:pt x="1085" y="129"/>
                  </a:lnTo>
                  <a:lnTo>
                    <a:pt x="1101" y="129"/>
                  </a:lnTo>
                  <a:lnTo>
                    <a:pt x="1116" y="129"/>
                  </a:lnTo>
                  <a:lnTo>
                    <a:pt x="1131" y="130"/>
                  </a:lnTo>
                  <a:lnTo>
                    <a:pt x="1145" y="131"/>
                  </a:lnTo>
                  <a:lnTo>
                    <a:pt x="1159" y="134"/>
                  </a:lnTo>
                  <a:lnTo>
                    <a:pt x="1176" y="138"/>
                  </a:lnTo>
                  <a:lnTo>
                    <a:pt x="1180" y="120"/>
                  </a:lnTo>
                  <a:lnTo>
                    <a:pt x="1183" y="116"/>
                  </a:lnTo>
                  <a:lnTo>
                    <a:pt x="1184" y="111"/>
                  </a:lnTo>
                  <a:lnTo>
                    <a:pt x="1166" y="106"/>
                  </a:lnTo>
                  <a:lnTo>
                    <a:pt x="1184" y="111"/>
                  </a:lnTo>
                  <a:lnTo>
                    <a:pt x="1185" y="107"/>
                  </a:lnTo>
                  <a:lnTo>
                    <a:pt x="1187" y="104"/>
                  </a:lnTo>
                  <a:lnTo>
                    <a:pt x="1190" y="100"/>
                  </a:lnTo>
                  <a:lnTo>
                    <a:pt x="1193" y="98"/>
                  </a:lnTo>
                  <a:lnTo>
                    <a:pt x="1197" y="94"/>
                  </a:lnTo>
                  <a:lnTo>
                    <a:pt x="1201" y="93"/>
                  </a:lnTo>
                  <a:lnTo>
                    <a:pt x="1206" y="91"/>
                  </a:lnTo>
                  <a:lnTo>
                    <a:pt x="1211" y="90"/>
                  </a:lnTo>
                  <a:lnTo>
                    <a:pt x="1211" y="90"/>
                  </a:lnTo>
                  <a:lnTo>
                    <a:pt x="1213" y="90"/>
                  </a:lnTo>
                  <a:lnTo>
                    <a:pt x="1216" y="90"/>
                  </a:lnTo>
                  <a:lnTo>
                    <a:pt x="1223" y="91"/>
                  </a:lnTo>
                  <a:lnTo>
                    <a:pt x="1229" y="92"/>
                  </a:lnTo>
                  <a:lnTo>
                    <a:pt x="1237" y="76"/>
                  </a:lnTo>
                  <a:lnTo>
                    <a:pt x="1229" y="92"/>
                  </a:lnTo>
                  <a:lnTo>
                    <a:pt x="1233" y="94"/>
                  </a:lnTo>
                  <a:lnTo>
                    <a:pt x="1238" y="98"/>
                  </a:lnTo>
                  <a:lnTo>
                    <a:pt x="1242" y="102"/>
                  </a:lnTo>
                  <a:lnTo>
                    <a:pt x="1244" y="105"/>
                  </a:lnTo>
                  <a:lnTo>
                    <a:pt x="1246" y="109"/>
                  </a:lnTo>
                  <a:lnTo>
                    <a:pt x="1247" y="113"/>
                  </a:lnTo>
                  <a:lnTo>
                    <a:pt x="1249" y="119"/>
                  </a:lnTo>
                  <a:lnTo>
                    <a:pt x="1249" y="124"/>
                  </a:lnTo>
                  <a:lnTo>
                    <a:pt x="1249" y="131"/>
                  </a:lnTo>
                  <a:lnTo>
                    <a:pt x="1247" y="138"/>
                  </a:lnTo>
                  <a:lnTo>
                    <a:pt x="1265" y="143"/>
                  </a:lnTo>
                  <a:lnTo>
                    <a:pt x="1247" y="137"/>
                  </a:lnTo>
                  <a:lnTo>
                    <a:pt x="1245" y="143"/>
                  </a:lnTo>
                  <a:lnTo>
                    <a:pt x="1244" y="149"/>
                  </a:lnTo>
                  <a:lnTo>
                    <a:pt x="1240" y="163"/>
                  </a:lnTo>
                  <a:lnTo>
                    <a:pt x="1252" y="170"/>
                  </a:lnTo>
                  <a:lnTo>
                    <a:pt x="1267" y="179"/>
                  </a:lnTo>
                  <a:lnTo>
                    <a:pt x="1282" y="189"/>
                  </a:lnTo>
                  <a:lnTo>
                    <a:pt x="1296" y="199"/>
                  </a:lnTo>
                  <a:lnTo>
                    <a:pt x="1310" y="211"/>
                  </a:lnTo>
                  <a:lnTo>
                    <a:pt x="1324" y="223"/>
                  </a:lnTo>
                  <a:lnTo>
                    <a:pt x="1337" y="236"/>
                  </a:lnTo>
                  <a:lnTo>
                    <a:pt x="1351" y="250"/>
                  </a:lnTo>
                  <a:lnTo>
                    <a:pt x="1364" y="265"/>
                  </a:lnTo>
                  <a:lnTo>
                    <a:pt x="1371" y="273"/>
                  </a:lnTo>
                  <a:lnTo>
                    <a:pt x="1383" y="271"/>
                  </a:lnTo>
                  <a:lnTo>
                    <a:pt x="1402" y="265"/>
                  </a:lnTo>
                  <a:lnTo>
                    <a:pt x="1420" y="258"/>
                  </a:lnTo>
                  <a:lnTo>
                    <a:pt x="1437" y="249"/>
                  </a:lnTo>
                  <a:lnTo>
                    <a:pt x="1452" y="238"/>
                  </a:lnTo>
                  <a:lnTo>
                    <a:pt x="1452" y="238"/>
                  </a:lnTo>
                  <a:lnTo>
                    <a:pt x="1452" y="238"/>
                  </a:lnTo>
                  <a:lnTo>
                    <a:pt x="1457" y="235"/>
                  </a:lnTo>
                  <a:lnTo>
                    <a:pt x="1460" y="233"/>
                  </a:lnTo>
                  <a:lnTo>
                    <a:pt x="1465" y="231"/>
                  </a:lnTo>
                  <a:lnTo>
                    <a:pt x="1469" y="231"/>
                  </a:lnTo>
                  <a:lnTo>
                    <a:pt x="1470" y="231"/>
                  </a:lnTo>
                  <a:lnTo>
                    <a:pt x="1472" y="230"/>
                  </a:lnTo>
                  <a:lnTo>
                    <a:pt x="1477" y="231"/>
                  </a:lnTo>
                  <a:lnTo>
                    <a:pt x="1482" y="232"/>
                  </a:lnTo>
                  <a:lnTo>
                    <a:pt x="1486" y="233"/>
                  </a:lnTo>
                  <a:lnTo>
                    <a:pt x="1491" y="236"/>
                  </a:lnTo>
                  <a:lnTo>
                    <a:pt x="1495" y="239"/>
                  </a:lnTo>
                  <a:lnTo>
                    <a:pt x="1498" y="243"/>
                  </a:lnTo>
                  <a:lnTo>
                    <a:pt x="1502" y="247"/>
                  </a:lnTo>
                  <a:lnTo>
                    <a:pt x="1504" y="252"/>
                  </a:lnTo>
                  <a:lnTo>
                    <a:pt x="1504" y="252"/>
                  </a:lnTo>
                  <a:lnTo>
                    <a:pt x="1506" y="259"/>
                  </a:lnTo>
                  <a:lnTo>
                    <a:pt x="1508" y="266"/>
                  </a:lnTo>
                  <a:lnTo>
                    <a:pt x="1506" y="275"/>
                  </a:lnTo>
                  <a:lnTo>
                    <a:pt x="1504" y="280"/>
                  </a:lnTo>
                  <a:lnTo>
                    <a:pt x="1501" y="288"/>
                  </a:lnTo>
                  <a:lnTo>
                    <a:pt x="1495" y="293"/>
                  </a:lnTo>
                  <a:lnTo>
                    <a:pt x="1495" y="293"/>
                  </a:lnTo>
                  <a:lnTo>
                    <a:pt x="1483" y="302"/>
                  </a:lnTo>
                  <a:lnTo>
                    <a:pt x="1470" y="310"/>
                  </a:lnTo>
                  <a:lnTo>
                    <a:pt x="1457" y="317"/>
                  </a:lnTo>
                  <a:lnTo>
                    <a:pt x="1443" y="324"/>
                  </a:lnTo>
                  <a:lnTo>
                    <a:pt x="1419" y="333"/>
                  </a:lnTo>
                  <a:lnTo>
                    <a:pt x="1437" y="353"/>
                  </a:lnTo>
                  <a:lnTo>
                    <a:pt x="1450" y="369"/>
                  </a:lnTo>
                  <a:lnTo>
                    <a:pt x="1464" y="384"/>
                  </a:lnTo>
                  <a:lnTo>
                    <a:pt x="1479" y="399"/>
                  </a:lnTo>
                  <a:lnTo>
                    <a:pt x="1495" y="416"/>
                  </a:lnTo>
                  <a:lnTo>
                    <a:pt x="1501" y="422"/>
                  </a:lnTo>
                  <a:lnTo>
                    <a:pt x="1510" y="421"/>
                  </a:lnTo>
                  <a:lnTo>
                    <a:pt x="1524" y="419"/>
                  </a:lnTo>
                  <a:lnTo>
                    <a:pt x="1538" y="418"/>
                  </a:lnTo>
                  <a:lnTo>
                    <a:pt x="1536" y="399"/>
                  </a:lnTo>
                  <a:lnTo>
                    <a:pt x="1538" y="418"/>
                  </a:lnTo>
                  <a:lnTo>
                    <a:pt x="1557" y="415"/>
                  </a:lnTo>
                  <a:lnTo>
                    <a:pt x="1578" y="411"/>
                  </a:lnTo>
                  <a:lnTo>
                    <a:pt x="1599" y="405"/>
                  </a:lnTo>
                  <a:lnTo>
                    <a:pt x="1622" y="397"/>
                  </a:lnTo>
                  <a:lnTo>
                    <a:pt x="1622" y="397"/>
                  </a:lnTo>
                  <a:lnTo>
                    <a:pt x="1628" y="395"/>
                  </a:lnTo>
                  <a:lnTo>
                    <a:pt x="1635" y="395"/>
                  </a:lnTo>
                  <a:lnTo>
                    <a:pt x="1639" y="395"/>
                  </a:lnTo>
                  <a:lnTo>
                    <a:pt x="1645" y="396"/>
                  </a:lnTo>
                  <a:lnTo>
                    <a:pt x="1650" y="398"/>
                  </a:lnTo>
                  <a:lnTo>
                    <a:pt x="1655" y="402"/>
                  </a:lnTo>
                  <a:lnTo>
                    <a:pt x="1658" y="405"/>
                  </a:lnTo>
                  <a:lnTo>
                    <a:pt x="1662" y="410"/>
                  </a:lnTo>
                  <a:lnTo>
                    <a:pt x="1665" y="415"/>
                  </a:lnTo>
                  <a:lnTo>
                    <a:pt x="1667" y="421"/>
                  </a:lnTo>
                  <a:lnTo>
                    <a:pt x="1667" y="421"/>
                  </a:lnTo>
                  <a:lnTo>
                    <a:pt x="1668" y="425"/>
                  </a:lnTo>
                  <a:lnTo>
                    <a:pt x="1669" y="430"/>
                  </a:lnTo>
                  <a:lnTo>
                    <a:pt x="1668" y="435"/>
                  </a:lnTo>
                  <a:lnTo>
                    <a:pt x="1667" y="439"/>
                  </a:lnTo>
                  <a:lnTo>
                    <a:pt x="1665" y="444"/>
                  </a:lnTo>
                  <a:lnTo>
                    <a:pt x="1663" y="449"/>
                  </a:lnTo>
                  <a:lnTo>
                    <a:pt x="1661" y="452"/>
                  </a:lnTo>
                  <a:lnTo>
                    <a:pt x="1657" y="456"/>
                  </a:lnTo>
                  <a:lnTo>
                    <a:pt x="1652" y="458"/>
                  </a:lnTo>
                  <a:lnTo>
                    <a:pt x="1648" y="462"/>
                  </a:lnTo>
                  <a:lnTo>
                    <a:pt x="1655" y="478"/>
                  </a:lnTo>
                  <a:lnTo>
                    <a:pt x="1648" y="461"/>
                  </a:lnTo>
                  <a:lnTo>
                    <a:pt x="1636" y="465"/>
                  </a:lnTo>
                  <a:lnTo>
                    <a:pt x="1624" y="470"/>
                  </a:lnTo>
                  <a:lnTo>
                    <a:pt x="1612" y="474"/>
                  </a:lnTo>
                  <a:lnTo>
                    <a:pt x="1602" y="476"/>
                  </a:lnTo>
                  <a:lnTo>
                    <a:pt x="1566" y="484"/>
                  </a:lnTo>
                  <a:lnTo>
                    <a:pt x="1594" y="508"/>
                  </a:lnTo>
                  <a:lnTo>
                    <a:pt x="1616" y="528"/>
                  </a:lnTo>
                  <a:lnTo>
                    <a:pt x="1639" y="548"/>
                  </a:lnTo>
                  <a:lnTo>
                    <a:pt x="1663" y="569"/>
                  </a:lnTo>
                  <a:lnTo>
                    <a:pt x="1689" y="590"/>
                  </a:lnTo>
                  <a:lnTo>
                    <a:pt x="1702" y="601"/>
                  </a:lnTo>
                  <a:lnTo>
                    <a:pt x="1714" y="588"/>
                  </a:lnTo>
                  <a:lnTo>
                    <a:pt x="1729" y="574"/>
                  </a:lnTo>
                  <a:lnTo>
                    <a:pt x="1744" y="559"/>
                  </a:lnTo>
                  <a:lnTo>
                    <a:pt x="1757" y="548"/>
                  </a:lnTo>
                  <a:lnTo>
                    <a:pt x="1757" y="546"/>
                  </a:lnTo>
                  <a:lnTo>
                    <a:pt x="1757" y="546"/>
                  </a:lnTo>
                  <a:lnTo>
                    <a:pt x="1761" y="544"/>
                  </a:lnTo>
                  <a:lnTo>
                    <a:pt x="1765" y="542"/>
                  </a:lnTo>
                  <a:lnTo>
                    <a:pt x="1770" y="541"/>
                  </a:lnTo>
                  <a:lnTo>
                    <a:pt x="1776" y="541"/>
                  </a:lnTo>
                  <a:lnTo>
                    <a:pt x="1784" y="541"/>
                  </a:lnTo>
                  <a:lnTo>
                    <a:pt x="1792" y="544"/>
                  </a:lnTo>
                  <a:lnTo>
                    <a:pt x="1800" y="548"/>
                  </a:lnTo>
                  <a:lnTo>
                    <a:pt x="1805" y="554"/>
                  </a:lnTo>
                  <a:lnTo>
                    <a:pt x="1805" y="554"/>
                  </a:lnTo>
                  <a:lnTo>
                    <a:pt x="1809" y="558"/>
                  </a:lnTo>
                  <a:lnTo>
                    <a:pt x="1810" y="563"/>
                  </a:lnTo>
                  <a:lnTo>
                    <a:pt x="1811" y="568"/>
                  </a:lnTo>
                  <a:lnTo>
                    <a:pt x="1812" y="572"/>
                  </a:lnTo>
                  <a:lnTo>
                    <a:pt x="1811" y="581"/>
                  </a:lnTo>
                  <a:lnTo>
                    <a:pt x="1809" y="588"/>
                  </a:lnTo>
                  <a:lnTo>
                    <a:pt x="1805" y="595"/>
                  </a:lnTo>
                  <a:lnTo>
                    <a:pt x="1800" y="601"/>
                  </a:lnTo>
                  <a:lnTo>
                    <a:pt x="1800" y="602"/>
                  </a:lnTo>
                  <a:lnTo>
                    <a:pt x="1791" y="609"/>
                  </a:lnTo>
                  <a:lnTo>
                    <a:pt x="1804" y="622"/>
                  </a:lnTo>
                  <a:lnTo>
                    <a:pt x="1791" y="609"/>
                  </a:lnTo>
                  <a:lnTo>
                    <a:pt x="1781" y="618"/>
                  </a:lnTo>
                  <a:lnTo>
                    <a:pt x="1770" y="629"/>
                  </a:lnTo>
                  <a:lnTo>
                    <a:pt x="1756" y="644"/>
                  </a:lnTo>
                  <a:lnTo>
                    <a:pt x="1772" y="657"/>
                  </a:lnTo>
                  <a:lnTo>
                    <a:pt x="1796" y="675"/>
                  </a:lnTo>
                  <a:lnTo>
                    <a:pt x="1820" y="694"/>
                  </a:lnTo>
                  <a:lnTo>
                    <a:pt x="1843" y="711"/>
                  </a:lnTo>
                  <a:lnTo>
                    <a:pt x="1867" y="730"/>
                  </a:lnTo>
                  <a:lnTo>
                    <a:pt x="1874" y="735"/>
                  </a:lnTo>
                  <a:lnTo>
                    <a:pt x="1883" y="732"/>
                  </a:lnTo>
                  <a:lnTo>
                    <a:pt x="1911" y="724"/>
                  </a:lnTo>
                  <a:lnTo>
                    <a:pt x="1938" y="715"/>
                  </a:lnTo>
                  <a:lnTo>
                    <a:pt x="1966" y="704"/>
                  </a:lnTo>
                  <a:lnTo>
                    <a:pt x="1993" y="692"/>
                  </a:lnTo>
                  <a:lnTo>
                    <a:pt x="2000" y="690"/>
                  </a:lnTo>
                  <a:lnTo>
                    <a:pt x="2006" y="690"/>
                  </a:lnTo>
                  <a:lnTo>
                    <a:pt x="2010" y="690"/>
                  </a:lnTo>
                  <a:lnTo>
                    <a:pt x="2016" y="691"/>
                  </a:lnTo>
                  <a:lnTo>
                    <a:pt x="2021" y="694"/>
                  </a:lnTo>
                  <a:lnTo>
                    <a:pt x="2026" y="696"/>
                  </a:lnTo>
                  <a:lnTo>
                    <a:pt x="2029" y="701"/>
                  </a:lnTo>
                  <a:lnTo>
                    <a:pt x="2033" y="704"/>
                  </a:lnTo>
                  <a:lnTo>
                    <a:pt x="2036" y="710"/>
                  </a:lnTo>
                  <a:lnTo>
                    <a:pt x="2037" y="716"/>
                  </a:lnTo>
                  <a:lnTo>
                    <a:pt x="2039" y="721"/>
                  </a:lnTo>
                  <a:lnTo>
                    <a:pt x="2040" y="725"/>
                  </a:lnTo>
                  <a:lnTo>
                    <a:pt x="2039" y="730"/>
                  </a:lnTo>
                  <a:lnTo>
                    <a:pt x="2037" y="735"/>
                  </a:lnTo>
                  <a:lnTo>
                    <a:pt x="2036" y="740"/>
                  </a:lnTo>
                  <a:lnTo>
                    <a:pt x="2034" y="743"/>
                  </a:lnTo>
                  <a:lnTo>
                    <a:pt x="2031" y="748"/>
                  </a:lnTo>
                  <a:lnTo>
                    <a:pt x="2028" y="750"/>
                  </a:lnTo>
                  <a:lnTo>
                    <a:pt x="2023" y="754"/>
                  </a:lnTo>
                  <a:lnTo>
                    <a:pt x="2019" y="756"/>
                  </a:lnTo>
                  <a:lnTo>
                    <a:pt x="2008" y="761"/>
                  </a:lnTo>
                  <a:lnTo>
                    <a:pt x="1997" y="765"/>
                  </a:lnTo>
                  <a:lnTo>
                    <a:pt x="1986" y="770"/>
                  </a:lnTo>
                  <a:lnTo>
                    <a:pt x="1973" y="775"/>
                  </a:lnTo>
                  <a:lnTo>
                    <a:pt x="1943" y="788"/>
                  </a:lnTo>
                  <a:lnTo>
                    <a:pt x="1969" y="808"/>
                  </a:lnTo>
                  <a:lnTo>
                    <a:pt x="1982" y="817"/>
                  </a:lnTo>
                  <a:lnTo>
                    <a:pt x="1996" y="828"/>
                  </a:lnTo>
                  <a:lnTo>
                    <a:pt x="2009" y="838"/>
                  </a:lnTo>
                  <a:lnTo>
                    <a:pt x="2023" y="849"/>
                  </a:lnTo>
                  <a:lnTo>
                    <a:pt x="2030" y="854"/>
                  </a:lnTo>
                  <a:lnTo>
                    <a:pt x="2039" y="851"/>
                  </a:lnTo>
                  <a:lnTo>
                    <a:pt x="2050" y="849"/>
                  </a:lnTo>
                  <a:lnTo>
                    <a:pt x="2061" y="845"/>
                  </a:lnTo>
                  <a:lnTo>
                    <a:pt x="2073" y="841"/>
                  </a:lnTo>
                  <a:lnTo>
                    <a:pt x="2082" y="836"/>
                  </a:lnTo>
                  <a:lnTo>
                    <a:pt x="2093" y="831"/>
                  </a:lnTo>
                  <a:lnTo>
                    <a:pt x="2102" y="825"/>
                  </a:lnTo>
                  <a:lnTo>
                    <a:pt x="2112" y="820"/>
                  </a:lnTo>
                  <a:lnTo>
                    <a:pt x="2120" y="813"/>
                  </a:lnTo>
                  <a:lnTo>
                    <a:pt x="2128" y="804"/>
                  </a:lnTo>
                  <a:lnTo>
                    <a:pt x="2136" y="797"/>
                  </a:lnTo>
                  <a:lnTo>
                    <a:pt x="2143" y="789"/>
                  </a:lnTo>
                  <a:lnTo>
                    <a:pt x="2149" y="780"/>
                  </a:lnTo>
                  <a:lnTo>
                    <a:pt x="2156" y="770"/>
                  </a:lnTo>
                  <a:lnTo>
                    <a:pt x="2161" y="761"/>
                  </a:lnTo>
                  <a:lnTo>
                    <a:pt x="2167" y="750"/>
                  </a:lnTo>
                  <a:lnTo>
                    <a:pt x="2172" y="740"/>
                  </a:lnTo>
                  <a:lnTo>
                    <a:pt x="2172" y="740"/>
                  </a:lnTo>
                  <a:lnTo>
                    <a:pt x="2175" y="731"/>
                  </a:lnTo>
                  <a:lnTo>
                    <a:pt x="2181" y="724"/>
                  </a:lnTo>
                  <a:lnTo>
                    <a:pt x="2188" y="721"/>
                  </a:lnTo>
                  <a:lnTo>
                    <a:pt x="2196" y="718"/>
                  </a:lnTo>
                  <a:lnTo>
                    <a:pt x="2196" y="718"/>
                  </a:lnTo>
                  <a:lnTo>
                    <a:pt x="2200" y="718"/>
                  </a:lnTo>
                  <a:lnTo>
                    <a:pt x="2208" y="720"/>
                  </a:lnTo>
                  <a:lnTo>
                    <a:pt x="2216" y="722"/>
                  </a:lnTo>
                  <a:lnTo>
                    <a:pt x="2225" y="727"/>
                  </a:lnTo>
                  <a:lnTo>
                    <a:pt x="2230" y="734"/>
                  </a:lnTo>
                  <a:lnTo>
                    <a:pt x="2230" y="732"/>
                  </a:lnTo>
                  <a:lnTo>
                    <a:pt x="2233" y="737"/>
                  </a:lnTo>
                  <a:lnTo>
                    <a:pt x="2235" y="743"/>
                  </a:lnTo>
                  <a:lnTo>
                    <a:pt x="2236" y="748"/>
                  </a:lnTo>
                  <a:lnTo>
                    <a:pt x="2237" y="752"/>
                  </a:lnTo>
                  <a:lnTo>
                    <a:pt x="2236" y="760"/>
                  </a:lnTo>
                  <a:lnTo>
                    <a:pt x="2235" y="767"/>
                  </a:lnTo>
                  <a:lnTo>
                    <a:pt x="2235" y="767"/>
                  </a:lnTo>
                  <a:lnTo>
                    <a:pt x="2226" y="787"/>
                  </a:lnTo>
                  <a:lnTo>
                    <a:pt x="2215" y="805"/>
                  </a:lnTo>
                  <a:lnTo>
                    <a:pt x="2203" y="823"/>
                  </a:lnTo>
                  <a:lnTo>
                    <a:pt x="2190" y="840"/>
                  </a:lnTo>
                  <a:lnTo>
                    <a:pt x="2175" y="855"/>
                  </a:lnTo>
                  <a:lnTo>
                    <a:pt x="2160" y="869"/>
                  </a:lnTo>
                  <a:lnTo>
                    <a:pt x="2142" y="882"/>
                  </a:lnTo>
                  <a:lnTo>
                    <a:pt x="2123" y="893"/>
                  </a:lnTo>
                  <a:lnTo>
                    <a:pt x="2097" y="907"/>
                  </a:lnTo>
                  <a:lnTo>
                    <a:pt x="2121" y="923"/>
                  </a:lnTo>
                  <a:lnTo>
                    <a:pt x="2135" y="935"/>
                  </a:lnTo>
                  <a:lnTo>
                    <a:pt x="2149" y="946"/>
                  </a:lnTo>
                  <a:lnTo>
                    <a:pt x="2162" y="957"/>
                  </a:lnTo>
                  <a:lnTo>
                    <a:pt x="2176" y="968"/>
                  </a:lnTo>
                  <a:lnTo>
                    <a:pt x="2183" y="974"/>
                  </a:lnTo>
                  <a:lnTo>
                    <a:pt x="2192" y="971"/>
                  </a:lnTo>
                  <a:lnTo>
                    <a:pt x="2208" y="968"/>
                  </a:lnTo>
                  <a:lnTo>
                    <a:pt x="2225" y="963"/>
                  </a:lnTo>
                  <a:lnTo>
                    <a:pt x="2239" y="958"/>
                  </a:lnTo>
                  <a:lnTo>
                    <a:pt x="2253" y="951"/>
                  </a:lnTo>
                  <a:lnTo>
                    <a:pt x="2265" y="943"/>
                  </a:lnTo>
                  <a:lnTo>
                    <a:pt x="2275" y="935"/>
                  </a:lnTo>
                  <a:lnTo>
                    <a:pt x="2285" y="924"/>
                  </a:lnTo>
                  <a:lnTo>
                    <a:pt x="2292" y="913"/>
                  </a:lnTo>
                  <a:lnTo>
                    <a:pt x="2292" y="913"/>
                  </a:lnTo>
                  <a:lnTo>
                    <a:pt x="2298" y="906"/>
                  </a:lnTo>
                  <a:lnTo>
                    <a:pt x="2303" y="900"/>
                  </a:lnTo>
                  <a:lnTo>
                    <a:pt x="2310" y="896"/>
                  </a:lnTo>
                  <a:lnTo>
                    <a:pt x="2319" y="894"/>
                  </a:lnTo>
                  <a:lnTo>
                    <a:pt x="2319" y="894"/>
                  </a:lnTo>
                  <a:lnTo>
                    <a:pt x="2323" y="894"/>
                  </a:lnTo>
                  <a:lnTo>
                    <a:pt x="2333" y="895"/>
                  </a:lnTo>
                  <a:lnTo>
                    <a:pt x="2341" y="898"/>
                  </a:lnTo>
                  <a:lnTo>
                    <a:pt x="2349" y="903"/>
                  </a:lnTo>
                  <a:lnTo>
                    <a:pt x="2355" y="910"/>
                  </a:lnTo>
                  <a:lnTo>
                    <a:pt x="2355" y="909"/>
                  </a:lnTo>
                  <a:lnTo>
                    <a:pt x="2359" y="917"/>
                  </a:lnTo>
                  <a:lnTo>
                    <a:pt x="2360" y="924"/>
                  </a:lnTo>
                  <a:lnTo>
                    <a:pt x="2359" y="933"/>
                  </a:lnTo>
                  <a:lnTo>
                    <a:pt x="2355" y="941"/>
                  </a:lnTo>
                  <a:lnTo>
                    <a:pt x="2355" y="941"/>
                  </a:lnTo>
                  <a:lnTo>
                    <a:pt x="2348" y="953"/>
                  </a:lnTo>
                  <a:lnTo>
                    <a:pt x="2340" y="963"/>
                  </a:lnTo>
                  <a:lnTo>
                    <a:pt x="2330" y="974"/>
                  </a:lnTo>
                  <a:lnTo>
                    <a:pt x="2321" y="984"/>
                  </a:lnTo>
                  <a:lnTo>
                    <a:pt x="2310" y="993"/>
                  </a:lnTo>
                  <a:lnTo>
                    <a:pt x="2300" y="1001"/>
                  </a:lnTo>
                  <a:lnTo>
                    <a:pt x="2288" y="1009"/>
                  </a:lnTo>
                  <a:lnTo>
                    <a:pt x="2275" y="1016"/>
                  </a:lnTo>
                  <a:lnTo>
                    <a:pt x="2249" y="1028"/>
                  </a:lnTo>
                  <a:lnTo>
                    <a:pt x="2272" y="1047"/>
                  </a:lnTo>
                  <a:lnTo>
                    <a:pt x="2292" y="1064"/>
                  </a:lnTo>
                  <a:lnTo>
                    <a:pt x="2312" y="1082"/>
                  </a:lnTo>
                  <a:lnTo>
                    <a:pt x="2330" y="1099"/>
                  </a:lnTo>
                  <a:lnTo>
                    <a:pt x="2348" y="1116"/>
                  </a:lnTo>
                  <a:lnTo>
                    <a:pt x="2359" y="1126"/>
                  </a:lnTo>
                  <a:lnTo>
                    <a:pt x="2370" y="1119"/>
                  </a:lnTo>
                  <a:lnTo>
                    <a:pt x="2387" y="1107"/>
                  </a:lnTo>
                  <a:lnTo>
                    <a:pt x="2403" y="1095"/>
                  </a:lnTo>
                  <a:lnTo>
                    <a:pt x="2420" y="1082"/>
                  </a:lnTo>
                  <a:lnTo>
                    <a:pt x="2436" y="1069"/>
                  </a:lnTo>
                  <a:lnTo>
                    <a:pt x="2436" y="1069"/>
                  </a:lnTo>
                  <a:lnTo>
                    <a:pt x="2449" y="1059"/>
                  </a:lnTo>
                  <a:lnTo>
                    <a:pt x="2464" y="1048"/>
                  </a:lnTo>
                  <a:lnTo>
                    <a:pt x="2478" y="1037"/>
                  </a:lnTo>
                  <a:lnTo>
                    <a:pt x="2491" y="1028"/>
                  </a:lnTo>
                  <a:lnTo>
                    <a:pt x="2499" y="1023"/>
                  </a:lnTo>
                  <a:lnTo>
                    <a:pt x="2507" y="1022"/>
                  </a:lnTo>
                  <a:lnTo>
                    <a:pt x="2507" y="1022"/>
                  </a:lnTo>
                  <a:lnTo>
                    <a:pt x="2511" y="1021"/>
                  </a:lnTo>
                  <a:lnTo>
                    <a:pt x="2515" y="1022"/>
                  </a:lnTo>
                  <a:lnTo>
                    <a:pt x="2521" y="1023"/>
                  </a:lnTo>
                  <a:lnTo>
                    <a:pt x="2526" y="1026"/>
                  </a:lnTo>
                  <a:lnTo>
                    <a:pt x="2531" y="1028"/>
                  </a:lnTo>
                  <a:lnTo>
                    <a:pt x="2535" y="1031"/>
                  </a:lnTo>
                  <a:lnTo>
                    <a:pt x="2539" y="1036"/>
                  </a:lnTo>
                  <a:lnTo>
                    <a:pt x="2542" y="1041"/>
                  </a:lnTo>
                  <a:lnTo>
                    <a:pt x="2545" y="1046"/>
                  </a:lnTo>
                  <a:lnTo>
                    <a:pt x="2546" y="1051"/>
                  </a:lnTo>
                  <a:lnTo>
                    <a:pt x="2547" y="1057"/>
                  </a:lnTo>
                  <a:lnTo>
                    <a:pt x="2546" y="1064"/>
                  </a:lnTo>
                  <a:lnTo>
                    <a:pt x="2544" y="1072"/>
                  </a:lnTo>
                  <a:lnTo>
                    <a:pt x="2539" y="1077"/>
                  </a:lnTo>
                  <a:lnTo>
                    <a:pt x="2533" y="1083"/>
                  </a:lnTo>
                  <a:lnTo>
                    <a:pt x="2533" y="1083"/>
                  </a:lnTo>
                  <a:lnTo>
                    <a:pt x="2518" y="1094"/>
                  </a:lnTo>
                  <a:lnTo>
                    <a:pt x="2502" y="1104"/>
                  </a:lnTo>
                  <a:lnTo>
                    <a:pt x="2488" y="1115"/>
                  </a:lnTo>
                  <a:lnTo>
                    <a:pt x="2474" y="1126"/>
                  </a:lnTo>
                  <a:lnTo>
                    <a:pt x="2462" y="1135"/>
                  </a:lnTo>
                  <a:lnTo>
                    <a:pt x="2449" y="1144"/>
                  </a:lnTo>
                  <a:lnTo>
                    <a:pt x="2438" y="1154"/>
                  </a:lnTo>
                  <a:lnTo>
                    <a:pt x="2425" y="1163"/>
                  </a:lnTo>
                  <a:lnTo>
                    <a:pt x="2408" y="1176"/>
                  </a:lnTo>
                  <a:lnTo>
                    <a:pt x="2422" y="1192"/>
                  </a:lnTo>
                  <a:lnTo>
                    <a:pt x="2433" y="1203"/>
                  </a:lnTo>
                  <a:lnTo>
                    <a:pt x="2442" y="1214"/>
                  </a:lnTo>
                  <a:lnTo>
                    <a:pt x="2452" y="1226"/>
                  </a:lnTo>
                  <a:lnTo>
                    <a:pt x="2461" y="1237"/>
                  </a:lnTo>
                  <a:lnTo>
                    <a:pt x="2471" y="1248"/>
                  </a:lnTo>
                  <a:lnTo>
                    <a:pt x="2484" y="1242"/>
                  </a:lnTo>
                  <a:lnTo>
                    <a:pt x="2500" y="1234"/>
                  </a:lnTo>
                  <a:lnTo>
                    <a:pt x="2515" y="1225"/>
                  </a:lnTo>
                  <a:lnTo>
                    <a:pt x="2529" y="1213"/>
                  </a:lnTo>
                  <a:lnTo>
                    <a:pt x="2541" y="1200"/>
                  </a:lnTo>
                  <a:lnTo>
                    <a:pt x="2541" y="1200"/>
                  </a:lnTo>
                  <a:lnTo>
                    <a:pt x="2541" y="1200"/>
                  </a:lnTo>
                  <a:lnTo>
                    <a:pt x="2547" y="1195"/>
                  </a:lnTo>
                  <a:lnTo>
                    <a:pt x="2552" y="1192"/>
                  </a:lnTo>
                  <a:lnTo>
                    <a:pt x="2558" y="1189"/>
                  </a:lnTo>
                  <a:lnTo>
                    <a:pt x="2564" y="1187"/>
                  </a:lnTo>
                  <a:lnTo>
                    <a:pt x="2564" y="1187"/>
                  </a:lnTo>
                  <a:lnTo>
                    <a:pt x="2564" y="1187"/>
                  </a:lnTo>
                  <a:lnTo>
                    <a:pt x="2567" y="1187"/>
                  </a:lnTo>
                  <a:lnTo>
                    <a:pt x="2572" y="1187"/>
                  </a:lnTo>
                  <a:lnTo>
                    <a:pt x="2577" y="1188"/>
                  </a:lnTo>
                  <a:lnTo>
                    <a:pt x="2581" y="1190"/>
                  </a:lnTo>
                  <a:lnTo>
                    <a:pt x="2586" y="1193"/>
                  </a:lnTo>
                  <a:lnTo>
                    <a:pt x="2589" y="1195"/>
                  </a:lnTo>
                  <a:lnTo>
                    <a:pt x="2594" y="1199"/>
                  </a:lnTo>
                  <a:lnTo>
                    <a:pt x="2597" y="1202"/>
                  </a:lnTo>
                  <a:lnTo>
                    <a:pt x="2600" y="1207"/>
                  </a:lnTo>
                  <a:lnTo>
                    <a:pt x="2602" y="1214"/>
                  </a:lnTo>
                  <a:lnTo>
                    <a:pt x="2604" y="1222"/>
                  </a:lnTo>
                  <a:lnTo>
                    <a:pt x="2604" y="1227"/>
                  </a:lnTo>
                  <a:lnTo>
                    <a:pt x="2602" y="1232"/>
                  </a:lnTo>
                  <a:lnTo>
                    <a:pt x="2599" y="1237"/>
                  </a:lnTo>
                  <a:lnTo>
                    <a:pt x="2595" y="1242"/>
                  </a:lnTo>
                  <a:lnTo>
                    <a:pt x="2595" y="1242"/>
                  </a:lnTo>
                  <a:lnTo>
                    <a:pt x="2581" y="1259"/>
                  </a:lnTo>
                  <a:lnTo>
                    <a:pt x="2565" y="1273"/>
                  </a:lnTo>
                  <a:lnTo>
                    <a:pt x="2547" y="1286"/>
                  </a:lnTo>
                  <a:lnTo>
                    <a:pt x="2528" y="1298"/>
                  </a:lnTo>
                  <a:lnTo>
                    <a:pt x="2511" y="1307"/>
                  </a:lnTo>
                  <a:lnTo>
                    <a:pt x="2520" y="1323"/>
                  </a:lnTo>
                  <a:lnTo>
                    <a:pt x="2535" y="1350"/>
                  </a:lnTo>
                  <a:lnTo>
                    <a:pt x="2547" y="1378"/>
                  </a:lnTo>
                  <a:lnTo>
                    <a:pt x="2555" y="1403"/>
                  </a:lnTo>
                  <a:lnTo>
                    <a:pt x="2562" y="1428"/>
                  </a:lnTo>
                  <a:lnTo>
                    <a:pt x="2566" y="1447"/>
                  </a:lnTo>
                  <a:lnTo>
                    <a:pt x="2585" y="1442"/>
                  </a:lnTo>
                  <a:lnTo>
                    <a:pt x="2598" y="1439"/>
                  </a:lnTo>
                  <a:lnTo>
                    <a:pt x="2611" y="1435"/>
                  </a:lnTo>
                  <a:lnTo>
                    <a:pt x="2624" y="1433"/>
                  </a:lnTo>
                  <a:lnTo>
                    <a:pt x="2635" y="1429"/>
                  </a:lnTo>
                  <a:lnTo>
                    <a:pt x="2635" y="1429"/>
                  </a:lnTo>
                  <a:lnTo>
                    <a:pt x="2635" y="1429"/>
                  </a:lnTo>
                  <a:lnTo>
                    <a:pt x="2632" y="1412"/>
                  </a:lnTo>
                  <a:close/>
                </a:path>
              </a:pathLst>
            </a:custGeom>
            <a:solidFill>
              <a:srgbClr val="574D48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6653" tIns="58327" rIns="116653" bIns="58327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434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137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6" name="Freeform 56"/>
            <p:cNvSpPr>
              <a:spLocks/>
            </p:cNvSpPr>
            <p:nvPr/>
          </p:nvSpPr>
          <p:spPr bwMode="auto">
            <a:xfrm>
              <a:off x="2081" y="2122"/>
              <a:ext cx="16" cy="14"/>
            </a:xfrm>
            <a:custGeom>
              <a:avLst/>
              <a:gdLst>
                <a:gd name="T0" fmla="*/ 1 w 64"/>
                <a:gd name="T1" fmla="*/ 53 h 53"/>
                <a:gd name="T2" fmla="*/ 0 w 64"/>
                <a:gd name="T3" fmla="*/ 48 h 53"/>
                <a:gd name="T4" fmla="*/ 0 w 64"/>
                <a:gd name="T5" fmla="*/ 43 h 53"/>
                <a:gd name="T6" fmla="*/ 1 w 64"/>
                <a:gd name="T7" fmla="*/ 35 h 53"/>
                <a:gd name="T8" fmla="*/ 4 w 64"/>
                <a:gd name="T9" fmla="*/ 27 h 53"/>
                <a:gd name="T10" fmla="*/ 7 w 64"/>
                <a:gd name="T11" fmla="*/ 20 h 53"/>
                <a:gd name="T12" fmla="*/ 12 w 64"/>
                <a:gd name="T13" fmla="*/ 13 h 53"/>
                <a:gd name="T14" fmla="*/ 19 w 64"/>
                <a:gd name="T15" fmla="*/ 8 h 53"/>
                <a:gd name="T16" fmla="*/ 26 w 64"/>
                <a:gd name="T17" fmla="*/ 3 h 53"/>
                <a:gd name="T18" fmla="*/ 33 w 64"/>
                <a:gd name="T19" fmla="*/ 1 h 53"/>
                <a:gd name="T20" fmla="*/ 42 w 64"/>
                <a:gd name="T21" fmla="*/ 0 h 53"/>
                <a:gd name="T22" fmla="*/ 42 w 64"/>
                <a:gd name="T23" fmla="*/ 0 h 53"/>
                <a:gd name="T24" fmla="*/ 42 w 64"/>
                <a:gd name="T25" fmla="*/ 0 h 53"/>
                <a:gd name="T26" fmla="*/ 48 w 64"/>
                <a:gd name="T27" fmla="*/ 1 h 53"/>
                <a:gd name="T28" fmla="*/ 54 w 64"/>
                <a:gd name="T29" fmla="*/ 2 h 53"/>
                <a:gd name="T30" fmla="*/ 59 w 64"/>
                <a:gd name="T31" fmla="*/ 3 h 53"/>
                <a:gd name="T32" fmla="*/ 64 w 64"/>
                <a:gd name="T33" fmla="*/ 7 h 53"/>
                <a:gd name="T34" fmla="*/ 57 w 64"/>
                <a:gd name="T35" fmla="*/ 15 h 53"/>
                <a:gd name="T36" fmla="*/ 49 w 64"/>
                <a:gd name="T37" fmla="*/ 23 h 53"/>
                <a:gd name="T38" fmla="*/ 41 w 64"/>
                <a:gd name="T39" fmla="*/ 30 h 53"/>
                <a:gd name="T40" fmla="*/ 33 w 64"/>
                <a:gd name="T41" fmla="*/ 36 h 53"/>
                <a:gd name="T42" fmla="*/ 26 w 64"/>
                <a:gd name="T43" fmla="*/ 42 h 53"/>
                <a:gd name="T44" fmla="*/ 18 w 64"/>
                <a:gd name="T45" fmla="*/ 46 h 53"/>
                <a:gd name="T46" fmla="*/ 9 w 64"/>
                <a:gd name="T47" fmla="*/ 49 h 53"/>
                <a:gd name="T48" fmla="*/ 1 w 64"/>
                <a:gd name="T49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64" h="53">
                  <a:moveTo>
                    <a:pt x="1" y="53"/>
                  </a:moveTo>
                  <a:lnTo>
                    <a:pt x="0" y="48"/>
                  </a:lnTo>
                  <a:lnTo>
                    <a:pt x="0" y="43"/>
                  </a:lnTo>
                  <a:lnTo>
                    <a:pt x="1" y="35"/>
                  </a:lnTo>
                  <a:lnTo>
                    <a:pt x="4" y="27"/>
                  </a:lnTo>
                  <a:lnTo>
                    <a:pt x="7" y="20"/>
                  </a:lnTo>
                  <a:lnTo>
                    <a:pt x="12" y="13"/>
                  </a:lnTo>
                  <a:lnTo>
                    <a:pt x="19" y="8"/>
                  </a:lnTo>
                  <a:lnTo>
                    <a:pt x="26" y="3"/>
                  </a:lnTo>
                  <a:lnTo>
                    <a:pt x="33" y="1"/>
                  </a:lnTo>
                  <a:lnTo>
                    <a:pt x="42" y="0"/>
                  </a:lnTo>
                  <a:lnTo>
                    <a:pt x="42" y="0"/>
                  </a:lnTo>
                  <a:lnTo>
                    <a:pt x="42" y="0"/>
                  </a:lnTo>
                  <a:lnTo>
                    <a:pt x="48" y="1"/>
                  </a:lnTo>
                  <a:lnTo>
                    <a:pt x="54" y="2"/>
                  </a:lnTo>
                  <a:lnTo>
                    <a:pt x="59" y="3"/>
                  </a:lnTo>
                  <a:lnTo>
                    <a:pt x="64" y="7"/>
                  </a:lnTo>
                  <a:lnTo>
                    <a:pt x="57" y="15"/>
                  </a:lnTo>
                  <a:lnTo>
                    <a:pt x="49" y="23"/>
                  </a:lnTo>
                  <a:lnTo>
                    <a:pt x="41" y="30"/>
                  </a:lnTo>
                  <a:lnTo>
                    <a:pt x="33" y="36"/>
                  </a:lnTo>
                  <a:lnTo>
                    <a:pt x="26" y="42"/>
                  </a:lnTo>
                  <a:lnTo>
                    <a:pt x="18" y="46"/>
                  </a:lnTo>
                  <a:lnTo>
                    <a:pt x="9" y="49"/>
                  </a:lnTo>
                  <a:lnTo>
                    <a:pt x="1" y="53"/>
                  </a:lnTo>
                  <a:close/>
                </a:path>
              </a:pathLst>
            </a:custGeom>
            <a:solidFill>
              <a:srgbClr val="D0C5AC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6653" tIns="58327" rIns="116653" bIns="58327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434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137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7" name="Freeform 57"/>
            <p:cNvSpPr>
              <a:spLocks/>
            </p:cNvSpPr>
            <p:nvPr/>
          </p:nvSpPr>
          <p:spPr bwMode="auto">
            <a:xfrm>
              <a:off x="1875" y="2195"/>
              <a:ext cx="8" cy="19"/>
            </a:xfrm>
            <a:custGeom>
              <a:avLst/>
              <a:gdLst>
                <a:gd name="T0" fmla="*/ 30 w 30"/>
                <a:gd name="T1" fmla="*/ 77 h 77"/>
                <a:gd name="T2" fmla="*/ 24 w 30"/>
                <a:gd name="T3" fmla="*/ 75 h 77"/>
                <a:gd name="T4" fmla="*/ 18 w 30"/>
                <a:gd name="T5" fmla="*/ 71 h 77"/>
                <a:gd name="T6" fmla="*/ 13 w 30"/>
                <a:gd name="T7" fmla="*/ 66 h 77"/>
                <a:gd name="T8" fmla="*/ 8 w 30"/>
                <a:gd name="T9" fmla="*/ 62 h 77"/>
                <a:gd name="T10" fmla="*/ 5 w 30"/>
                <a:gd name="T11" fmla="*/ 56 h 77"/>
                <a:gd name="T12" fmla="*/ 2 w 30"/>
                <a:gd name="T13" fmla="*/ 50 h 77"/>
                <a:gd name="T14" fmla="*/ 0 w 30"/>
                <a:gd name="T15" fmla="*/ 43 h 77"/>
                <a:gd name="T16" fmla="*/ 0 w 30"/>
                <a:gd name="T17" fmla="*/ 37 h 77"/>
                <a:gd name="T18" fmla="*/ 0 w 30"/>
                <a:gd name="T19" fmla="*/ 31 h 77"/>
                <a:gd name="T20" fmla="*/ 1 w 30"/>
                <a:gd name="T21" fmla="*/ 25 h 77"/>
                <a:gd name="T22" fmla="*/ 4 w 30"/>
                <a:gd name="T23" fmla="*/ 20 h 77"/>
                <a:gd name="T24" fmla="*/ 6 w 30"/>
                <a:gd name="T25" fmla="*/ 16 h 77"/>
                <a:gd name="T26" fmla="*/ 8 w 30"/>
                <a:gd name="T27" fmla="*/ 11 h 77"/>
                <a:gd name="T28" fmla="*/ 12 w 30"/>
                <a:gd name="T29" fmla="*/ 6 h 77"/>
                <a:gd name="T30" fmla="*/ 15 w 30"/>
                <a:gd name="T31" fmla="*/ 3 h 77"/>
                <a:gd name="T32" fmla="*/ 20 w 30"/>
                <a:gd name="T33" fmla="*/ 0 h 77"/>
                <a:gd name="T34" fmla="*/ 21 w 30"/>
                <a:gd name="T35" fmla="*/ 19 h 77"/>
                <a:gd name="T36" fmla="*/ 24 w 30"/>
                <a:gd name="T37" fmla="*/ 38 h 77"/>
                <a:gd name="T38" fmla="*/ 26 w 30"/>
                <a:gd name="T39" fmla="*/ 58 h 77"/>
                <a:gd name="T40" fmla="*/ 30 w 30"/>
                <a:gd name="T41" fmla="*/ 77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0" h="77">
                  <a:moveTo>
                    <a:pt x="30" y="77"/>
                  </a:moveTo>
                  <a:lnTo>
                    <a:pt x="24" y="75"/>
                  </a:lnTo>
                  <a:lnTo>
                    <a:pt x="18" y="71"/>
                  </a:lnTo>
                  <a:lnTo>
                    <a:pt x="13" y="66"/>
                  </a:lnTo>
                  <a:lnTo>
                    <a:pt x="8" y="62"/>
                  </a:lnTo>
                  <a:lnTo>
                    <a:pt x="5" y="56"/>
                  </a:lnTo>
                  <a:lnTo>
                    <a:pt x="2" y="50"/>
                  </a:lnTo>
                  <a:lnTo>
                    <a:pt x="0" y="43"/>
                  </a:lnTo>
                  <a:lnTo>
                    <a:pt x="0" y="37"/>
                  </a:lnTo>
                  <a:lnTo>
                    <a:pt x="0" y="31"/>
                  </a:lnTo>
                  <a:lnTo>
                    <a:pt x="1" y="25"/>
                  </a:lnTo>
                  <a:lnTo>
                    <a:pt x="4" y="20"/>
                  </a:lnTo>
                  <a:lnTo>
                    <a:pt x="6" y="16"/>
                  </a:lnTo>
                  <a:lnTo>
                    <a:pt x="8" y="11"/>
                  </a:lnTo>
                  <a:lnTo>
                    <a:pt x="12" y="6"/>
                  </a:lnTo>
                  <a:lnTo>
                    <a:pt x="15" y="3"/>
                  </a:lnTo>
                  <a:lnTo>
                    <a:pt x="20" y="0"/>
                  </a:lnTo>
                  <a:lnTo>
                    <a:pt x="21" y="19"/>
                  </a:lnTo>
                  <a:lnTo>
                    <a:pt x="24" y="38"/>
                  </a:lnTo>
                  <a:lnTo>
                    <a:pt x="26" y="58"/>
                  </a:lnTo>
                  <a:lnTo>
                    <a:pt x="30" y="77"/>
                  </a:lnTo>
                  <a:close/>
                </a:path>
              </a:pathLst>
            </a:custGeom>
            <a:solidFill>
              <a:srgbClr val="D0C5AC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6653" tIns="58327" rIns="116653" bIns="58327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434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137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8" name="Freeform 58"/>
            <p:cNvSpPr>
              <a:spLocks/>
            </p:cNvSpPr>
            <p:nvPr/>
          </p:nvSpPr>
          <p:spPr bwMode="auto">
            <a:xfrm>
              <a:off x="1938" y="2430"/>
              <a:ext cx="21" cy="21"/>
            </a:xfrm>
            <a:custGeom>
              <a:avLst/>
              <a:gdLst>
                <a:gd name="T0" fmla="*/ 42 w 84"/>
                <a:gd name="T1" fmla="*/ 85 h 85"/>
                <a:gd name="T2" fmla="*/ 34 w 84"/>
                <a:gd name="T3" fmla="*/ 85 h 85"/>
                <a:gd name="T4" fmla="*/ 26 w 84"/>
                <a:gd name="T5" fmla="*/ 82 h 85"/>
                <a:gd name="T6" fmla="*/ 19 w 84"/>
                <a:gd name="T7" fmla="*/ 78 h 85"/>
                <a:gd name="T8" fmla="*/ 13 w 84"/>
                <a:gd name="T9" fmla="*/ 73 h 85"/>
                <a:gd name="T10" fmla="*/ 8 w 84"/>
                <a:gd name="T11" fmla="*/ 66 h 85"/>
                <a:gd name="T12" fmla="*/ 3 w 84"/>
                <a:gd name="T13" fmla="*/ 59 h 85"/>
                <a:gd name="T14" fmla="*/ 1 w 84"/>
                <a:gd name="T15" fmla="*/ 51 h 85"/>
                <a:gd name="T16" fmla="*/ 0 w 84"/>
                <a:gd name="T17" fmla="*/ 42 h 85"/>
                <a:gd name="T18" fmla="*/ 1 w 84"/>
                <a:gd name="T19" fmla="*/ 34 h 85"/>
                <a:gd name="T20" fmla="*/ 3 w 84"/>
                <a:gd name="T21" fmla="*/ 26 h 85"/>
                <a:gd name="T22" fmla="*/ 7 w 84"/>
                <a:gd name="T23" fmla="*/ 19 h 85"/>
                <a:gd name="T24" fmla="*/ 13 w 84"/>
                <a:gd name="T25" fmla="*/ 12 h 85"/>
                <a:gd name="T26" fmla="*/ 19 w 84"/>
                <a:gd name="T27" fmla="*/ 7 h 85"/>
                <a:gd name="T28" fmla="*/ 26 w 84"/>
                <a:gd name="T29" fmla="*/ 3 h 85"/>
                <a:gd name="T30" fmla="*/ 34 w 84"/>
                <a:gd name="T31" fmla="*/ 1 h 85"/>
                <a:gd name="T32" fmla="*/ 42 w 84"/>
                <a:gd name="T33" fmla="*/ 0 h 85"/>
                <a:gd name="T34" fmla="*/ 42 w 84"/>
                <a:gd name="T35" fmla="*/ 0 h 85"/>
                <a:gd name="T36" fmla="*/ 42 w 84"/>
                <a:gd name="T37" fmla="*/ 0 h 85"/>
                <a:gd name="T38" fmla="*/ 52 w 84"/>
                <a:gd name="T39" fmla="*/ 1 h 85"/>
                <a:gd name="T40" fmla="*/ 59 w 84"/>
                <a:gd name="T41" fmla="*/ 3 h 85"/>
                <a:gd name="T42" fmla="*/ 66 w 84"/>
                <a:gd name="T43" fmla="*/ 7 h 85"/>
                <a:gd name="T44" fmla="*/ 73 w 84"/>
                <a:gd name="T45" fmla="*/ 12 h 85"/>
                <a:gd name="T46" fmla="*/ 77 w 84"/>
                <a:gd name="T47" fmla="*/ 19 h 85"/>
                <a:gd name="T48" fmla="*/ 82 w 84"/>
                <a:gd name="T49" fmla="*/ 26 h 85"/>
                <a:gd name="T50" fmla="*/ 84 w 84"/>
                <a:gd name="T51" fmla="*/ 34 h 85"/>
                <a:gd name="T52" fmla="*/ 84 w 84"/>
                <a:gd name="T53" fmla="*/ 42 h 85"/>
                <a:gd name="T54" fmla="*/ 84 w 84"/>
                <a:gd name="T55" fmla="*/ 51 h 85"/>
                <a:gd name="T56" fmla="*/ 82 w 84"/>
                <a:gd name="T57" fmla="*/ 59 h 85"/>
                <a:gd name="T58" fmla="*/ 77 w 84"/>
                <a:gd name="T59" fmla="*/ 66 h 85"/>
                <a:gd name="T60" fmla="*/ 73 w 84"/>
                <a:gd name="T61" fmla="*/ 73 h 85"/>
                <a:gd name="T62" fmla="*/ 67 w 84"/>
                <a:gd name="T63" fmla="*/ 78 h 85"/>
                <a:gd name="T64" fmla="*/ 59 w 84"/>
                <a:gd name="T65" fmla="*/ 82 h 85"/>
                <a:gd name="T66" fmla="*/ 52 w 84"/>
                <a:gd name="T67" fmla="*/ 85 h 85"/>
                <a:gd name="T68" fmla="*/ 42 w 84"/>
                <a:gd name="T69" fmla="*/ 85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84" h="85">
                  <a:moveTo>
                    <a:pt x="42" y="85"/>
                  </a:moveTo>
                  <a:lnTo>
                    <a:pt x="34" y="85"/>
                  </a:lnTo>
                  <a:lnTo>
                    <a:pt x="26" y="82"/>
                  </a:lnTo>
                  <a:lnTo>
                    <a:pt x="19" y="78"/>
                  </a:lnTo>
                  <a:lnTo>
                    <a:pt x="13" y="73"/>
                  </a:lnTo>
                  <a:lnTo>
                    <a:pt x="8" y="66"/>
                  </a:lnTo>
                  <a:lnTo>
                    <a:pt x="3" y="59"/>
                  </a:lnTo>
                  <a:lnTo>
                    <a:pt x="1" y="51"/>
                  </a:lnTo>
                  <a:lnTo>
                    <a:pt x="0" y="42"/>
                  </a:lnTo>
                  <a:lnTo>
                    <a:pt x="1" y="34"/>
                  </a:lnTo>
                  <a:lnTo>
                    <a:pt x="3" y="26"/>
                  </a:lnTo>
                  <a:lnTo>
                    <a:pt x="7" y="19"/>
                  </a:lnTo>
                  <a:lnTo>
                    <a:pt x="13" y="12"/>
                  </a:lnTo>
                  <a:lnTo>
                    <a:pt x="19" y="7"/>
                  </a:lnTo>
                  <a:lnTo>
                    <a:pt x="26" y="3"/>
                  </a:lnTo>
                  <a:lnTo>
                    <a:pt x="34" y="1"/>
                  </a:lnTo>
                  <a:lnTo>
                    <a:pt x="42" y="0"/>
                  </a:lnTo>
                  <a:lnTo>
                    <a:pt x="42" y="0"/>
                  </a:lnTo>
                  <a:lnTo>
                    <a:pt x="42" y="0"/>
                  </a:lnTo>
                  <a:lnTo>
                    <a:pt x="52" y="1"/>
                  </a:lnTo>
                  <a:lnTo>
                    <a:pt x="59" y="3"/>
                  </a:lnTo>
                  <a:lnTo>
                    <a:pt x="66" y="7"/>
                  </a:lnTo>
                  <a:lnTo>
                    <a:pt x="73" y="12"/>
                  </a:lnTo>
                  <a:lnTo>
                    <a:pt x="77" y="19"/>
                  </a:lnTo>
                  <a:lnTo>
                    <a:pt x="82" y="26"/>
                  </a:lnTo>
                  <a:lnTo>
                    <a:pt x="84" y="34"/>
                  </a:lnTo>
                  <a:lnTo>
                    <a:pt x="84" y="42"/>
                  </a:lnTo>
                  <a:lnTo>
                    <a:pt x="84" y="51"/>
                  </a:lnTo>
                  <a:lnTo>
                    <a:pt x="82" y="59"/>
                  </a:lnTo>
                  <a:lnTo>
                    <a:pt x="77" y="66"/>
                  </a:lnTo>
                  <a:lnTo>
                    <a:pt x="73" y="73"/>
                  </a:lnTo>
                  <a:lnTo>
                    <a:pt x="67" y="78"/>
                  </a:lnTo>
                  <a:lnTo>
                    <a:pt x="59" y="82"/>
                  </a:lnTo>
                  <a:lnTo>
                    <a:pt x="52" y="85"/>
                  </a:lnTo>
                  <a:lnTo>
                    <a:pt x="42" y="85"/>
                  </a:lnTo>
                  <a:close/>
                </a:path>
              </a:pathLst>
            </a:custGeom>
            <a:solidFill>
              <a:srgbClr val="D0C5AC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6653" tIns="58327" rIns="116653" bIns="58327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434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137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9" name="Freeform 59"/>
            <p:cNvSpPr>
              <a:spLocks/>
            </p:cNvSpPr>
            <p:nvPr/>
          </p:nvSpPr>
          <p:spPr bwMode="auto">
            <a:xfrm>
              <a:off x="2238" y="2122"/>
              <a:ext cx="22" cy="22"/>
            </a:xfrm>
            <a:custGeom>
              <a:avLst/>
              <a:gdLst>
                <a:gd name="T0" fmla="*/ 42 w 85"/>
                <a:gd name="T1" fmla="*/ 86 h 86"/>
                <a:gd name="T2" fmla="*/ 34 w 85"/>
                <a:gd name="T3" fmla="*/ 84 h 86"/>
                <a:gd name="T4" fmla="*/ 26 w 85"/>
                <a:gd name="T5" fmla="*/ 82 h 86"/>
                <a:gd name="T6" fmla="*/ 19 w 85"/>
                <a:gd name="T7" fmla="*/ 78 h 86"/>
                <a:gd name="T8" fmla="*/ 12 w 85"/>
                <a:gd name="T9" fmla="*/ 73 h 86"/>
                <a:gd name="T10" fmla="*/ 7 w 85"/>
                <a:gd name="T11" fmla="*/ 67 h 86"/>
                <a:gd name="T12" fmla="*/ 3 w 85"/>
                <a:gd name="T13" fmla="*/ 60 h 86"/>
                <a:gd name="T14" fmla="*/ 1 w 85"/>
                <a:gd name="T15" fmla="*/ 51 h 86"/>
                <a:gd name="T16" fmla="*/ 0 w 85"/>
                <a:gd name="T17" fmla="*/ 43 h 86"/>
                <a:gd name="T18" fmla="*/ 1 w 85"/>
                <a:gd name="T19" fmla="*/ 34 h 86"/>
                <a:gd name="T20" fmla="*/ 3 w 85"/>
                <a:gd name="T21" fmla="*/ 27 h 86"/>
                <a:gd name="T22" fmla="*/ 7 w 85"/>
                <a:gd name="T23" fmla="*/ 18 h 86"/>
                <a:gd name="T24" fmla="*/ 12 w 85"/>
                <a:gd name="T25" fmla="*/ 13 h 86"/>
                <a:gd name="T26" fmla="*/ 19 w 85"/>
                <a:gd name="T27" fmla="*/ 8 h 86"/>
                <a:gd name="T28" fmla="*/ 26 w 85"/>
                <a:gd name="T29" fmla="*/ 3 h 86"/>
                <a:gd name="T30" fmla="*/ 33 w 85"/>
                <a:gd name="T31" fmla="*/ 1 h 86"/>
                <a:gd name="T32" fmla="*/ 42 w 85"/>
                <a:gd name="T33" fmla="*/ 0 h 86"/>
                <a:gd name="T34" fmla="*/ 50 w 85"/>
                <a:gd name="T35" fmla="*/ 1 h 86"/>
                <a:gd name="T36" fmla="*/ 59 w 85"/>
                <a:gd name="T37" fmla="*/ 3 h 86"/>
                <a:gd name="T38" fmla="*/ 66 w 85"/>
                <a:gd name="T39" fmla="*/ 8 h 86"/>
                <a:gd name="T40" fmla="*/ 72 w 85"/>
                <a:gd name="T41" fmla="*/ 13 h 86"/>
                <a:gd name="T42" fmla="*/ 78 w 85"/>
                <a:gd name="T43" fmla="*/ 18 h 86"/>
                <a:gd name="T44" fmla="*/ 81 w 85"/>
                <a:gd name="T45" fmla="*/ 27 h 86"/>
                <a:gd name="T46" fmla="*/ 83 w 85"/>
                <a:gd name="T47" fmla="*/ 34 h 86"/>
                <a:gd name="T48" fmla="*/ 85 w 85"/>
                <a:gd name="T49" fmla="*/ 43 h 86"/>
                <a:gd name="T50" fmla="*/ 83 w 85"/>
                <a:gd name="T51" fmla="*/ 51 h 86"/>
                <a:gd name="T52" fmla="*/ 81 w 85"/>
                <a:gd name="T53" fmla="*/ 60 h 86"/>
                <a:gd name="T54" fmla="*/ 78 w 85"/>
                <a:gd name="T55" fmla="*/ 67 h 86"/>
                <a:gd name="T56" fmla="*/ 72 w 85"/>
                <a:gd name="T57" fmla="*/ 73 h 86"/>
                <a:gd name="T58" fmla="*/ 66 w 85"/>
                <a:gd name="T59" fmla="*/ 78 h 86"/>
                <a:gd name="T60" fmla="*/ 59 w 85"/>
                <a:gd name="T61" fmla="*/ 82 h 86"/>
                <a:gd name="T62" fmla="*/ 50 w 85"/>
                <a:gd name="T63" fmla="*/ 84 h 86"/>
                <a:gd name="T64" fmla="*/ 42 w 85"/>
                <a:gd name="T65" fmla="*/ 86 h 86"/>
                <a:gd name="T66" fmla="*/ 42 w 85"/>
                <a:gd name="T67" fmla="*/ 86 h 86"/>
                <a:gd name="T68" fmla="*/ 42 w 85"/>
                <a:gd name="T69" fmla="*/ 86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85" h="86">
                  <a:moveTo>
                    <a:pt x="42" y="86"/>
                  </a:moveTo>
                  <a:lnTo>
                    <a:pt x="34" y="84"/>
                  </a:lnTo>
                  <a:lnTo>
                    <a:pt x="26" y="82"/>
                  </a:lnTo>
                  <a:lnTo>
                    <a:pt x="19" y="78"/>
                  </a:lnTo>
                  <a:lnTo>
                    <a:pt x="12" y="73"/>
                  </a:lnTo>
                  <a:lnTo>
                    <a:pt x="7" y="67"/>
                  </a:lnTo>
                  <a:lnTo>
                    <a:pt x="3" y="60"/>
                  </a:lnTo>
                  <a:lnTo>
                    <a:pt x="1" y="51"/>
                  </a:lnTo>
                  <a:lnTo>
                    <a:pt x="0" y="43"/>
                  </a:lnTo>
                  <a:lnTo>
                    <a:pt x="1" y="34"/>
                  </a:lnTo>
                  <a:lnTo>
                    <a:pt x="3" y="27"/>
                  </a:lnTo>
                  <a:lnTo>
                    <a:pt x="7" y="18"/>
                  </a:lnTo>
                  <a:lnTo>
                    <a:pt x="12" y="13"/>
                  </a:lnTo>
                  <a:lnTo>
                    <a:pt x="19" y="8"/>
                  </a:lnTo>
                  <a:lnTo>
                    <a:pt x="26" y="3"/>
                  </a:lnTo>
                  <a:lnTo>
                    <a:pt x="33" y="1"/>
                  </a:lnTo>
                  <a:lnTo>
                    <a:pt x="42" y="0"/>
                  </a:lnTo>
                  <a:lnTo>
                    <a:pt x="50" y="1"/>
                  </a:lnTo>
                  <a:lnTo>
                    <a:pt x="59" y="3"/>
                  </a:lnTo>
                  <a:lnTo>
                    <a:pt x="66" y="8"/>
                  </a:lnTo>
                  <a:lnTo>
                    <a:pt x="72" y="13"/>
                  </a:lnTo>
                  <a:lnTo>
                    <a:pt x="78" y="18"/>
                  </a:lnTo>
                  <a:lnTo>
                    <a:pt x="81" y="27"/>
                  </a:lnTo>
                  <a:lnTo>
                    <a:pt x="83" y="34"/>
                  </a:lnTo>
                  <a:lnTo>
                    <a:pt x="85" y="43"/>
                  </a:lnTo>
                  <a:lnTo>
                    <a:pt x="83" y="51"/>
                  </a:lnTo>
                  <a:lnTo>
                    <a:pt x="81" y="60"/>
                  </a:lnTo>
                  <a:lnTo>
                    <a:pt x="78" y="67"/>
                  </a:lnTo>
                  <a:lnTo>
                    <a:pt x="72" y="73"/>
                  </a:lnTo>
                  <a:lnTo>
                    <a:pt x="66" y="78"/>
                  </a:lnTo>
                  <a:lnTo>
                    <a:pt x="59" y="82"/>
                  </a:lnTo>
                  <a:lnTo>
                    <a:pt x="50" y="84"/>
                  </a:lnTo>
                  <a:lnTo>
                    <a:pt x="42" y="86"/>
                  </a:lnTo>
                  <a:lnTo>
                    <a:pt x="42" y="86"/>
                  </a:lnTo>
                  <a:lnTo>
                    <a:pt x="42" y="86"/>
                  </a:lnTo>
                  <a:close/>
                </a:path>
              </a:pathLst>
            </a:custGeom>
            <a:solidFill>
              <a:srgbClr val="B4A69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6653" tIns="58327" rIns="116653" bIns="58327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434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137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90" name="Freeform 60"/>
            <p:cNvSpPr>
              <a:spLocks/>
            </p:cNvSpPr>
            <p:nvPr/>
          </p:nvSpPr>
          <p:spPr bwMode="auto">
            <a:xfrm>
              <a:off x="2382" y="2122"/>
              <a:ext cx="21" cy="21"/>
            </a:xfrm>
            <a:custGeom>
              <a:avLst/>
              <a:gdLst>
                <a:gd name="T0" fmla="*/ 43 w 85"/>
                <a:gd name="T1" fmla="*/ 86 h 86"/>
                <a:gd name="T2" fmla="*/ 34 w 85"/>
                <a:gd name="T3" fmla="*/ 86 h 86"/>
                <a:gd name="T4" fmla="*/ 26 w 85"/>
                <a:gd name="T5" fmla="*/ 83 h 86"/>
                <a:gd name="T6" fmla="*/ 19 w 85"/>
                <a:gd name="T7" fmla="*/ 79 h 86"/>
                <a:gd name="T8" fmla="*/ 13 w 85"/>
                <a:gd name="T9" fmla="*/ 75 h 86"/>
                <a:gd name="T10" fmla="*/ 7 w 85"/>
                <a:gd name="T11" fmla="*/ 68 h 86"/>
                <a:gd name="T12" fmla="*/ 4 w 85"/>
                <a:gd name="T13" fmla="*/ 60 h 86"/>
                <a:gd name="T14" fmla="*/ 2 w 85"/>
                <a:gd name="T15" fmla="*/ 52 h 86"/>
                <a:gd name="T16" fmla="*/ 0 w 85"/>
                <a:gd name="T17" fmla="*/ 44 h 86"/>
                <a:gd name="T18" fmla="*/ 2 w 85"/>
                <a:gd name="T19" fmla="*/ 36 h 86"/>
                <a:gd name="T20" fmla="*/ 4 w 85"/>
                <a:gd name="T21" fmla="*/ 27 h 86"/>
                <a:gd name="T22" fmla="*/ 7 w 85"/>
                <a:gd name="T23" fmla="*/ 20 h 86"/>
                <a:gd name="T24" fmla="*/ 13 w 85"/>
                <a:gd name="T25" fmla="*/ 13 h 86"/>
                <a:gd name="T26" fmla="*/ 19 w 85"/>
                <a:gd name="T27" fmla="*/ 9 h 86"/>
                <a:gd name="T28" fmla="*/ 26 w 85"/>
                <a:gd name="T29" fmla="*/ 4 h 86"/>
                <a:gd name="T30" fmla="*/ 34 w 85"/>
                <a:gd name="T31" fmla="*/ 2 h 86"/>
                <a:gd name="T32" fmla="*/ 43 w 85"/>
                <a:gd name="T33" fmla="*/ 0 h 86"/>
                <a:gd name="T34" fmla="*/ 51 w 85"/>
                <a:gd name="T35" fmla="*/ 2 h 86"/>
                <a:gd name="T36" fmla="*/ 59 w 85"/>
                <a:gd name="T37" fmla="*/ 4 h 86"/>
                <a:gd name="T38" fmla="*/ 66 w 85"/>
                <a:gd name="T39" fmla="*/ 9 h 86"/>
                <a:gd name="T40" fmla="*/ 73 w 85"/>
                <a:gd name="T41" fmla="*/ 13 h 86"/>
                <a:gd name="T42" fmla="*/ 78 w 85"/>
                <a:gd name="T43" fmla="*/ 19 h 86"/>
                <a:gd name="T44" fmla="*/ 82 w 85"/>
                <a:gd name="T45" fmla="*/ 27 h 86"/>
                <a:gd name="T46" fmla="*/ 84 w 85"/>
                <a:gd name="T47" fmla="*/ 35 h 86"/>
                <a:gd name="T48" fmla="*/ 85 w 85"/>
                <a:gd name="T49" fmla="*/ 44 h 86"/>
                <a:gd name="T50" fmla="*/ 85 w 85"/>
                <a:gd name="T51" fmla="*/ 52 h 86"/>
                <a:gd name="T52" fmla="*/ 82 w 85"/>
                <a:gd name="T53" fmla="*/ 60 h 86"/>
                <a:gd name="T54" fmla="*/ 78 w 85"/>
                <a:gd name="T55" fmla="*/ 68 h 86"/>
                <a:gd name="T56" fmla="*/ 73 w 85"/>
                <a:gd name="T57" fmla="*/ 73 h 86"/>
                <a:gd name="T58" fmla="*/ 66 w 85"/>
                <a:gd name="T59" fmla="*/ 79 h 86"/>
                <a:gd name="T60" fmla="*/ 59 w 85"/>
                <a:gd name="T61" fmla="*/ 83 h 86"/>
                <a:gd name="T62" fmla="*/ 52 w 85"/>
                <a:gd name="T63" fmla="*/ 85 h 86"/>
                <a:gd name="T64" fmla="*/ 43 w 85"/>
                <a:gd name="T65" fmla="*/ 86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85" h="86">
                  <a:moveTo>
                    <a:pt x="43" y="86"/>
                  </a:moveTo>
                  <a:lnTo>
                    <a:pt x="34" y="86"/>
                  </a:lnTo>
                  <a:lnTo>
                    <a:pt x="26" y="83"/>
                  </a:lnTo>
                  <a:lnTo>
                    <a:pt x="19" y="79"/>
                  </a:lnTo>
                  <a:lnTo>
                    <a:pt x="13" y="75"/>
                  </a:lnTo>
                  <a:lnTo>
                    <a:pt x="7" y="68"/>
                  </a:lnTo>
                  <a:lnTo>
                    <a:pt x="4" y="60"/>
                  </a:lnTo>
                  <a:lnTo>
                    <a:pt x="2" y="52"/>
                  </a:lnTo>
                  <a:lnTo>
                    <a:pt x="0" y="44"/>
                  </a:lnTo>
                  <a:lnTo>
                    <a:pt x="2" y="36"/>
                  </a:lnTo>
                  <a:lnTo>
                    <a:pt x="4" y="27"/>
                  </a:lnTo>
                  <a:lnTo>
                    <a:pt x="7" y="20"/>
                  </a:lnTo>
                  <a:lnTo>
                    <a:pt x="13" y="13"/>
                  </a:lnTo>
                  <a:lnTo>
                    <a:pt x="19" y="9"/>
                  </a:lnTo>
                  <a:lnTo>
                    <a:pt x="26" y="4"/>
                  </a:lnTo>
                  <a:lnTo>
                    <a:pt x="34" y="2"/>
                  </a:lnTo>
                  <a:lnTo>
                    <a:pt x="43" y="0"/>
                  </a:lnTo>
                  <a:lnTo>
                    <a:pt x="51" y="2"/>
                  </a:lnTo>
                  <a:lnTo>
                    <a:pt x="59" y="4"/>
                  </a:lnTo>
                  <a:lnTo>
                    <a:pt x="66" y="9"/>
                  </a:lnTo>
                  <a:lnTo>
                    <a:pt x="73" y="13"/>
                  </a:lnTo>
                  <a:lnTo>
                    <a:pt x="78" y="19"/>
                  </a:lnTo>
                  <a:lnTo>
                    <a:pt x="82" y="27"/>
                  </a:lnTo>
                  <a:lnTo>
                    <a:pt x="84" y="35"/>
                  </a:lnTo>
                  <a:lnTo>
                    <a:pt x="85" y="44"/>
                  </a:lnTo>
                  <a:lnTo>
                    <a:pt x="85" y="52"/>
                  </a:lnTo>
                  <a:lnTo>
                    <a:pt x="82" y="60"/>
                  </a:lnTo>
                  <a:lnTo>
                    <a:pt x="78" y="68"/>
                  </a:lnTo>
                  <a:lnTo>
                    <a:pt x="73" y="73"/>
                  </a:lnTo>
                  <a:lnTo>
                    <a:pt x="66" y="79"/>
                  </a:lnTo>
                  <a:lnTo>
                    <a:pt x="59" y="83"/>
                  </a:lnTo>
                  <a:lnTo>
                    <a:pt x="52" y="85"/>
                  </a:lnTo>
                  <a:lnTo>
                    <a:pt x="43" y="86"/>
                  </a:lnTo>
                  <a:close/>
                </a:path>
              </a:pathLst>
            </a:custGeom>
            <a:solidFill>
              <a:srgbClr val="B4A69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6653" tIns="58327" rIns="116653" bIns="58327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434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137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91" name="Freeform 61"/>
            <p:cNvSpPr>
              <a:spLocks/>
            </p:cNvSpPr>
            <p:nvPr/>
          </p:nvSpPr>
          <p:spPr bwMode="auto">
            <a:xfrm>
              <a:off x="2320" y="2192"/>
              <a:ext cx="21" cy="22"/>
            </a:xfrm>
            <a:custGeom>
              <a:avLst/>
              <a:gdLst>
                <a:gd name="T0" fmla="*/ 43 w 85"/>
                <a:gd name="T1" fmla="*/ 86 h 86"/>
                <a:gd name="T2" fmla="*/ 34 w 85"/>
                <a:gd name="T3" fmla="*/ 85 h 86"/>
                <a:gd name="T4" fmla="*/ 26 w 85"/>
                <a:gd name="T5" fmla="*/ 82 h 86"/>
                <a:gd name="T6" fmla="*/ 19 w 85"/>
                <a:gd name="T7" fmla="*/ 79 h 86"/>
                <a:gd name="T8" fmla="*/ 12 w 85"/>
                <a:gd name="T9" fmla="*/ 73 h 86"/>
                <a:gd name="T10" fmla="*/ 7 w 85"/>
                <a:gd name="T11" fmla="*/ 67 h 86"/>
                <a:gd name="T12" fmla="*/ 4 w 85"/>
                <a:gd name="T13" fmla="*/ 60 h 86"/>
                <a:gd name="T14" fmla="*/ 1 w 85"/>
                <a:gd name="T15" fmla="*/ 52 h 86"/>
                <a:gd name="T16" fmla="*/ 0 w 85"/>
                <a:gd name="T17" fmla="*/ 43 h 86"/>
                <a:gd name="T18" fmla="*/ 1 w 85"/>
                <a:gd name="T19" fmla="*/ 34 h 86"/>
                <a:gd name="T20" fmla="*/ 4 w 85"/>
                <a:gd name="T21" fmla="*/ 26 h 86"/>
                <a:gd name="T22" fmla="*/ 7 w 85"/>
                <a:gd name="T23" fmla="*/ 19 h 86"/>
                <a:gd name="T24" fmla="*/ 12 w 85"/>
                <a:gd name="T25" fmla="*/ 13 h 86"/>
                <a:gd name="T26" fmla="*/ 19 w 85"/>
                <a:gd name="T27" fmla="*/ 7 h 86"/>
                <a:gd name="T28" fmla="*/ 26 w 85"/>
                <a:gd name="T29" fmla="*/ 3 h 86"/>
                <a:gd name="T30" fmla="*/ 33 w 85"/>
                <a:gd name="T31" fmla="*/ 1 h 86"/>
                <a:gd name="T32" fmla="*/ 43 w 85"/>
                <a:gd name="T33" fmla="*/ 0 h 86"/>
                <a:gd name="T34" fmla="*/ 51 w 85"/>
                <a:gd name="T35" fmla="*/ 1 h 86"/>
                <a:gd name="T36" fmla="*/ 59 w 85"/>
                <a:gd name="T37" fmla="*/ 3 h 86"/>
                <a:gd name="T38" fmla="*/ 66 w 85"/>
                <a:gd name="T39" fmla="*/ 7 h 86"/>
                <a:gd name="T40" fmla="*/ 72 w 85"/>
                <a:gd name="T41" fmla="*/ 13 h 86"/>
                <a:gd name="T42" fmla="*/ 78 w 85"/>
                <a:gd name="T43" fmla="*/ 19 h 86"/>
                <a:gd name="T44" fmla="*/ 81 w 85"/>
                <a:gd name="T45" fmla="*/ 26 h 86"/>
                <a:gd name="T46" fmla="*/ 84 w 85"/>
                <a:gd name="T47" fmla="*/ 34 h 86"/>
                <a:gd name="T48" fmla="*/ 85 w 85"/>
                <a:gd name="T49" fmla="*/ 42 h 86"/>
                <a:gd name="T50" fmla="*/ 84 w 85"/>
                <a:gd name="T51" fmla="*/ 52 h 86"/>
                <a:gd name="T52" fmla="*/ 81 w 85"/>
                <a:gd name="T53" fmla="*/ 60 h 86"/>
                <a:gd name="T54" fmla="*/ 78 w 85"/>
                <a:gd name="T55" fmla="*/ 67 h 86"/>
                <a:gd name="T56" fmla="*/ 72 w 85"/>
                <a:gd name="T57" fmla="*/ 73 h 86"/>
                <a:gd name="T58" fmla="*/ 66 w 85"/>
                <a:gd name="T59" fmla="*/ 79 h 86"/>
                <a:gd name="T60" fmla="*/ 59 w 85"/>
                <a:gd name="T61" fmla="*/ 82 h 86"/>
                <a:gd name="T62" fmla="*/ 51 w 85"/>
                <a:gd name="T63" fmla="*/ 85 h 86"/>
                <a:gd name="T64" fmla="*/ 43 w 85"/>
                <a:gd name="T65" fmla="*/ 86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85" h="86">
                  <a:moveTo>
                    <a:pt x="43" y="86"/>
                  </a:moveTo>
                  <a:lnTo>
                    <a:pt x="34" y="85"/>
                  </a:lnTo>
                  <a:lnTo>
                    <a:pt x="26" y="82"/>
                  </a:lnTo>
                  <a:lnTo>
                    <a:pt x="19" y="79"/>
                  </a:lnTo>
                  <a:lnTo>
                    <a:pt x="12" y="73"/>
                  </a:lnTo>
                  <a:lnTo>
                    <a:pt x="7" y="67"/>
                  </a:lnTo>
                  <a:lnTo>
                    <a:pt x="4" y="60"/>
                  </a:lnTo>
                  <a:lnTo>
                    <a:pt x="1" y="52"/>
                  </a:lnTo>
                  <a:lnTo>
                    <a:pt x="0" y="43"/>
                  </a:lnTo>
                  <a:lnTo>
                    <a:pt x="1" y="34"/>
                  </a:lnTo>
                  <a:lnTo>
                    <a:pt x="4" y="26"/>
                  </a:lnTo>
                  <a:lnTo>
                    <a:pt x="7" y="19"/>
                  </a:lnTo>
                  <a:lnTo>
                    <a:pt x="12" y="13"/>
                  </a:lnTo>
                  <a:lnTo>
                    <a:pt x="19" y="7"/>
                  </a:lnTo>
                  <a:lnTo>
                    <a:pt x="26" y="3"/>
                  </a:lnTo>
                  <a:lnTo>
                    <a:pt x="33" y="1"/>
                  </a:lnTo>
                  <a:lnTo>
                    <a:pt x="43" y="0"/>
                  </a:lnTo>
                  <a:lnTo>
                    <a:pt x="51" y="1"/>
                  </a:lnTo>
                  <a:lnTo>
                    <a:pt x="59" y="3"/>
                  </a:lnTo>
                  <a:lnTo>
                    <a:pt x="66" y="7"/>
                  </a:lnTo>
                  <a:lnTo>
                    <a:pt x="72" y="13"/>
                  </a:lnTo>
                  <a:lnTo>
                    <a:pt x="78" y="19"/>
                  </a:lnTo>
                  <a:lnTo>
                    <a:pt x="81" y="26"/>
                  </a:lnTo>
                  <a:lnTo>
                    <a:pt x="84" y="34"/>
                  </a:lnTo>
                  <a:lnTo>
                    <a:pt x="85" y="42"/>
                  </a:lnTo>
                  <a:lnTo>
                    <a:pt x="84" y="52"/>
                  </a:lnTo>
                  <a:lnTo>
                    <a:pt x="81" y="60"/>
                  </a:lnTo>
                  <a:lnTo>
                    <a:pt x="78" y="67"/>
                  </a:lnTo>
                  <a:lnTo>
                    <a:pt x="72" y="73"/>
                  </a:lnTo>
                  <a:lnTo>
                    <a:pt x="66" y="79"/>
                  </a:lnTo>
                  <a:lnTo>
                    <a:pt x="59" y="82"/>
                  </a:lnTo>
                  <a:lnTo>
                    <a:pt x="51" y="85"/>
                  </a:lnTo>
                  <a:lnTo>
                    <a:pt x="43" y="86"/>
                  </a:lnTo>
                  <a:close/>
                </a:path>
              </a:pathLst>
            </a:custGeom>
            <a:solidFill>
              <a:srgbClr val="B4A69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6653" tIns="58327" rIns="116653" bIns="58327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434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137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92" name="Freeform 62"/>
            <p:cNvSpPr>
              <a:spLocks/>
            </p:cNvSpPr>
            <p:nvPr/>
          </p:nvSpPr>
          <p:spPr bwMode="auto">
            <a:xfrm>
              <a:off x="2464" y="2192"/>
              <a:ext cx="21" cy="21"/>
            </a:xfrm>
            <a:custGeom>
              <a:avLst/>
              <a:gdLst>
                <a:gd name="T0" fmla="*/ 42 w 84"/>
                <a:gd name="T1" fmla="*/ 86 h 86"/>
                <a:gd name="T2" fmla="*/ 34 w 84"/>
                <a:gd name="T3" fmla="*/ 84 h 86"/>
                <a:gd name="T4" fmla="*/ 26 w 84"/>
                <a:gd name="T5" fmla="*/ 82 h 86"/>
                <a:gd name="T6" fmla="*/ 18 w 84"/>
                <a:gd name="T7" fmla="*/ 78 h 86"/>
                <a:gd name="T8" fmla="*/ 13 w 84"/>
                <a:gd name="T9" fmla="*/ 73 h 86"/>
                <a:gd name="T10" fmla="*/ 7 w 84"/>
                <a:gd name="T11" fmla="*/ 67 h 86"/>
                <a:gd name="T12" fmla="*/ 3 w 84"/>
                <a:gd name="T13" fmla="*/ 60 h 86"/>
                <a:gd name="T14" fmla="*/ 1 w 84"/>
                <a:gd name="T15" fmla="*/ 51 h 86"/>
                <a:gd name="T16" fmla="*/ 0 w 84"/>
                <a:gd name="T17" fmla="*/ 43 h 86"/>
                <a:gd name="T18" fmla="*/ 1 w 84"/>
                <a:gd name="T19" fmla="*/ 34 h 86"/>
                <a:gd name="T20" fmla="*/ 3 w 84"/>
                <a:gd name="T21" fmla="*/ 25 h 86"/>
                <a:gd name="T22" fmla="*/ 7 w 84"/>
                <a:gd name="T23" fmla="*/ 18 h 86"/>
                <a:gd name="T24" fmla="*/ 13 w 84"/>
                <a:gd name="T25" fmla="*/ 13 h 86"/>
                <a:gd name="T26" fmla="*/ 18 w 84"/>
                <a:gd name="T27" fmla="*/ 7 h 86"/>
                <a:gd name="T28" fmla="*/ 26 w 84"/>
                <a:gd name="T29" fmla="*/ 3 h 86"/>
                <a:gd name="T30" fmla="*/ 34 w 84"/>
                <a:gd name="T31" fmla="*/ 1 h 86"/>
                <a:gd name="T32" fmla="*/ 42 w 84"/>
                <a:gd name="T33" fmla="*/ 0 h 86"/>
                <a:gd name="T34" fmla="*/ 42 w 84"/>
                <a:gd name="T35" fmla="*/ 0 h 86"/>
                <a:gd name="T36" fmla="*/ 42 w 84"/>
                <a:gd name="T37" fmla="*/ 0 h 86"/>
                <a:gd name="T38" fmla="*/ 51 w 84"/>
                <a:gd name="T39" fmla="*/ 1 h 86"/>
                <a:gd name="T40" fmla="*/ 58 w 84"/>
                <a:gd name="T41" fmla="*/ 3 h 86"/>
                <a:gd name="T42" fmla="*/ 66 w 84"/>
                <a:gd name="T43" fmla="*/ 7 h 86"/>
                <a:gd name="T44" fmla="*/ 73 w 84"/>
                <a:gd name="T45" fmla="*/ 13 h 86"/>
                <a:gd name="T46" fmla="*/ 77 w 84"/>
                <a:gd name="T47" fmla="*/ 18 h 86"/>
                <a:gd name="T48" fmla="*/ 81 w 84"/>
                <a:gd name="T49" fmla="*/ 25 h 86"/>
                <a:gd name="T50" fmla="*/ 83 w 84"/>
                <a:gd name="T51" fmla="*/ 34 h 86"/>
                <a:gd name="T52" fmla="*/ 84 w 84"/>
                <a:gd name="T53" fmla="*/ 42 h 86"/>
                <a:gd name="T54" fmla="*/ 84 w 84"/>
                <a:gd name="T55" fmla="*/ 51 h 86"/>
                <a:gd name="T56" fmla="*/ 81 w 84"/>
                <a:gd name="T57" fmla="*/ 60 h 86"/>
                <a:gd name="T58" fmla="*/ 77 w 84"/>
                <a:gd name="T59" fmla="*/ 67 h 86"/>
                <a:gd name="T60" fmla="*/ 73 w 84"/>
                <a:gd name="T61" fmla="*/ 73 h 86"/>
                <a:gd name="T62" fmla="*/ 66 w 84"/>
                <a:gd name="T63" fmla="*/ 78 h 86"/>
                <a:gd name="T64" fmla="*/ 58 w 84"/>
                <a:gd name="T65" fmla="*/ 82 h 86"/>
                <a:gd name="T66" fmla="*/ 51 w 84"/>
                <a:gd name="T67" fmla="*/ 84 h 86"/>
                <a:gd name="T68" fmla="*/ 42 w 84"/>
                <a:gd name="T69" fmla="*/ 86 h 86"/>
                <a:gd name="T70" fmla="*/ 42 w 84"/>
                <a:gd name="T71" fmla="*/ 86 h 86"/>
                <a:gd name="T72" fmla="*/ 42 w 84"/>
                <a:gd name="T73" fmla="*/ 86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84" h="86">
                  <a:moveTo>
                    <a:pt x="42" y="86"/>
                  </a:moveTo>
                  <a:lnTo>
                    <a:pt x="34" y="84"/>
                  </a:lnTo>
                  <a:lnTo>
                    <a:pt x="26" y="82"/>
                  </a:lnTo>
                  <a:lnTo>
                    <a:pt x="18" y="78"/>
                  </a:lnTo>
                  <a:lnTo>
                    <a:pt x="13" y="73"/>
                  </a:lnTo>
                  <a:lnTo>
                    <a:pt x="7" y="67"/>
                  </a:lnTo>
                  <a:lnTo>
                    <a:pt x="3" y="60"/>
                  </a:lnTo>
                  <a:lnTo>
                    <a:pt x="1" y="51"/>
                  </a:lnTo>
                  <a:lnTo>
                    <a:pt x="0" y="43"/>
                  </a:lnTo>
                  <a:lnTo>
                    <a:pt x="1" y="34"/>
                  </a:lnTo>
                  <a:lnTo>
                    <a:pt x="3" y="25"/>
                  </a:lnTo>
                  <a:lnTo>
                    <a:pt x="7" y="18"/>
                  </a:lnTo>
                  <a:lnTo>
                    <a:pt x="13" y="13"/>
                  </a:lnTo>
                  <a:lnTo>
                    <a:pt x="18" y="7"/>
                  </a:lnTo>
                  <a:lnTo>
                    <a:pt x="26" y="3"/>
                  </a:lnTo>
                  <a:lnTo>
                    <a:pt x="34" y="1"/>
                  </a:lnTo>
                  <a:lnTo>
                    <a:pt x="42" y="0"/>
                  </a:lnTo>
                  <a:lnTo>
                    <a:pt x="42" y="0"/>
                  </a:lnTo>
                  <a:lnTo>
                    <a:pt x="42" y="0"/>
                  </a:lnTo>
                  <a:lnTo>
                    <a:pt x="51" y="1"/>
                  </a:lnTo>
                  <a:lnTo>
                    <a:pt x="58" y="3"/>
                  </a:lnTo>
                  <a:lnTo>
                    <a:pt x="66" y="7"/>
                  </a:lnTo>
                  <a:lnTo>
                    <a:pt x="73" y="13"/>
                  </a:lnTo>
                  <a:lnTo>
                    <a:pt x="77" y="18"/>
                  </a:lnTo>
                  <a:lnTo>
                    <a:pt x="81" y="25"/>
                  </a:lnTo>
                  <a:lnTo>
                    <a:pt x="83" y="34"/>
                  </a:lnTo>
                  <a:lnTo>
                    <a:pt x="84" y="42"/>
                  </a:lnTo>
                  <a:lnTo>
                    <a:pt x="84" y="51"/>
                  </a:lnTo>
                  <a:lnTo>
                    <a:pt x="81" y="60"/>
                  </a:lnTo>
                  <a:lnTo>
                    <a:pt x="77" y="67"/>
                  </a:lnTo>
                  <a:lnTo>
                    <a:pt x="73" y="73"/>
                  </a:lnTo>
                  <a:lnTo>
                    <a:pt x="66" y="78"/>
                  </a:lnTo>
                  <a:lnTo>
                    <a:pt x="58" y="82"/>
                  </a:lnTo>
                  <a:lnTo>
                    <a:pt x="51" y="84"/>
                  </a:lnTo>
                  <a:lnTo>
                    <a:pt x="42" y="86"/>
                  </a:lnTo>
                  <a:lnTo>
                    <a:pt x="42" y="86"/>
                  </a:lnTo>
                  <a:lnTo>
                    <a:pt x="42" y="86"/>
                  </a:lnTo>
                  <a:close/>
                </a:path>
              </a:pathLst>
            </a:custGeom>
            <a:solidFill>
              <a:srgbClr val="B4A69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6653" tIns="58327" rIns="116653" bIns="58327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434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137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93" name="Freeform 63"/>
            <p:cNvSpPr>
              <a:spLocks/>
            </p:cNvSpPr>
            <p:nvPr/>
          </p:nvSpPr>
          <p:spPr bwMode="auto">
            <a:xfrm>
              <a:off x="2239" y="2276"/>
              <a:ext cx="21" cy="21"/>
            </a:xfrm>
            <a:custGeom>
              <a:avLst/>
              <a:gdLst>
                <a:gd name="T0" fmla="*/ 42 w 85"/>
                <a:gd name="T1" fmla="*/ 86 h 86"/>
                <a:gd name="T2" fmla="*/ 34 w 85"/>
                <a:gd name="T3" fmla="*/ 85 h 86"/>
                <a:gd name="T4" fmla="*/ 26 w 85"/>
                <a:gd name="T5" fmla="*/ 82 h 86"/>
                <a:gd name="T6" fmla="*/ 19 w 85"/>
                <a:gd name="T7" fmla="*/ 79 h 86"/>
                <a:gd name="T8" fmla="*/ 12 w 85"/>
                <a:gd name="T9" fmla="*/ 73 h 86"/>
                <a:gd name="T10" fmla="*/ 7 w 85"/>
                <a:gd name="T11" fmla="*/ 67 h 86"/>
                <a:gd name="T12" fmla="*/ 4 w 85"/>
                <a:gd name="T13" fmla="*/ 60 h 86"/>
                <a:gd name="T14" fmla="*/ 1 w 85"/>
                <a:gd name="T15" fmla="*/ 52 h 86"/>
                <a:gd name="T16" fmla="*/ 0 w 85"/>
                <a:gd name="T17" fmla="*/ 42 h 86"/>
                <a:gd name="T18" fmla="*/ 1 w 85"/>
                <a:gd name="T19" fmla="*/ 34 h 86"/>
                <a:gd name="T20" fmla="*/ 4 w 85"/>
                <a:gd name="T21" fmla="*/ 26 h 86"/>
                <a:gd name="T22" fmla="*/ 7 w 85"/>
                <a:gd name="T23" fmla="*/ 19 h 86"/>
                <a:gd name="T24" fmla="*/ 12 w 85"/>
                <a:gd name="T25" fmla="*/ 13 h 86"/>
                <a:gd name="T26" fmla="*/ 19 w 85"/>
                <a:gd name="T27" fmla="*/ 7 h 86"/>
                <a:gd name="T28" fmla="*/ 26 w 85"/>
                <a:gd name="T29" fmla="*/ 4 h 86"/>
                <a:gd name="T30" fmla="*/ 33 w 85"/>
                <a:gd name="T31" fmla="*/ 1 h 86"/>
                <a:gd name="T32" fmla="*/ 42 w 85"/>
                <a:gd name="T33" fmla="*/ 0 h 86"/>
                <a:gd name="T34" fmla="*/ 42 w 85"/>
                <a:gd name="T35" fmla="*/ 0 h 86"/>
                <a:gd name="T36" fmla="*/ 42 w 85"/>
                <a:gd name="T37" fmla="*/ 0 h 86"/>
                <a:gd name="T38" fmla="*/ 51 w 85"/>
                <a:gd name="T39" fmla="*/ 1 h 86"/>
                <a:gd name="T40" fmla="*/ 59 w 85"/>
                <a:gd name="T41" fmla="*/ 4 h 86"/>
                <a:gd name="T42" fmla="*/ 66 w 85"/>
                <a:gd name="T43" fmla="*/ 7 h 86"/>
                <a:gd name="T44" fmla="*/ 72 w 85"/>
                <a:gd name="T45" fmla="*/ 13 h 86"/>
                <a:gd name="T46" fmla="*/ 78 w 85"/>
                <a:gd name="T47" fmla="*/ 19 h 86"/>
                <a:gd name="T48" fmla="*/ 81 w 85"/>
                <a:gd name="T49" fmla="*/ 26 h 86"/>
                <a:gd name="T50" fmla="*/ 84 w 85"/>
                <a:gd name="T51" fmla="*/ 34 h 86"/>
                <a:gd name="T52" fmla="*/ 85 w 85"/>
                <a:gd name="T53" fmla="*/ 42 h 86"/>
                <a:gd name="T54" fmla="*/ 84 w 85"/>
                <a:gd name="T55" fmla="*/ 52 h 86"/>
                <a:gd name="T56" fmla="*/ 81 w 85"/>
                <a:gd name="T57" fmla="*/ 60 h 86"/>
                <a:gd name="T58" fmla="*/ 78 w 85"/>
                <a:gd name="T59" fmla="*/ 67 h 86"/>
                <a:gd name="T60" fmla="*/ 72 w 85"/>
                <a:gd name="T61" fmla="*/ 73 h 86"/>
                <a:gd name="T62" fmla="*/ 66 w 85"/>
                <a:gd name="T63" fmla="*/ 79 h 86"/>
                <a:gd name="T64" fmla="*/ 59 w 85"/>
                <a:gd name="T65" fmla="*/ 82 h 86"/>
                <a:gd name="T66" fmla="*/ 51 w 85"/>
                <a:gd name="T67" fmla="*/ 85 h 86"/>
                <a:gd name="T68" fmla="*/ 42 w 85"/>
                <a:gd name="T69" fmla="*/ 86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85" h="86">
                  <a:moveTo>
                    <a:pt x="42" y="86"/>
                  </a:moveTo>
                  <a:lnTo>
                    <a:pt x="34" y="85"/>
                  </a:lnTo>
                  <a:lnTo>
                    <a:pt x="26" y="82"/>
                  </a:lnTo>
                  <a:lnTo>
                    <a:pt x="19" y="79"/>
                  </a:lnTo>
                  <a:lnTo>
                    <a:pt x="12" y="73"/>
                  </a:lnTo>
                  <a:lnTo>
                    <a:pt x="7" y="67"/>
                  </a:lnTo>
                  <a:lnTo>
                    <a:pt x="4" y="60"/>
                  </a:lnTo>
                  <a:lnTo>
                    <a:pt x="1" y="52"/>
                  </a:lnTo>
                  <a:lnTo>
                    <a:pt x="0" y="42"/>
                  </a:lnTo>
                  <a:lnTo>
                    <a:pt x="1" y="34"/>
                  </a:lnTo>
                  <a:lnTo>
                    <a:pt x="4" y="26"/>
                  </a:lnTo>
                  <a:lnTo>
                    <a:pt x="7" y="19"/>
                  </a:lnTo>
                  <a:lnTo>
                    <a:pt x="12" y="13"/>
                  </a:lnTo>
                  <a:lnTo>
                    <a:pt x="19" y="7"/>
                  </a:lnTo>
                  <a:lnTo>
                    <a:pt x="26" y="4"/>
                  </a:lnTo>
                  <a:lnTo>
                    <a:pt x="33" y="1"/>
                  </a:lnTo>
                  <a:lnTo>
                    <a:pt x="42" y="0"/>
                  </a:lnTo>
                  <a:lnTo>
                    <a:pt x="42" y="0"/>
                  </a:lnTo>
                  <a:lnTo>
                    <a:pt x="42" y="0"/>
                  </a:lnTo>
                  <a:lnTo>
                    <a:pt x="51" y="1"/>
                  </a:lnTo>
                  <a:lnTo>
                    <a:pt x="59" y="4"/>
                  </a:lnTo>
                  <a:lnTo>
                    <a:pt x="66" y="7"/>
                  </a:lnTo>
                  <a:lnTo>
                    <a:pt x="72" y="13"/>
                  </a:lnTo>
                  <a:lnTo>
                    <a:pt x="78" y="19"/>
                  </a:lnTo>
                  <a:lnTo>
                    <a:pt x="81" y="26"/>
                  </a:lnTo>
                  <a:lnTo>
                    <a:pt x="84" y="34"/>
                  </a:lnTo>
                  <a:lnTo>
                    <a:pt x="85" y="42"/>
                  </a:lnTo>
                  <a:lnTo>
                    <a:pt x="84" y="52"/>
                  </a:lnTo>
                  <a:lnTo>
                    <a:pt x="81" y="60"/>
                  </a:lnTo>
                  <a:lnTo>
                    <a:pt x="78" y="67"/>
                  </a:lnTo>
                  <a:lnTo>
                    <a:pt x="72" y="73"/>
                  </a:lnTo>
                  <a:lnTo>
                    <a:pt x="66" y="79"/>
                  </a:lnTo>
                  <a:lnTo>
                    <a:pt x="59" y="82"/>
                  </a:lnTo>
                  <a:lnTo>
                    <a:pt x="51" y="85"/>
                  </a:lnTo>
                  <a:lnTo>
                    <a:pt x="42" y="86"/>
                  </a:lnTo>
                  <a:close/>
                </a:path>
              </a:pathLst>
            </a:custGeom>
            <a:solidFill>
              <a:srgbClr val="B4A69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6653" tIns="58327" rIns="116653" bIns="58327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434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137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94" name="Freeform 64"/>
            <p:cNvSpPr>
              <a:spLocks/>
            </p:cNvSpPr>
            <p:nvPr/>
          </p:nvSpPr>
          <p:spPr bwMode="auto">
            <a:xfrm>
              <a:off x="2382" y="2275"/>
              <a:ext cx="22" cy="22"/>
            </a:xfrm>
            <a:custGeom>
              <a:avLst/>
              <a:gdLst>
                <a:gd name="T0" fmla="*/ 42 w 84"/>
                <a:gd name="T1" fmla="*/ 86 h 86"/>
                <a:gd name="T2" fmla="*/ 34 w 84"/>
                <a:gd name="T3" fmla="*/ 85 h 86"/>
                <a:gd name="T4" fmla="*/ 25 w 84"/>
                <a:gd name="T5" fmla="*/ 82 h 86"/>
                <a:gd name="T6" fmla="*/ 18 w 84"/>
                <a:gd name="T7" fmla="*/ 79 h 86"/>
                <a:gd name="T8" fmla="*/ 12 w 84"/>
                <a:gd name="T9" fmla="*/ 73 h 86"/>
                <a:gd name="T10" fmla="*/ 7 w 84"/>
                <a:gd name="T11" fmla="*/ 67 h 86"/>
                <a:gd name="T12" fmla="*/ 3 w 84"/>
                <a:gd name="T13" fmla="*/ 60 h 86"/>
                <a:gd name="T14" fmla="*/ 1 w 84"/>
                <a:gd name="T15" fmla="*/ 52 h 86"/>
                <a:gd name="T16" fmla="*/ 0 w 84"/>
                <a:gd name="T17" fmla="*/ 43 h 86"/>
                <a:gd name="T18" fmla="*/ 1 w 84"/>
                <a:gd name="T19" fmla="*/ 34 h 86"/>
                <a:gd name="T20" fmla="*/ 3 w 84"/>
                <a:gd name="T21" fmla="*/ 26 h 86"/>
                <a:gd name="T22" fmla="*/ 7 w 84"/>
                <a:gd name="T23" fmla="*/ 19 h 86"/>
                <a:gd name="T24" fmla="*/ 12 w 84"/>
                <a:gd name="T25" fmla="*/ 13 h 86"/>
                <a:gd name="T26" fmla="*/ 18 w 84"/>
                <a:gd name="T27" fmla="*/ 7 h 86"/>
                <a:gd name="T28" fmla="*/ 25 w 84"/>
                <a:gd name="T29" fmla="*/ 3 h 86"/>
                <a:gd name="T30" fmla="*/ 34 w 84"/>
                <a:gd name="T31" fmla="*/ 1 h 86"/>
                <a:gd name="T32" fmla="*/ 42 w 84"/>
                <a:gd name="T33" fmla="*/ 0 h 86"/>
                <a:gd name="T34" fmla="*/ 42 w 84"/>
                <a:gd name="T35" fmla="*/ 0 h 86"/>
                <a:gd name="T36" fmla="*/ 42 w 84"/>
                <a:gd name="T37" fmla="*/ 0 h 86"/>
                <a:gd name="T38" fmla="*/ 51 w 84"/>
                <a:gd name="T39" fmla="*/ 1 h 86"/>
                <a:gd name="T40" fmla="*/ 58 w 84"/>
                <a:gd name="T41" fmla="*/ 3 h 86"/>
                <a:gd name="T42" fmla="*/ 65 w 84"/>
                <a:gd name="T43" fmla="*/ 7 h 86"/>
                <a:gd name="T44" fmla="*/ 73 w 84"/>
                <a:gd name="T45" fmla="*/ 13 h 86"/>
                <a:gd name="T46" fmla="*/ 77 w 84"/>
                <a:gd name="T47" fmla="*/ 19 h 86"/>
                <a:gd name="T48" fmla="*/ 81 w 84"/>
                <a:gd name="T49" fmla="*/ 26 h 86"/>
                <a:gd name="T50" fmla="*/ 83 w 84"/>
                <a:gd name="T51" fmla="*/ 34 h 86"/>
                <a:gd name="T52" fmla="*/ 84 w 84"/>
                <a:gd name="T53" fmla="*/ 42 h 86"/>
                <a:gd name="T54" fmla="*/ 84 w 84"/>
                <a:gd name="T55" fmla="*/ 52 h 86"/>
                <a:gd name="T56" fmla="*/ 81 w 84"/>
                <a:gd name="T57" fmla="*/ 60 h 86"/>
                <a:gd name="T58" fmla="*/ 77 w 84"/>
                <a:gd name="T59" fmla="*/ 67 h 86"/>
                <a:gd name="T60" fmla="*/ 73 w 84"/>
                <a:gd name="T61" fmla="*/ 73 h 86"/>
                <a:gd name="T62" fmla="*/ 65 w 84"/>
                <a:gd name="T63" fmla="*/ 79 h 86"/>
                <a:gd name="T64" fmla="*/ 58 w 84"/>
                <a:gd name="T65" fmla="*/ 82 h 86"/>
                <a:gd name="T66" fmla="*/ 51 w 84"/>
                <a:gd name="T67" fmla="*/ 85 h 86"/>
                <a:gd name="T68" fmla="*/ 42 w 84"/>
                <a:gd name="T69" fmla="*/ 86 h 86"/>
                <a:gd name="T70" fmla="*/ 42 w 84"/>
                <a:gd name="T71" fmla="*/ 86 h 86"/>
                <a:gd name="T72" fmla="*/ 42 w 84"/>
                <a:gd name="T73" fmla="*/ 86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84" h="86">
                  <a:moveTo>
                    <a:pt x="42" y="86"/>
                  </a:moveTo>
                  <a:lnTo>
                    <a:pt x="34" y="85"/>
                  </a:lnTo>
                  <a:lnTo>
                    <a:pt x="25" y="82"/>
                  </a:lnTo>
                  <a:lnTo>
                    <a:pt x="18" y="79"/>
                  </a:lnTo>
                  <a:lnTo>
                    <a:pt x="12" y="73"/>
                  </a:lnTo>
                  <a:lnTo>
                    <a:pt x="7" y="67"/>
                  </a:lnTo>
                  <a:lnTo>
                    <a:pt x="3" y="60"/>
                  </a:lnTo>
                  <a:lnTo>
                    <a:pt x="1" y="52"/>
                  </a:lnTo>
                  <a:lnTo>
                    <a:pt x="0" y="43"/>
                  </a:lnTo>
                  <a:lnTo>
                    <a:pt x="1" y="34"/>
                  </a:lnTo>
                  <a:lnTo>
                    <a:pt x="3" y="26"/>
                  </a:lnTo>
                  <a:lnTo>
                    <a:pt x="7" y="19"/>
                  </a:lnTo>
                  <a:lnTo>
                    <a:pt x="12" y="13"/>
                  </a:lnTo>
                  <a:lnTo>
                    <a:pt x="18" y="7"/>
                  </a:lnTo>
                  <a:lnTo>
                    <a:pt x="25" y="3"/>
                  </a:lnTo>
                  <a:lnTo>
                    <a:pt x="34" y="1"/>
                  </a:lnTo>
                  <a:lnTo>
                    <a:pt x="42" y="0"/>
                  </a:lnTo>
                  <a:lnTo>
                    <a:pt x="42" y="0"/>
                  </a:lnTo>
                  <a:lnTo>
                    <a:pt x="42" y="0"/>
                  </a:lnTo>
                  <a:lnTo>
                    <a:pt x="51" y="1"/>
                  </a:lnTo>
                  <a:lnTo>
                    <a:pt x="58" y="3"/>
                  </a:lnTo>
                  <a:lnTo>
                    <a:pt x="65" y="7"/>
                  </a:lnTo>
                  <a:lnTo>
                    <a:pt x="73" y="13"/>
                  </a:lnTo>
                  <a:lnTo>
                    <a:pt x="77" y="19"/>
                  </a:lnTo>
                  <a:lnTo>
                    <a:pt x="81" y="26"/>
                  </a:lnTo>
                  <a:lnTo>
                    <a:pt x="83" y="34"/>
                  </a:lnTo>
                  <a:lnTo>
                    <a:pt x="84" y="42"/>
                  </a:lnTo>
                  <a:lnTo>
                    <a:pt x="84" y="52"/>
                  </a:lnTo>
                  <a:lnTo>
                    <a:pt x="81" y="60"/>
                  </a:lnTo>
                  <a:lnTo>
                    <a:pt x="77" y="67"/>
                  </a:lnTo>
                  <a:lnTo>
                    <a:pt x="73" y="73"/>
                  </a:lnTo>
                  <a:lnTo>
                    <a:pt x="65" y="79"/>
                  </a:lnTo>
                  <a:lnTo>
                    <a:pt x="58" y="82"/>
                  </a:lnTo>
                  <a:lnTo>
                    <a:pt x="51" y="85"/>
                  </a:lnTo>
                  <a:lnTo>
                    <a:pt x="42" y="86"/>
                  </a:lnTo>
                  <a:lnTo>
                    <a:pt x="42" y="86"/>
                  </a:lnTo>
                  <a:lnTo>
                    <a:pt x="42" y="86"/>
                  </a:lnTo>
                  <a:close/>
                </a:path>
              </a:pathLst>
            </a:custGeom>
            <a:solidFill>
              <a:srgbClr val="B4A69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6653" tIns="58327" rIns="116653" bIns="58327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434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137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95" name="Freeform 65"/>
            <p:cNvSpPr>
              <a:spLocks/>
            </p:cNvSpPr>
            <p:nvPr/>
          </p:nvSpPr>
          <p:spPr bwMode="auto">
            <a:xfrm>
              <a:off x="2321" y="2346"/>
              <a:ext cx="21" cy="21"/>
            </a:xfrm>
            <a:custGeom>
              <a:avLst/>
              <a:gdLst>
                <a:gd name="T0" fmla="*/ 43 w 85"/>
                <a:gd name="T1" fmla="*/ 86 h 86"/>
                <a:gd name="T2" fmla="*/ 34 w 85"/>
                <a:gd name="T3" fmla="*/ 85 h 86"/>
                <a:gd name="T4" fmla="*/ 26 w 85"/>
                <a:gd name="T5" fmla="*/ 83 h 86"/>
                <a:gd name="T6" fmla="*/ 19 w 85"/>
                <a:gd name="T7" fmla="*/ 78 h 86"/>
                <a:gd name="T8" fmla="*/ 12 w 85"/>
                <a:gd name="T9" fmla="*/ 73 h 86"/>
                <a:gd name="T10" fmla="*/ 7 w 85"/>
                <a:gd name="T11" fmla="*/ 67 h 86"/>
                <a:gd name="T12" fmla="*/ 4 w 85"/>
                <a:gd name="T13" fmla="*/ 59 h 86"/>
                <a:gd name="T14" fmla="*/ 1 w 85"/>
                <a:gd name="T15" fmla="*/ 52 h 86"/>
                <a:gd name="T16" fmla="*/ 0 w 85"/>
                <a:gd name="T17" fmla="*/ 43 h 86"/>
                <a:gd name="T18" fmla="*/ 1 w 85"/>
                <a:gd name="T19" fmla="*/ 34 h 86"/>
                <a:gd name="T20" fmla="*/ 4 w 85"/>
                <a:gd name="T21" fmla="*/ 26 h 86"/>
                <a:gd name="T22" fmla="*/ 7 w 85"/>
                <a:gd name="T23" fmla="*/ 19 h 86"/>
                <a:gd name="T24" fmla="*/ 12 w 85"/>
                <a:gd name="T25" fmla="*/ 13 h 86"/>
                <a:gd name="T26" fmla="*/ 19 w 85"/>
                <a:gd name="T27" fmla="*/ 7 h 86"/>
                <a:gd name="T28" fmla="*/ 26 w 85"/>
                <a:gd name="T29" fmla="*/ 4 h 86"/>
                <a:gd name="T30" fmla="*/ 33 w 85"/>
                <a:gd name="T31" fmla="*/ 1 h 86"/>
                <a:gd name="T32" fmla="*/ 43 w 85"/>
                <a:gd name="T33" fmla="*/ 0 h 86"/>
                <a:gd name="T34" fmla="*/ 43 w 85"/>
                <a:gd name="T35" fmla="*/ 0 h 86"/>
                <a:gd name="T36" fmla="*/ 43 w 85"/>
                <a:gd name="T37" fmla="*/ 0 h 86"/>
                <a:gd name="T38" fmla="*/ 51 w 85"/>
                <a:gd name="T39" fmla="*/ 1 h 86"/>
                <a:gd name="T40" fmla="*/ 59 w 85"/>
                <a:gd name="T41" fmla="*/ 4 h 86"/>
                <a:gd name="T42" fmla="*/ 66 w 85"/>
                <a:gd name="T43" fmla="*/ 7 h 86"/>
                <a:gd name="T44" fmla="*/ 72 w 85"/>
                <a:gd name="T45" fmla="*/ 12 h 86"/>
                <a:gd name="T46" fmla="*/ 78 w 85"/>
                <a:gd name="T47" fmla="*/ 19 h 86"/>
                <a:gd name="T48" fmla="*/ 82 w 85"/>
                <a:gd name="T49" fmla="*/ 26 h 86"/>
                <a:gd name="T50" fmla="*/ 84 w 85"/>
                <a:gd name="T51" fmla="*/ 34 h 86"/>
                <a:gd name="T52" fmla="*/ 85 w 85"/>
                <a:gd name="T53" fmla="*/ 43 h 86"/>
                <a:gd name="T54" fmla="*/ 84 w 85"/>
                <a:gd name="T55" fmla="*/ 51 h 86"/>
                <a:gd name="T56" fmla="*/ 82 w 85"/>
                <a:gd name="T57" fmla="*/ 59 h 86"/>
                <a:gd name="T58" fmla="*/ 78 w 85"/>
                <a:gd name="T59" fmla="*/ 66 h 86"/>
                <a:gd name="T60" fmla="*/ 72 w 85"/>
                <a:gd name="T61" fmla="*/ 73 h 86"/>
                <a:gd name="T62" fmla="*/ 66 w 85"/>
                <a:gd name="T63" fmla="*/ 78 h 86"/>
                <a:gd name="T64" fmla="*/ 59 w 85"/>
                <a:gd name="T65" fmla="*/ 83 h 86"/>
                <a:gd name="T66" fmla="*/ 51 w 85"/>
                <a:gd name="T67" fmla="*/ 85 h 86"/>
                <a:gd name="T68" fmla="*/ 43 w 85"/>
                <a:gd name="T69" fmla="*/ 86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85" h="86">
                  <a:moveTo>
                    <a:pt x="43" y="86"/>
                  </a:moveTo>
                  <a:lnTo>
                    <a:pt x="34" y="85"/>
                  </a:lnTo>
                  <a:lnTo>
                    <a:pt x="26" y="83"/>
                  </a:lnTo>
                  <a:lnTo>
                    <a:pt x="19" y="78"/>
                  </a:lnTo>
                  <a:lnTo>
                    <a:pt x="12" y="73"/>
                  </a:lnTo>
                  <a:lnTo>
                    <a:pt x="7" y="67"/>
                  </a:lnTo>
                  <a:lnTo>
                    <a:pt x="4" y="59"/>
                  </a:lnTo>
                  <a:lnTo>
                    <a:pt x="1" y="52"/>
                  </a:lnTo>
                  <a:lnTo>
                    <a:pt x="0" y="43"/>
                  </a:lnTo>
                  <a:lnTo>
                    <a:pt x="1" y="34"/>
                  </a:lnTo>
                  <a:lnTo>
                    <a:pt x="4" y="26"/>
                  </a:lnTo>
                  <a:lnTo>
                    <a:pt x="7" y="19"/>
                  </a:lnTo>
                  <a:lnTo>
                    <a:pt x="12" y="13"/>
                  </a:lnTo>
                  <a:lnTo>
                    <a:pt x="19" y="7"/>
                  </a:lnTo>
                  <a:lnTo>
                    <a:pt x="26" y="4"/>
                  </a:lnTo>
                  <a:lnTo>
                    <a:pt x="33" y="1"/>
                  </a:lnTo>
                  <a:lnTo>
                    <a:pt x="43" y="0"/>
                  </a:lnTo>
                  <a:lnTo>
                    <a:pt x="43" y="0"/>
                  </a:lnTo>
                  <a:lnTo>
                    <a:pt x="43" y="0"/>
                  </a:lnTo>
                  <a:lnTo>
                    <a:pt x="51" y="1"/>
                  </a:lnTo>
                  <a:lnTo>
                    <a:pt x="59" y="4"/>
                  </a:lnTo>
                  <a:lnTo>
                    <a:pt x="66" y="7"/>
                  </a:lnTo>
                  <a:lnTo>
                    <a:pt x="72" y="12"/>
                  </a:lnTo>
                  <a:lnTo>
                    <a:pt x="78" y="19"/>
                  </a:lnTo>
                  <a:lnTo>
                    <a:pt x="82" y="26"/>
                  </a:lnTo>
                  <a:lnTo>
                    <a:pt x="84" y="34"/>
                  </a:lnTo>
                  <a:lnTo>
                    <a:pt x="85" y="43"/>
                  </a:lnTo>
                  <a:lnTo>
                    <a:pt x="84" y="51"/>
                  </a:lnTo>
                  <a:lnTo>
                    <a:pt x="82" y="59"/>
                  </a:lnTo>
                  <a:lnTo>
                    <a:pt x="78" y="66"/>
                  </a:lnTo>
                  <a:lnTo>
                    <a:pt x="72" y="73"/>
                  </a:lnTo>
                  <a:lnTo>
                    <a:pt x="66" y="78"/>
                  </a:lnTo>
                  <a:lnTo>
                    <a:pt x="59" y="83"/>
                  </a:lnTo>
                  <a:lnTo>
                    <a:pt x="51" y="85"/>
                  </a:lnTo>
                  <a:lnTo>
                    <a:pt x="43" y="86"/>
                  </a:lnTo>
                  <a:close/>
                </a:path>
              </a:pathLst>
            </a:custGeom>
            <a:solidFill>
              <a:srgbClr val="B4A69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6653" tIns="58327" rIns="116653" bIns="58327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434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137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96" name="Freeform 66"/>
            <p:cNvSpPr>
              <a:spLocks/>
            </p:cNvSpPr>
            <p:nvPr/>
          </p:nvSpPr>
          <p:spPr bwMode="auto">
            <a:xfrm>
              <a:off x="2464" y="2346"/>
              <a:ext cx="21" cy="21"/>
            </a:xfrm>
            <a:custGeom>
              <a:avLst/>
              <a:gdLst>
                <a:gd name="T0" fmla="*/ 42 w 85"/>
                <a:gd name="T1" fmla="*/ 86 h 86"/>
                <a:gd name="T2" fmla="*/ 34 w 85"/>
                <a:gd name="T3" fmla="*/ 85 h 86"/>
                <a:gd name="T4" fmla="*/ 26 w 85"/>
                <a:gd name="T5" fmla="*/ 82 h 86"/>
                <a:gd name="T6" fmla="*/ 19 w 85"/>
                <a:gd name="T7" fmla="*/ 78 h 86"/>
                <a:gd name="T8" fmla="*/ 13 w 85"/>
                <a:gd name="T9" fmla="*/ 73 h 86"/>
                <a:gd name="T10" fmla="*/ 7 w 85"/>
                <a:gd name="T11" fmla="*/ 67 h 86"/>
                <a:gd name="T12" fmla="*/ 3 w 85"/>
                <a:gd name="T13" fmla="*/ 59 h 86"/>
                <a:gd name="T14" fmla="*/ 1 w 85"/>
                <a:gd name="T15" fmla="*/ 52 h 86"/>
                <a:gd name="T16" fmla="*/ 0 w 85"/>
                <a:gd name="T17" fmla="*/ 42 h 86"/>
                <a:gd name="T18" fmla="*/ 1 w 85"/>
                <a:gd name="T19" fmla="*/ 34 h 86"/>
                <a:gd name="T20" fmla="*/ 3 w 85"/>
                <a:gd name="T21" fmla="*/ 26 h 86"/>
                <a:gd name="T22" fmla="*/ 7 w 85"/>
                <a:gd name="T23" fmla="*/ 19 h 86"/>
                <a:gd name="T24" fmla="*/ 13 w 85"/>
                <a:gd name="T25" fmla="*/ 13 h 86"/>
                <a:gd name="T26" fmla="*/ 19 w 85"/>
                <a:gd name="T27" fmla="*/ 7 h 86"/>
                <a:gd name="T28" fmla="*/ 26 w 85"/>
                <a:gd name="T29" fmla="*/ 4 h 86"/>
                <a:gd name="T30" fmla="*/ 34 w 85"/>
                <a:gd name="T31" fmla="*/ 1 h 86"/>
                <a:gd name="T32" fmla="*/ 42 w 85"/>
                <a:gd name="T33" fmla="*/ 0 h 86"/>
                <a:gd name="T34" fmla="*/ 42 w 85"/>
                <a:gd name="T35" fmla="*/ 0 h 86"/>
                <a:gd name="T36" fmla="*/ 42 w 85"/>
                <a:gd name="T37" fmla="*/ 0 h 86"/>
                <a:gd name="T38" fmla="*/ 52 w 85"/>
                <a:gd name="T39" fmla="*/ 1 h 86"/>
                <a:gd name="T40" fmla="*/ 59 w 85"/>
                <a:gd name="T41" fmla="*/ 4 h 86"/>
                <a:gd name="T42" fmla="*/ 66 w 85"/>
                <a:gd name="T43" fmla="*/ 7 h 86"/>
                <a:gd name="T44" fmla="*/ 73 w 85"/>
                <a:gd name="T45" fmla="*/ 13 h 86"/>
                <a:gd name="T46" fmla="*/ 78 w 85"/>
                <a:gd name="T47" fmla="*/ 19 h 86"/>
                <a:gd name="T48" fmla="*/ 81 w 85"/>
                <a:gd name="T49" fmla="*/ 26 h 86"/>
                <a:gd name="T50" fmla="*/ 83 w 85"/>
                <a:gd name="T51" fmla="*/ 34 h 86"/>
                <a:gd name="T52" fmla="*/ 85 w 85"/>
                <a:gd name="T53" fmla="*/ 42 h 86"/>
                <a:gd name="T54" fmla="*/ 85 w 85"/>
                <a:gd name="T55" fmla="*/ 52 h 86"/>
                <a:gd name="T56" fmla="*/ 81 w 85"/>
                <a:gd name="T57" fmla="*/ 59 h 86"/>
                <a:gd name="T58" fmla="*/ 78 w 85"/>
                <a:gd name="T59" fmla="*/ 66 h 86"/>
                <a:gd name="T60" fmla="*/ 73 w 85"/>
                <a:gd name="T61" fmla="*/ 73 h 86"/>
                <a:gd name="T62" fmla="*/ 66 w 85"/>
                <a:gd name="T63" fmla="*/ 78 h 86"/>
                <a:gd name="T64" fmla="*/ 59 w 85"/>
                <a:gd name="T65" fmla="*/ 82 h 86"/>
                <a:gd name="T66" fmla="*/ 52 w 85"/>
                <a:gd name="T67" fmla="*/ 85 h 86"/>
                <a:gd name="T68" fmla="*/ 42 w 85"/>
                <a:gd name="T69" fmla="*/ 86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85" h="86">
                  <a:moveTo>
                    <a:pt x="42" y="86"/>
                  </a:moveTo>
                  <a:lnTo>
                    <a:pt x="34" y="85"/>
                  </a:lnTo>
                  <a:lnTo>
                    <a:pt x="26" y="82"/>
                  </a:lnTo>
                  <a:lnTo>
                    <a:pt x="19" y="78"/>
                  </a:lnTo>
                  <a:lnTo>
                    <a:pt x="13" y="73"/>
                  </a:lnTo>
                  <a:lnTo>
                    <a:pt x="7" y="67"/>
                  </a:lnTo>
                  <a:lnTo>
                    <a:pt x="3" y="59"/>
                  </a:lnTo>
                  <a:lnTo>
                    <a:pt x="1" y="52"/>
                  </a:lnTo>
                  <a:lnTo>
                    <a:pt x="0" y="42"/>
                  </a:lnTo>
                  <a:lnTo>
                    <a:pt x="1" y="34"/>
                  </a:lnTo>
                  <a:lnTo>
                    <a:pt x="3" y="26"/>
                  </a:lnTo>
                  <a:lnTo>
                    <a:pt x="7" y="19"/>
                  </a:lnTo>
                  <a:lnTo>
                    <a:pt x="13" y="13"/>
                  </a:lnTo>
                  <a:lnTo>
                    <a:pt x="19" y="7"/>
                  </a:lnTo>
                  <a:lnTo>
                    <a:pt x="26" y="4"/>
                  </a:lnTo>
                  <a:lnTo>
                    <a:pt x="34" y="1"/>
                  </a:lnTo>
                  <a:lnTo>
                    <a:pt x="42" y="0"/>
                  </a:lnTo>
                  <a:lnTo>
                    <a:pt x="42" y="0"/>
                  </a:lnTo>
                  <a:lnTo>
                    <a:pt x="42" y="0"/>
                  </a:lnTo>
                  <a:lnTo>
                    <a:pt x="52" y="1"/>
                  </a:lnTo>
                  <a:lnTo>
                    <a:pt x="59" y="4"/>
                  </a:lnTo>
                  <a:lnTo>
                    <a:pt x="66" y="7"/>
                  </a:lnTo>
                  <a:lnTo>
                    <a:pt x="73" y="13"/>
                  </a:lnTo>
                  <a:lnTo>
                    <a:pt x="78" y="19"/>
                  </a:lnTo>
                  <a:lnTo>
                    <a:pt x="81" y="26"/>
                  </a:lnTo>
                  <a:lnTo>
                    <a:pt x="83" y="34"/>
                  </a:lnTo>
                  <a:lnTo>
                    <a:pt x="85" y="42"/>
                  </a:lnTo>
                  <a:lnTo>
                    <a:pt x="85" y="52"/>
                  </a:lnTo>
                  <a:lnTo>
                    <a:pt x="81" y="59"/>
                  </a:lnTo>
                  <a:lnTo>
                    <a:pt x="78" y="66"/>
                  </a:lnTo>
                  <a:lnTo>
                    <a:pt x="73" y="73"/>
                  </a:lnTo>
                  <a:lnTo>
                    <a:pt x="66" y="78"/>
                  </a:lnTo>
                  <a:lnTo>
                    <a:pt x="59" y="82"/>
                  </a:lnTo>
                  <a:lnTo>
                    <a:pt x="52" y="85"/>
                  </a:lnTo>
                  <a:lnTo>
                    <a:pt x="42" y="86"/>
                  </a:lnTo>
                  <a:close/>
                </a:path>
              </a:pathLst>
            </a:custGeom>
            <a:solidFill>
              <a:srgbClr val="B4A69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6653" tIns="58327" rIns="116653" bIns="58327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434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137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97" name="Freeform 67"/>
            <p:cNvSpPr>
              <a:spLocks/>
            </p:cNvSpPr>
            <p:nvPr/>
          </p:nvSpPr>
          <p:spPr bwMode="auto">
            <a:xfrm>
              <a:off x="2239" y="2429"/>
              <a:ext cx="21" cy="22"/>
            </a:xfrm>
            <a:custGeom>
              <a:avLst/>
              <a:gdLst>
                <a:gd name="T0" fmla="*/ 43 w 85"/>
                <a:gd name="T1" fmla="*/ 84 h 84"/>
                <a:gd name="T2" fmla="*/ 34 w 85"/>
                <a:gd name="T3" fmla="*/ 84 h 84"/>
                <a:gd name="T4" fmla="*/ 26 w 85"/>
                <a:gd name="T5" fmla="*/ 82 h 84"/>
                <a:gd name="T6" fmla="*/ 19 w 85"/>
                <a:gd name="T7" fmla="*/ 77 h 84"/>
                <a:gd name="T8" fmla="*/ 12 w 85"/>
                <a:gd name="T9" fmla="*/ 73 h 84"/>
                <a:gd name="T10" fmla="*/ 7 w 85"/>
                <a:gd name="T11" fmla="*/ 65 h 84"/>
                <a:gd name="T12" fmla="*/ 4 w 85"/>
                <a:gd name="T13" fmla="*/ 58 h 84"/>
                <a:gd name="T14" fmla="*/ 1 w 85"/>
                <a:gd name="T15" fmla="*/ 51 h 84"/>
                <a:gd name="T16" fmla="*/ 0 w 85"/>
                <a:gd name="T17" fmla="*/ 42 h 84"/>
                <a:gd name="T18" fmla="*/ 1 w 85"/>
                <a:gd name="T19" fmla="*/ 34 h 84"/>
                <a:gd name="T20" fmla="*/ 4 w 85"/>
                <a:gd name="T21" fmla="*/ 25 h 84"/>
                <a:gd name="T22" fmla="*/ 7 w 85"/>
                <a:gd name="T23" fmla="*/ 18 h 84"/>
                <a:gd name="T24" fmla="*/ 12 w 85"/>
                <a:gd name="T25" fmla="*/ 11 h 84"/>
                <a:gd name="T26" fmla="*/ 19 w 85"/>
                <a:gd name="T27" fmla="*/ 7 h 84"/>
                <a:gd name="T28" fmla="*/ 26 w 85"/>
                <a:gd name="T29" fmla="*/ 3 h 84"/>
                <a:gd name="T30" fmla="*/ 33 w 85"/>
                <a:gd name="T31" fmla="*/ 1 h 84"/>
                <a:gd name="T32" fmla="*/ 43 w 85"/>
                <a:gd name="T33" fmla="*/ 0 h 84"/>
                <a:gd name="T34" fmla="*/ 51 w 85"/>
                <a:gd name="T35" fmla="*/ 1 h 84"/>
                <a:gd name="T36" fmla="*/ 59 w 85"/>
                <a:gd name="T37" fmla="*/ 3 h 84"/>
                <a:gd name="T38" fmla="*/ 66 w 85"/>
                <a:gd name="T39" fmla="*/ 7 h 84"/>
                <a:gd name="T40" fmla="*/ 72 w 85"/>
                <a:gd name="T41" fmla="*/ 11 h 84"/>
                <a:gd name="T42" fmla="*/ 78 w 85"/>
                <a:gd name="T43" fmla="*/ 18 h 84"/>
                <a:gd name="T44" fmla="*/ 81 w 85"/>
                <a:gd name="T45" fmla="*/ 25 h 84"/>
                <a:gd name="T46" fmla="*/ 84 w 85"/>
                <a:gd name="T47" fmla="*/ 34 h 84"/>
                <a:gd name="T48" fmla="*/ 85 w 85"/>
                <a:gd name="T49" fmla="*/ 42 h 84"/>
                <a:gd name="T50" fmla="*/ 84 w 85"/>
                <a:gd name="T51" fmla="*/ 50 h 84"/>
                <a:gd name="T52" fmla="*/ 81 w 85"/>
                <a:gd name="T53" fmla="*/ 58 h 84"/>
                <a:gd name="T54" fmla="*/ 78 w 85"/>
                <a:gd name="T55" fmla="*/ 65 h 84"/>
                <a:gd name="T56" fmla="*/ 72 w 85"/>
                <a:gd name="T57" fmla="*/ 73 h 84"/>
                <a:gd name="T58" fmla="*/ 66 w 85"/>
                <a:gd name="T59" fmla="*/ 77 h 84"/>
                <a:gd name="T60" fmla="*/ 59 w 85"/>
                <a:gd name="T61" fmla="*/ 82 h 84"/>
                <a:gd name="T62" fmla="*/ 51 w 85"/>
                <a:gd name="T63" fmla="*/ 84 h 84"/>
                <a:gd name="T64" fmla="*/ 43 w 85"/>
                <a:gd name="T65" fmla="*/ 84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85" h="84">
                  <a:moveTo>
                    <a:pt x="43" y="84"/>
                  </a:moveTo>
                  <a:lnTo>
                    <a:pt x="34" y="84"/>
                  </a:lnTo>
                  <a:lnTo>
                    <a:pt x="26" y="82"/>
                  </a:lnTo>
                  <a:lnTo>
                    <a:pt x="19" y="77"/>
                  </a:lnTo>
                  <a:lnTo>
                    <a:pt x="12" y="73"/>
                  </a:lnTo>
                  <a:lnTo>
                    <a:pt x="7" y="65"/>
                  </a:lnTo>
                  <a:lnTo>
                    <a:pt x="4" y="58"/>
                  </a:lnTo>
                  <a:lnTo>
                    <a:pt x="1" y="51"/>
                  </a:lnTo>
                  <a:lnTo>
                    <a:pt x="0" y="42"/>
                  </a:lnTo>
                  <a:lnTo>
                    <a:pt x="1" y="34"/>
                  </a:lnTo>
                  <a:lnTo>
                    <a:pt x="4" y="25"/>
                  </a:lnTo>
                  <a:lnTo>
                    <a:pt x="7" y="18"/>
                  </a:lnTo>
                  <a:lnTo>
                    <a:pt x="12" y="11"/>
                  </a:lnTo>
                  <a:lnTo>
                    <a:pt x="19" y="7"/>
                  </a:lnTo>
                  <a:lnTo>
                    <a:pt x="26" y="3"/>
                  </a:lnTo>
                  <a:lnTo>
                    <a:pt x="33" y="1"/>
                  </a:lnTo>
                  <a:lnTo>
                    <a:pt x="43" y="0"/>
                  </a:lnTo>
                  <a:lnTo>
                    <a:pt x="51" y="1"/>
                  </a:lnTo>
                  <a:lnTo>
                    <a:pt x="59" y="3"/>
                  </a:lnTo>
                  <a:lnTo>
                    <a:pt x="66" y="7"/>
                  </a:lnTo>
                  <a:lnTo>
                    <a:pt x="72" y="11"/>
                  </a:lnTo>
                  <a:lnTo>
                    <a:pt x="78" y="18"/>
                  </a:lnTo>
                  <a:lnTo>
                    <a:pt x="81" y="25"/>
                  </a:lnTo>
                  <a:lnTo>
                    <a:pt x="84" y="34"/>
                  </a:lnTo>
                  <a:lnTo>
                    <a:pt x="85" y="42"/>
                  </a:lnTo>
                  <a:lnTo>
                    <a:pt x="84" y="50"/>
                  </a:lnTo>
                  <a:lnTo>
                    <a:pt x="81" y="58"/>
                  </a:lnTo>
                  <a:lnTo>
                    <a:pt x="78" y="65"/>
                  </a:lnTo>
                  <a:lnTo>
                    <a:pt x="72" y="73"/>
                  </a:lnTo>
                  <a:lnTo>
                    <a:pt x="66" y="77"/>
                  </a:lnTo>
                  <a:lnTo>
                    <a:pt x="59" y="82"/>
                  </a:lnTo>
                  <a:lnTo>
                    <a:pt x="51" y="84"/>
                  </a:lnTo>
                  <a:lnTo>
                    <a:pt x="43" y="84"/>
                  </a:lnTo>
                  <a:close/>
                </a:path>
              </a:pathLst>
            </a:custGeom>
            <a:solidFill>
              <a:srgbClr val="B4A69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6653" tIns="58327" rIns="116653" bIns="58327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434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137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98" name="Freeform 68"/>
            <p:cNvSpPr>
              <a:spLocks/>
            </p:cNvSpPr>
            <p:nvPr/>
          </p:nvSpPr>
          <p:spPr bwMode="auto">
            <a:xfrm>
              <a:off x="2383" y="2429"/>
              <a:ext cx="21" cy="21"/>
            </a:xfrm>
            <a:custGeom>
              <a:avLst/>
              <a:gdLst>
                <a:gd name="T0" fmla="*/ 42 w 84"/>
                <a:gd name="T1" fmla="*/ 85 h 85"/>
                <a:gd name="T2" fmla="*/ 34 w 84"/>
                <a:gd name="T3" fmla="*/ 85 h 85"/>
                <a:gd name="T4" fmla="*/ 26 w 84"/>
                <a:gd name="T5" fmla="*/ 83 h 85"/>
                <a:gd name="T6" fmla="*/ 19 w 84"/>
                <a:gd name="T7" fmla="*/ 78 h 85"/>
                <a:gd name="T8" fmla="*/ 13 w 84"/>
                <a:gd name="T9" fmla="*/ 73 h 85"/>
                <a:gd name="T10" fmla="*/ 7 w 84"/>
                <a:gd name="T11" fmla="*/ 66 h 85"/>
                <a:gd name="T12" fmla="*/ 3 w 84"/>
                <a:gd name="T13" fmla="*/ 59 h 85"/>
                <a:gd name="T14" fmla="*/ 1 w 84"/>
                <a:gd name="T15" fmla="*/ 52 h 85"/>
                <a:gd name="T16" fmla="*/ 0 w 84"/>
                <a:gd name="T17" fmla="*/ 43 h 85"/>
                <a:gd name="T18" fmla="*/ 1 w 84"/>
                <a:gd name="T19" fmla="*/ 35 h 85"/>
                <a:gd name="T20" fmla="*/ 3 w 84"/>
                <a:gd name="T21" fmla="*/ 26 h 85"/>
                <a:gd name="T22" fmla="*/ 7 w 84"/>
                <a:gd name="T23" fmla="*/ 19 h 85"/>
                <a:gd name="T24" fmla="*/ 13 w 84"/>
                <a:gd name="T25" fmla="*/ 13 h 85"/>
                <a:gd name="T26" fmla="*/ 19 w 84"/>
                <a:gd name="T27" fmla="*/ 7 h 85"/>
                <a:gd name="T28" fmla="*/ 26 w 84"/>
                <a:gd name="T29" fmla="*/ 4 h 85"/>
                <a:gd name="T30" fmla="*/ 34 w 84"/>
                <a:gd name="T31" fmla="*/ 2 h 85"/>
                <a:gd name="T32" fmla="*/ 42 w 84"/>
                <a:gd name="T33" fmla="*/ 0 h 85"/>
                <a:gd name="T34" fmla="*/ 50 w 84"/>
                <a:gd name="T35" fmla="*/ 2 h 85"/>
                <a:gd name="T36" fmla="*/ 59 w 84"/>
                <a:gd name="T37" fmla="*/ 4 h 85"/>
                <a:gd name="T38" fmla="*/ 66 w 84"/>
                <a:gd name="T39" fmla="*/ 7 h 85"/>
                <a:gd name="T40" fmla="*/ 73 w 84"/>
                <a:gd name="T41" fmla="*/ 12 h 85"/>
                <a:gd name="T42" fmla="*/ 77 w 84"/>
                <a:gd name="T43" fmla="*/ 19 h 85"/>
                <a:gd name="T44" fmla="*/ 81 w 84"/>
                <a:gd name="T45" fmla="*/ 26 h 85"/>
                <a:gd name="T46" fmla="*/ 83 w 84"/>
                <a:gd name="T47" fmla="*/ 35 h 85"/>
                <a:gd name="T48" fmla="*/ 84 w 84"/>
                <a:gd name="T49" fmla="*/ 43 h 85"/>
                <a:gd name="T50" fmla="*/ 84 w 84"/>
                <a:gd name="T51" fmla="*/ 51 h 85"/>
                <a:gd name="T52" fmla="*/ 81 w 84"/>
                <a:gd name="T53" fmla="*/ 59 h 85"/>
                <a:gd name="T54" fmla="*/ 77 w 84"/>
                <a:gd name="T55" fmla="*/ 66 h 85"/>
                <a:gd name="T56" fmla="*/ 73 w 84"/>
                <a:gd name="T57" fmla="*/ 73 h 85"/>
                <a:gd name="T58" fmla="*/ 66 w 84"/>
                <a:gd name="T59" fmla="*/ 78 h 85"/>
                <a:gd name="T60" fmla="*/ 59 w 84"/>
                <a:gd name="T61" fmla="*/ 83 h 85"/>
                <a:gd name="T62" fmla="*/ 52 w 84"/>
                <a:gd name="T63" fmla="*/ 85 h 85"/>
                <a:gd name="T64" fmla="*/ 42 w 84"/>
                <a:gd name="T65" fmla="*/ 85 h 85"/>
                <a:gd name="T66" fmla="*/ 42 w 84"/>
                <a:gd name="T67" fmla="*/ 85 h 85"/>
                <a:gd name="T68" fmla="*/ 42 w 84"/>
                <a:gd name="T69" fmla="*/ 85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84" h="85">
                  <a:moveTo>
                    <a:pt x="42" y="85"/>
                  </a:moveTo>
                  <a:lnTo>
                    <a:pt x="34" y="85"/>
                  </a:lnTo>
                  <a:lnTo>
                    <a:pt x="26" y="83"/>
                  </a:lnTo>
                  <a:lnTo>
                    <a:pt x="19" y="78"/>
                  </a:lnTo>
                  <a:lnTo>
                    <a:pt x="13" y="73"/>
                  </a:lnTo>
                  <a:lnTo>
                    <a:pt x="7" y="66"/>
                  </a:lnTo>
                  <a:lnTo>
                    <a:pt x="3" y="59"/>
                  </a:lnTo>
                  <a:lnTo>
                    <a:pt x="1" y="52"/>
                  </a:lnTo>
                  <a:lnTo>
                    <a:pt x="0" y="43"/>
                  </a:lnTo>
                  <a:lnTo>
                    <a:pt x="1" y="35"/>
                  </a:lnTo>
                  <a:lnTo>
                    <a:pt x="3" y="26"/>
                  </a:lnTo>
                  <a:lnTo>
                    <a:pt x="7" y="19"/>
                  </a:lnTo>
                  <a:lnTo>
                    <a:pt x="13" y="13"/>
                  </a:lnTo>
                  <a:lnTo>
                    <a:pt x="19" y="7"/>
                  </a:lnTo>
                  <a:lnTo>
                    <a:pt x="26" y="4"/>
                  </a:lnTo>
                  <a:lnTo>
                    <a:pt x="34" y="2"/>
                  </a:lnTo>
                  <a:lnTo>
                    <a:pt x="42" y="0"/>
                  </a:lnTo>
                  <a:lnTo>
                    <a:pt x="50" y="2"/>
                  </a:lnTo>
                  <a:lnTo>
                    <a:pt x="59" y="4"/>
                  </a:lnTo>
                  <a:lnTo>
                    <a:pt x="66" y="7"/>
                  </a:lnTo>
                  <a:lnTo>
                    <a:pt x="73" y="12"/>
                  </a:lnTo>
                  <a:lnTo>
                    <a:pt x="77" y="19"/>
                  </a:lnTo>
                  <a:lnTo>
                    <a:pt x="81" y="26"/>
                  </a:lnTo>
                  <a:lnTo>
                    <a:pt x="83" y="35"/>
                  </a:lnTo>
                  <a:lnTo>
                    <a:pt x="84" y="43"/>
                  </a:lnTo>
                  <a:lnTo>
                    <a:pt x="84" y="51"/>
                  </a:lnTo>
                  <a:lnTo>
                    <a:pt x="81" y="59"/>
                  </a:lnTo>
                  <a:lnTo>
                    <a:pt x="77" y="66"/>
                  </a:lnTo>
                  <a:lnTo>
                    <a:pt x="73" y="73"/>
                  </a:lnTo>
                  <a:lnTo>
                    <a:pt x="66" y="78"/>
                  </a:lnTo>
                  <a:lnTo>
                    <a:pt x="59" y="83"/>
                  </a:lnTo>
                  <a:lnTo>
                    <a:pt x="52" y="85"/>
                  </a:lnTo>
                  <a:lnTo>
                    <a:pt x="42" y="85"/>
                  </a:lnTo>
                  <a:lnTo>
                    <a:pt x="42" y="85"/>
                  </a:lnTo>
                  <a:lnTo>
                    <a:pt x="42" y="85"/>
                  </a:lnTo>
                  <a:close/>
                </a:path>
              </a:pathLst>
            </a:custGeom>
            <a:solidFill>
              <a:srgbClr val="B4A69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6653" tIns="58327" rIns="116653" bIns="58327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434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137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99" name="Freeform 69"/>
            <p:cNvSpPr>
              <a:spLocks/>
            </p:cNvSpPr>
            <p:nvPr/>
          </p:nvSpPr>
          <p:spPr bwMode="auto">
            <a:xfrm>
              <a:off x="1937" y="2123"/>
              <a:ext cx="21" cy="21"/>
            </a:xfrm>
            <a:custGeom>
              <a:avLst/>
              <a:gdLst>
                <a:gd name="T0" fmla="*/ 43 w 85"/>
                <a:gd name="T1" fmla="*/ 86 h 86"/>
                <a:gd name="T2" fmla="*/ 34 w 85"/>
                <a:gd name="T3" fmla="*/ 85 h 86"/>
                <a:gd name="T4" fmla="*/ 26 w 85"/>
                <a:gd name="T5" fmla="*/ 82 h 86"/>
                <a:gd name="T6" fmla="*/ 19 w 85"/>
                <a:gd name="T7" fmla="*/ 79 h 86"/>
                <a:gd name="T8" fmla="*/ 13 w 85"/>
                <a:gd name="T9" fmla="*/ 73 h 86"/>
                <a:gd name="T10" fmla="*/ 7 w 85"/>
                <a:gd name="T11" fmla="*/ 67 h 86"/>
                <a:gd name="T12" fmla="*/ 4 w 85"/>
                <a:gd name="T13" fmla="*/ 60 h 86"/>
                <a:gd name="T14" fmla="*/ 2 w 85"/>
                <a:gd name="T15" fmla="*/ 52 h 86"/>
                <a:gd name="T16" fmla="*/ 0 w 85"/>
                <a:gd name="T17" fmla="*/ 43 h 86"/>
                <a:gd name="T18" fmla="*/ 2 w 85"/>
                <a:gd name="T19" fmla="*/ 35 h 86"/>
                <a:gd name="T20" fmla="*/ 4 w 85"/>
                <a:gd name="T21" fmla="*/ 27 h 86"/>
                <a:gd name="T22" fmla="*/ 7 w 85"/>
                <a:gd name="T23" fmla="*/ 19 h 86"/>
                <a:gd name="T24" fmla="*/ 13 w 85"/>
                <a:gd name="T25" fmla="*/ 13 h 86"/>
                <a:gd name="T26" fmla="*/ 19 w 85"/>
                <a:gd name="T27" fmla="*/ 8 h 86"/>
                <a:gd name="T28" fmla="*/ 26 w 85"/>
                <a:gd name="T29" fmla="*/ 3 h 86"/>
                <a:gd name="T30" fmla="*/ 34 w 85"/>
                <a:gd name="T31" fmla="*/ 1 h 86"/>
                <a:gd name="T32" fmla="*/ 43 w 85"/>
                <a:gd name="T33" fmla="*/ 0 h 86"/>
                <a:gd name="T34" fmla="*/ 43 w 85"/>
                <a:gd name="T35" fmla="*/ 0 h 86"/>
                <a:gd name="T36" fmla="*/ 43 w 85"/>
                <a:gd name="T37" fmla="*/ 0 h 86"/>
                <a:gd name="T38" fmla="*/ 52 w 85"/>
                <a:gd name="T39" fmla="*/ 1 h 86"/>
                <a:gd name="T40" fmla="*/ 59 w 85"/>
                <a:gd name="T41" fmla="*/ 3 h 86"/>
                <a:gd name="T42" fmla="*/ 66 w 85"/>
                <a:gd name="T43" fmla="*/ 8 h 86"/>
                <a:gd name="T44" fmla="*/ 73 w 85"/>
                <a:gd name="T45" fmla="*/ 13 h 86"/>
                <a:gd name="T46" fmla="*/ 78 w 85"/>
                <a:gd name="T47" fmla="*/ 19 h 86"/>
                <a:gd name="T48" fmla="*/ 83 w 85"/>
                <a:gd name="T49" fmla="*/ 27 h 86"/>
                <a:gd name="T50" fmla="*/ 85 w 85"/>
                <a:gd name="T51" fmla="*/ 34 h 86"/>
                <a:gd name="T52" fmla="*/ 85 w 85"/>
                <a:gd name="T53" fmla="*/ 43 h 86"/>
                <a:gd name="T54" fmla="*/ 85 w 85"/>
                <a:gd name="T55" fmla="*/ 52 h 86"/>
                <a:gd name="T56" fmla="*/ 83 w 85"/>
                <a:gd name="T57" fmla="*/ 60 h 86"/>
                <a:gd name="T58" fmla="*/ 78 w 85"/>
                <a:gd name="T59" fmla="*/ 67 h 86"/>
                <a:gd name="T60" fmla="*/ 73 w 85"/>
                <a:gd name="T61" fmla="*/ 73 h 86"/>
                <a:gd name="T62" fmla="*/ 66 w 85"/>
                <a:gd name="T63" fmla="*/ 79 h 86"/>
                <a:gd name="T64" fmla="*/ 59 w 85"/>
                <a:gd name="T65" fmla="*/ 82 h 86"/>
                <a:gd name="T66" fmla="*/ 52 w 85"/>
                <a:gd name="T67" fmla="*/ 85 h 86"/>
                <a:gd name="T68" fmla="*/ 43 w 85"/>
                <a:gd name="T69" fmla="*/ 86 h 86"/>
                <a:gd name="T70" fmla="*/ 43 w 85"/>
                <a:gd name="T71" fmla="*/ 86 h 86"/>
                <a:gd name="T72" fmla="*/ 43 w 85"/>
                <a:gd name="T73" fmla="*/ 86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85" h="86">
                  <a:moveTo>
                    <a:pt x="43" y="86"/>
                  </a:moveTo>
                  <a:lnTo>
                    <a:pt x="34" y="85"/>
                  </a:lnTo>
                  <a:lnTo>
                    <a:pt x="26" y="82"/>
                  </a:lnTo>
                  <a:lnTo>
                    <a:pt x="19" y="79"/>
                  </a:lnTo>
                  <a:lnTo>
                    <a:pt x="13" y="73"/>
                  </a:lnTo>
                  <a:lnTo>
                    <a:pt x="7" y="67"/>
                  </a:lnTo>
                  <a:lnTo>
                    <a:pt x="4" y="60"/>
                  </a:lnTo>
                  <a:lnTo>
                    <a:pt x="2" y="52"/>
                  </a:lnTo>
                  <a:lnTo>
                    <a:pt x="0" y="43"/>
                  </a:lnTo>
                  <a:lnTo>
                    <a:pt x="2" y="35"/>
                  </a:lnTo>
                  <a:lnTo>
                    <a:pt x="4" y="27"/>
                  </a:lnTo>
                  <a:lnTo>
                    <a:pt x="7" y="19"/>
                  </a:lnTo>
                  <a:lnTo>
                    <a:pt x="13" y="13"/>
                  </a:lnTo>
                  <a:lnTo>
                    <a:pt x="19" y="8"/>
                  </a:lnTo>
                  <a:lnTo>
                    <a:pt x="26" y="3"/>
                  </a:lnTo>
                  <a:lnTo>
                    <a:pt x="34" y="1"/>
                  </a:lnTo>
                  <a:lnTo>
                    <a:pt x="43" y="0"/>
                  </a:lnTo>
                  <a:lnTo>
                    <a:pt x="43" y="0"/>
                  </a:lnTo>
                  <a:lnTo>
                    <a:pt x="43" y="0"/>
                  </a:lnTo>
                  <a:lnTo>
                    <a:pt x="52" y="1"/>
                  </a:lnTo>
                  <a:lnTo>
                    <a:pt x="59" y="3"/>
                  </a:lnTo>
                  <a:lnTo>
                    <a:pt x="66" y="8"/>
                  </a:lnTo>
                  <a:lnTo>
                    <a:pt x="73" y="13"/>
                  </a:lnTo>
                  <a:lnTo>
                    <a:pt x="78" y="19"/>
                  </a:lnTo>
                  <a:lnTo>
                    <a:pt x="83" y="27"/>
                  </a:lnTo>
                  <a:lnTo>
                    <a:pt x="85" y="34"/>
                  </a:lnTo>
                  <a:lnTo>
                    <a:pt x="85" y="43"/>
                  </a:lnTo>
                  <a:lnTo>
                    <a:pt x="85" y="52"/>
                  </a:lnTo>
                  <a:lnTo>
                    <a:pt x="83" y="60"/>
                  </a:lnTo>
                  <a:lnTo>
                    <a:pt x="78" y="67"/>
                  </a:lnTo>
                  <a:lnTo>
                    <a:pt x="73" y="73"/>
                  </a:lnTo>
                  <a:lnTo>
                    <a:pt x="66" y="79"/>
                  </a:lnTo>
                  <a:lnTo>
                    <a:pt x="59" y="82"/>
                  </a:lnTo>
                  <a:lnTo>
                    <a:pt x="52" y="85"/>
                  </a:lnTo>
                  <a:lnTo>
                    <a:pt x="43" y="86"/>
                  </a:lnTo>
                  <a:lnTo>
                    <a:pt x="43" y="86"/>
                  </a:lnTo>
                  <a:lnTo>
                    <a:pt x="43" y="86"/>
                  </a:lnTo>
                  <a:close/>
                </a:path>
              </a:pathLst>
            </a:custGeom>
            <a:solidFill>
              <a:srgbClr val="B4A69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6653" tIns="58327" rIns="116653" bIns="58327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434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137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00" name="Freeform 70"/>
            <p:cNvSpPr>
              <a:spLocks/>
            </p:cNvSpPr>
            <p:nvPr/>
          </p:nvSpPr>
          <p:spPr bwMode="auto">
            <a:xfrm>
              <a:off x="2081" y="2124"/>
              <a:ext cx="21" cy="20"/>
            </a:xfrm>
            <a:custGeom>
              <a:avLst/>
              <a:gdLst>
                <a:gd name="T0" fmla="*/ 41 w 84"/>
                <a:gd name="T1" fmla="*/ 79 h 79"/>
                <a:gd name="T2" fmla="*/ 33 w 84"/>
                <a:gd name="T3" fmla="*/ 79 h 79"/>
                <a:gd name="T4" fmla="*/ 26 w 84"/>
                <a:gd name="T5" fmla="*/ 76 h 79"/>
                <a:gd name="T6" fmla="*/ 20 w 84"/>
                <a:gd name="T7" fmla="*/ 73 h 79"/>
                <a:gd name="T8" fmla="*/ 14 w 84"/>
                <a:gd name="T9" fmla="*/ 69 h 79"/>
                <a:gd name="T10" fmla="*/ 10 w 84"/>
                <a:gd name="T11" fmla="*/ 65 h 79"/>
                <a:gd name="T12" fmla="*/ 5 w 84"/>
                <a:gd name="T13" fmla="*/ 59 h 79"/>
                <a:gd name="T14" fmla="*/ 1 w 84"/>
                <a:gd name="T15" fmla="*/ 53 h 79"/>
                <a:gd name="T16" fmla="*/ 0 w 84"/>
                <a:gd name="T17" fmla="*/ 46 h 79"/>
                <a:gd name="T18" fmla="*/ 8 w 84"/>
                <a:gd name="T19" fmla="*/ 42 h 79"/>
                <a:gd name="T20" fmla="*/ 17 w 84"/>
                <a:gd name="T21" fmla="*/ 39 h 79"/>
                <a:gd name="T22" fmla="*/ 25 w 84"/>
                <a:gd name="T23" fmla="*/ 35 h 79"/>
                <a:gd name="T24" fmla="*/ 32 w 84"/>
                <a:gd name="T25" fmla="*/ 29 h 79"/>
                <a:gd name="T26" fmla="*/ 40 w 84"/>
                <a:gd name="T27" fmla="*/ 23 h 79"/>
                <a:gd name="T28" fmla="*/ 48 w 84"/>
                <a:gd name="T29" fmla="*/ 16 h 79"/>
                <a:gd name="T30" fmla="*/ 56 w 84"/>
                <a:gd name="T31" fmla="*/ 8 h 79"/>
                <a:gd name="T32" fmla="*/ 63 w 84"/>
                <a:gd name="T33" fmla="*/ 0 h 79"/>
                <a:gd name="T34" fmla="*/ 67 w 84"/>
                <a:gd name="T35" fmla="*/ 2 h 79"/>
                <a:gd name="T36" fmla="*/ 71 w 84"/>
                <a:gd name="T37" fmla="*/ 6 h 79"/>
                <a:gd name="T38" fmla="*/ 74 w 84"/>
                <a:gd name="T39" fmla="*/ 10 h 79"/>
                <a:gd name="T40" fmla="*/ 78 w 84"/>
                <a:gd name="T41" fmla="*/ 15 h 79"/>
                <a:gd name="T42" fmla="*/ 80 w 84"/>
                <a:gd name="T43" fmla="*/ 20 h 79"/>
                <a:gd name="T44" fmla="*/ 81 w 84"/>
                <a:gd name="T45" fmla="*/ 25 h 79"/>
                <a:gd name="T46" fmla="*/ 83 w 84"/>
                <a:gd name="T47" fmla="*/ 30 h 79"/>
                <a:gd name="T48" fmla="*/ 84 w 84"/>
                <a:gd name="T49" fmla="*/ 36 h 79"/>
                <a:gd name="T50" fmla="*/ 83 w 84"/>
                <a:gd name="T51" fmla="*/ 45 h 79"/>
                <a:gd name="T52" fmla="*/ 80 w 84"/>
                <a:gd name="T53" fmla="*/ 53 h 79"/>
                <a:gd name="T54" fmla="*/ 77 w 84"/>
                <a:gd name="T55" fmla="*/ 60 h 79"/>
                <a:gd name="T56" fmla="*/ 71 w 84"/>
                <a:gd name="T57" fmla="*/ 66 h 79"/>
                <a:gd name="T58" fmla="*/ 65 w 84"/>
                <a:gd name="T59" fmla="*/ 72 h 79"/>
                <a:gd name="T60" fmla="*/ 58 w 84"/>
                <a:gd name="T61" fmla="*/ 75 h 79"/>
                <a:gd name="T62" fmla="*/ 50 w 84"/>
                <a:gd name="T63" fmla="*/ 78 h 79"/>
                <a:gd name="T64" fmla="*/ 41 w 84"/>
                <a:gd name="T65" fmla="*/ 79 h 79"/>
                <a:gd name="T66" fmla="*/ 41 w 84"/>
                <a:gd name="T67" fmla="*/ 79 h 79"/>
                <a:gd name="T68" fmla="*/ 41 w 84"/>
                <a:gd name="T69" fmla="*/ 79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84" h="79">
                  <a:moveTo>
                    <a:pt x="41" y="79"/>
                  </a:moveTo>
                  <a:lnTo>
                    <a:pt x="33" y="79"/>
                  </a:lnTo>
                  <a:lnTo>
                    <a:pt x="26" y="76"/>
                  </a:lnTo>
                  <a:lnTo>
                    <a:pt x="20" y="73"/>
                  </a:lnTo>
                  <a:lnTo>
                    <a:pt x="14" y="69"/>
                  </a:lnTo>
                  <a:lnTo>
                    <a:pt x="10" y="65"/>
                  </a:lnTo>
                  <a:lnTo>
                    <a:pt x="5" y="59"/>
                  </a:lnTo>
                  <a:lnTo>
                    <a:pt x="1" y="53"/>
                  </a:lnTo>
                  <a:lnTo>
                    <a:pt x="0" y="46"/>
                  </a:lnTo>
                  <a:lnTo>
                    <a:pt x="8" y="42"/>
                  </a:lnTo>
                  <a:lnTo>
                    <a:pt x="17" y="39"/>
                  </a:lnTo>
                  <a:lnTo>
                    <a:pt x="25" y="35"/>
                  </a:lnTo>
                  <a:lnTo>
                    <a:pt x="32" y="29"/>
                  </a:lnTo>
                  <a:lnTo>
                    <a:pt x="40" y="23"/>
                  </a:lnTo>
                  <a:lnTo>
                    <a:pt x="48" y="16"/>
                  </a:lnTo>
                  <a:lnTo>
                    <a:pt x="56" y="8"/>
                  </a:lnTo>
                  <a:lnTo>
                    <a:pt x="63" y="0"/>
                  </a:lnTo>
                  <a:lnTo>
                    <a:pt x="67" y="2"/>
                  </a:lnTo>
                  <a:lnTo>
                    <a:pt x="71" y="6"/>
                  </a:lnTo>
                  <a:lnTo>
                    <a:pt x="74" y="10"/>
                  </a:lnTo>
                  <a:lnTo>
                    <a:pt x="78" y="15"/>
                  </a:lnTo>
                  <a:lnTo>
                    <a:pt x="80" y="20"/>
                  </a:lnTo>
                  <a:lnTo>
                    <a:pt x="81" y="25"/>
                  </a:lnTo>
                  <a:lnTo>
                    <a:pt x="83" y="30"/>
                  </a:lnTo>
                  <a:lnTo>
                    <a:pt x="84" y="36"/>
                  </a:lnTo>
                  <a:lnTo>
                    <a:pt x="83" y="45"/>
                  </a:lnTo>
                  <a:lnTo>
                    <a:pt x="80" y="53"/>
                  </a:lnTo>
                  <a:lnTo>
                    <a:pt x="77" y="60"/>
                  </a:lnTo>
                  <a:lnTo>
                    <a:pt x="71" y="66"/>
                  </a:lnTo>
                  <a:lnTo>
                    <a:pt x="65" y="72"/>
                  </a:lnTo>
                  <a:lnTo>
                    <a:pt x="58" y="75"/>
                  </a:lnTo>
                  <a:lnTo>
                    <a:pt x="50" y="78"/>
                  </a:lnTo>
                  <a:lnTo>
                    <a:pt x="41" y="79"/>
                  </a:lnTo>
                  <a:lnTo>
                    <a:pt x="41" y="79"/>
                  </a:lnTo>
                  <a:lnTo>
                    <a:pt x="41" y="79"/>
                  </a:lnTo>
                  <a:close/>
                </a:path>
              </a:pathLst>
            </a:custGeom>
            <a:solidFill>
              <a:srgbClr val="B4A69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6653" tIns="58327" rIns="116653" bIns="58327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434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137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01" name="Freeform 71"/>
            <p:cNvSpPr>
              <a:spLocks/>
            </p:cNvSpPr>
            <p:nvPr/>
          </p:nvSpPr>
          <p:spPr bwMode="auto">
            <a:xfrm>
              <a:off x="1880" y="2193"/>
              <a:ext cx="16" cy="22"/>
            </a:xfrm>
            <a:custGeom>
              <a:avLst/>
              <a:gdLst>
                <a:gd name="T0" fmla="*/ 23 w 65"/>
                <a:gd name="T1" fmla="*/ 86 h 86"/>
                <a:gd name="T2" fmla="*/ 15 w 65"/>
                <a:gd name="T3" fmla="*/ 85 h 86"/>
                <a:gd name="T4" fmla="*/ 10 w 65"/>
                <a:gd name="T5" fmla="*/ 84 h 86"/>
                <a:gd name="T6" fmla="*/ 6 w 65"/>
                <a:gd name="T7" fmla="*/ 65 h 86"/>
                <a:gd name="T8" fmla="*/ 4 w 65"/>
                <a:gd name="T9" fmla="*/ 45 h 86"/>
                <a:gd name="T10" fmla="*/ 1 w 65"/>
                <a:gd name="T11" fmla="*/ 26 h 86"/>
                <a:gd name="T12" fmla="*/ 0 w 65"/>
                <a:gd name="T13" fmla="*/ 7 h 86"/>
                <a:gd name="T14" fmla="*/ 5 w 65"/>
                <a:gd name="T15" fmla="*/ 4 h 86"/>
                <a:gd name="T16" fmla="*/ 11 w 65"/>
                <a:gd name="T17" fmla="*/ 3 h 86"/>
                <a:gd name="T18" fmla="*/ 17 w 65"/>
                <a:gd name="T19" fmla="*/ 0 h 86"/>
                <a:gd name="T20" fmla="*/ 23 w 65"/>
                <a:gd name="T21" fmla="*/ 0 h 86"/>
                <a:gd name="T22" fmla="*/ 31 w 65"/>
                <a:gd name="T23" fmla="*/ 1 h 86"/>
                <a:gd name="T24" fmla="*/ 39 w 65"/>
                <a:gd name="T25" fmla="*/ 4 h 86"/>
                <a:gd name="T26" fmla="*/ 46 w 65"/>
                <a:gd name="T27" fmla="*/ 7 h 86"/>
                <a:gd name="T28" fmla="*/ 52 w 65"/>
                <a:gd name="T29" fmla="*/ 13 h 86"/>
                <a:gd name="T30" fmla="*/ 58 w 65"/>
                <a:gd name="T31" fmla="*/ 19 h 86"/>
                <a:gd name="T32" fmla="*/ 61 w 65"/>
                <a:gd name="T33" fmla="*/ 26 h 86"/>
                <a:gd name="T34" fmla="*/ 64 w 65"/>
                <a:gd name="T35" fmla="*/ 34 h 86"/>
                <a:gd name="T36" fmla="*/ 65 w 65"/>
                <a:gd name="T37" fmla="*/ 43 h 86"/>
                <a:gd name="T38" fmla="*/ 64 w 65"/>
                <a:gd name="T39" fmla="*/ 52 h 86"/>
                <a:gd name="T40" fmla="*/ 61 w 65"/>
                <a:gd name="T41" fmla="*/ 60 h 86"/>
                <a:gd name="T42" fmla="*/ 58 w 65"/>
                <a:gd name="T43" fmla="*/ 67 h 86"/>
                <a:gd name="T44" fmla="*/ 52 w 65"/>
                <a:gd name="T45" fmla="*/ 73 h 86"/>
                <a:gd name="T46" fmla="*/ 46 w 65"/>
                <a:gd name="T47" fmla="*/ 79 h 86"/>
                <a:gd name="T48" fmla="*/ 39 w 65"/>
                <a:gd name="T49" fmla="*/ 83 h 86"/>
                <a:gd name="T50" fmla="*/ 31 w 65"/>
                <a:gd name="T51" fmla="*/ 85 h 86"/>
                <a:gd name="T52" fmla="*/ 23 w 65"/>
                <a:gd name="T53" fmla="*/ 86 h 86"/>
                <a:gd name="T54" fmla="*/ 23 w 65"/>
                <a:gd name="T55" fmla="*/ 86 h 86"/>
                <a:gd name="T56" fmla="*/ 23 w 65"/>
                <a:gd name="T57" fmla="*/ 86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65" h="86">
                  <a:moveTo>
                    <a:pt x="23" y="86"/>
                  </a:moveTo>
                  <a:lnTo>
                    <a:pt x="15" y="85"/>
                  </a:lnTo>
                  <a:lnTo>
                    <a:pt x="10" y="84"/>
                  </a:lnTo>
                  <a:lnTo>
                    <a:pt x="6" y="65"/>
                  </a:lnTo>
                  <a:lnTo>
                    <a:pt x="4" y="45"/>
                  </a:lnTo>
                  <a:lnTo>
                    <a:pt x="1" y="26"/>
                  </a:lnTo>
                  <a:lnTo>
                    <a:pt x="0" y="7"/>
                  </a:lnTo>
                  <a:lnTo>
                    <a:pt x="5" y="4"/>
                  </a:lnTo>
                  <a:lnTo>
                    <a:pt x="11" y="3"/>
                  </a:lnTo>
                  <a:lnTo>
                    <a:pt x="17" y="0"/>
                  </a:lnTo>
                  <a:lnTo>
                    <a:pt x="23" y="0"/>
                  </a:lnTo>
                  <a:lnTo>
                    <a:pt x="31" y="1"/>
                  </a:lnTo>
                  <a:lnTo>
                    <a:pt x="39" y="4"/>
                  </a:lnTo>
                  <a:lnTo>
                    <a:pt x="46" y="7"/>
                  </a:lnTo>
                  <a:lnTo>
                    <a:pt x="52" y="13"/>
                  </a:lnTo>
                  <a:lnTo>
                    <a:pt x="58" y="19"/>
                  </a:lnTo>
                  <a:lnTo>
                    <a:pt x="61" y="26"/>
                  </a:lnTo>
                  <a:lnTo>
                    <a:pt x="64" y="34"/>
                  </a:lnTo>
                  <a:lnTo>
                    <a:pt x="65" y="43"/>
                  </a:lnTo>
                  <a:lnTo>
                    <a:pt x="64" y="52"/>
                  </a:lnTo>
                  <a:lnTo>
                    <a:pt x="61" y="60"/>
                  </a:lnTo>
                  <a:lnTo>
                    <a:pt x="58" y="67"/>
                  </a:lnTo>
                  <a:lnTo>
                    <a:pt x="52" y="73"/>
                  </a:lnTo>
                  <a:lnTo>
                    <a:pt x="46" y="79"/>
                  </a:lnTo>
                  <a:lnTo>
                    <a:pt x="39" y="83"/>
                  </a:lnTo>
                  <a:lnTo>
                    <a:pt x="31" y="85"/>
                  </a:lnTo>
                  <a:lnTo>
                    <a:pt x="23" y="86"/>
                  </a:lnTo>
                  <a:lnTo>
                    <a:pt x="23" y="86"/>
                  </a:lnTo>
                  <a:lnTo>
                    <a:pt x="23" y="86"/>
                  </a:lnTo>
                  <a:close/>
                </a:path>
              </a:pathLst>
            </a:custGeom>
            <a:solidFill>
              <a:srgbClr val="B4A69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6653" tIns="58327" rIns="116653" bIns="58327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434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137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02" name="Freeform 72"/>
            <p:cNvSpPr>
              <a:spLocks/>
            </p:cNvSpPr>
            <p:nvPr/>
          </p:nvSpPr>
          <p:spPr bwMode="auto">
            <a:xfrm>
              <a:off x="2019" y="2193"/>
              <a:ext cx="21" cy="21"/>
            </a:xfrm>
            <a:custGeom>
              <a:avLst/>
              <a:gdLst>
                <a:gd name="T0" fmla="*/ 42 w 84"/>
                <a:gd name="T1" fmla="*/ 86 h 86"/>
                <a:gd name="T2" fmla="*/ 34 w 84"/>
                <a:gd name="T3" fmla="*/ 85 h 86"/>
                <a:gd name="T4" fmla="*/ 26 w 84"/>
                <a:gd name="T5" fmla="*/ 83 h 86"/>
                <a:gd name="T6" fmla="*/ 18 w 84"/>
                <a:gd name="T7" fmla="*/ 79 h 86"/>
                <a:gd name="T8" fmla="*/ 13 w 84"/>
                <a:gd name="T9" fmla="*/ 73 h 86"/>
                <a:gd name="T10" fmla="*/ 8 w 84"/>
                <a:gd name="T11" fmla="*/ 67 h 86"/>
                <a:gd name="T12" fmla="*/ 3 w 84"/>
                <a:gd name="T13" fmla="*/ 60 h 86"/>
                <a:gd name="T14" fmla="*/ 1 w 84"/>
                <a:gd name="T15" fmla="*/ 52 h 86"/>
                <a:gd name="T16" fmla="*/ 0 w 84"/>
                <a:gd name="T17" fmla="*/ 44 h 86"/>
                <a:gd name="T18" fmla="*/ 1 w 84"/>
                <a:gd name="T19" fmla="*/ 34 h 86"/>
                <a:gd name="T20" fmla="*/ 3 w 84"/>
                <a:gd name="T21" fmla="*/ 26 h 86"/>
                <a:gd name="T22" fmla="*/ 7 w 84"/>
                <a:gd name="T23" fmla="*/ 19 h 86"/>
                <a:gd name="T24" fmla="*/ 13 w 84"/>
                <a:gd name="T25" fmla="*/ 13 h 86"/>
                <a:gd name="T26" fmla="*/ 18 w 84"/>
                <a:gd name="T27" fmla="*/ 7 h 86"/>
                <a:gd name="T28" fmla="*/ 26 w 84"/>
                <a:gd name="T29" fmla="*/ 4 h 86"/>
                <a:gd name="T30" fmla="*/ 34 w 84"/>
                <a:gd name="T31" fmla="*/ 1 h 86"/>
                <a:gd name="T32" fmla="*/ 42 w 84"/>
                <a:gd name="T33" fmla="*/ 0 h 86"/>
                <a:gd name="T34" fmla="*/ 42 w 84"/>
                <a:gd name="T35" fmla="*/ 0 h 86"/>
                <a:gd name="T36" fmla="*/ 42 w 84"/>
                <a:gd name="T37" fmla="*/ 0 h 86"/>
                <a:gd name="T38" fmla="*/ 51 w 84"/>
                <a:gd name="T39" fmla="*/ 1 h 86"/>
                <a:gd name="T40" fmla="*/ 58 w 84"/>
                <a:gd name="T41" fmla="*/ 4 h 86"/>
                <a:gd name="T42" fmla="*/ 66 w 84"/>
                <a:gd name="T43" fmla="*/ 7 h 86"/>
                <a:gd name="T44" fmla="*/ 73 w 84"/>
                <a:gd name="T45" fmla="*/ 13 h 86"/>
                <a:gd name="T46" fmla="*/ 77 w 84"/>
                <a:gd name="T47" fmla="*/ 19 h 86"/>
                <a:gd name="T48" fmla="*/ 81 w 84"/>
                <a:gd name="T49" fmla="*/ 26 h 86"/>
                <a:gd name="T50" fmla="*/ 84 w 84"/>
                <a:gd name="T51" fmla="*/ 34 h 86"/>
                <a:gd name="T52" fmla="*/ 84 w 84"/>
                <a:gd name="T53" fmla="*/ 42 h 86"/>
                <a:gd name="T54" fmla="*/ 84 w 84"/>
                <a:gd name="T55" fmla="*/ 52 h 86"/>
                <a:gd name="T56" fmla="*/ 81 w 84"/>
                <a:gd name="T57" fmla="*/ 60 h 86"/>
                <a:gd name="T58" fmla="*/ 77 w 84"/>
                <a:gd name="T59" fmla="*/ 67 h 86"/>
                <a:gd name="T60" fmla="*/ 73 w 84"/>
                <a:gd name="T61" fmla="*/ 73 h 86"/>
                <a:gd name="T62" fmla="*/ 66 w 84"/>
                <a:gd name="T63" fmla="*/ 79 h 86"/>
                <a:gd name="T64" fmla="*/ 58 w 84"/>
                <a:gd name="T65" fmla="*/ 83 h 86"/>
                <a:gd name="T66" fmla="*/ 51 w 84"/>
                <a:gd name="T67" fmla="*/ 85 h 86"/>
                <a:gd name="T68" fmla="*/ 42 w 84"/>
                <a:gd name="T69" fmla="*/ 86 h 86"/>
                <a:gd name="T70" fmla="*/ 42 w 84"/>
                <a:gd name="T71" fmla="*/ 86 h 86"/>
                <a:gd name="T72" fmla="*/ 42 w 84"/>
                <a:gd name="T73" fmla="*/ 86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84" h="86">
                  <a:moveTo>
                    <a:pt x="42" y="86"/>
                  </a:moveTo>
                  <a:lnTo>
                    <a:pt x="34" y="85"/>
                  </a:lnTo>
                  <a:lnTo>
                    <a:pt x="26" y="83"/>
                  </a:lnTo>
                  <a:lnTo>
                    <a:pt x="18" y="79"/>
                  </a:lnTo>
                  <a:lnTo>
                    <a:pt x="13" y="73"/>
                  </a:lnTo>
                  <a:lnTo>
                    <a:pt x="8" y="67"/>
                  </a:lnTo>
                  <a:lnTo>
                    <a:pt x="3" y="60"/>
                  </a:lnTo>
                  <a:lnTo>
                    <a:pt x="1" y="52"/>
                  </a:lnTo>
                  <a:lnTo>
                    <a:pt x="0" y="44"/>
                  </a:lnTo>
                  <a:lnTo>
                    <a:pt x="1" y="34"/>
                  </a:lnTo>
                  <a:lnTo>
                    <a:pt x="3" y="26"/>
                  </a:lnTo>
                  <a:lnTo>
                    <a:pt x="7" y="19"/>
                  </a:lnTo>
                  <a:lnTo>
                    <a:pt x="13" y="13"/>
                  </a:lnTo>
                  <a:lnTo>
                    <a:pt x="18" y="7"/>
                  </a:lnTo>
                  <a:lnTo>
                    <a:pt x="26" y="4"/>
                  </a:lnTo>
                  <a:lnTo>
                    <a:pt x="34" y="1"/>
                  </a:lnTo>
                  <a:lnTo>
                    <a:pt x="42" y="0"/>
                  </a:lnTo>
                  <a:lnTo>
                    <a:pt x="42" y="0"/>
                  </a:lnTo>
                  <a:lnTo>
                    <a:pt x="42" y="0"/>
                  </a:lnTo>
                  <a:lnTo>
                    <a:pt x="51" y="1"/>
                  </a:lnTo>
                  <a:lnTo>
                    <a:pt x="58" y="4"/>
                  </a:lnTo>
                  <a:lnTo>
                    <a:pt x="66" y="7"/>
                  </a:lnTo>
                  <a:lnTo>
                    <a:pt x="73" y="13"/>
                  </a:lnTo>
                  <a:lnTo>
                    <a:pt x="77" y="19"/>
                  </a:lnTo>
                  <a:lnTo>
                    <a:pt x="81" y="26"/>
                  </a:lnTo>
                  <a:lnTo>
                    <a:pt x="84" y="34"/>
                  </a:lnTo>
                  <a:lnTo>
                    <a:pt x="84" y="42"/>
                  </a:lnTo>
                  <a:lnTo>
                    <a:pt x="84" y="52"/>
                  </a:lnTo>
                  <a:lnTo>
                    <a:pt x="81" y="60"/>
                  </a:lnTo>
                  <a:lnTo>
                    <a:pt x="77" y="67"/>
                  </a:lnTo>
                  <a:lnTo>
                    <a:pt x="73" y="73"/>
                  </a:lnTo>
                  <a:lnTo>
                    <a:pt x="66" y="79"/>
                  </a:lnTo>
                  <a:lnTo>
                    <a:pt x="58" y="83"/>
                  </a:lnTo>
                  <a:lnTo>
                    <a:pt x="51" y="85"/>
                  </a:lnTo>
                  <a:lnTo>
                    <a:pt x="42" y="86"/>
                  </a:lnTo>
                  <a:lnTo>
                    <a:pt x="42" y="86"/>
                  </a:lnTo>
                  <a:lnTo>
                    <a:pt x="42" y="86"/>
                  </a:lnTo>
                  <a:close/>
                </a:path>
              </a:pathLst>
            </a:custGeom>
            <a:solidFill>
              <a:srgbClr val="B4A69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6653" tIns="58327" rIns="116653" bIns="58327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434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137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03" name="Freeform 73"/>
            <p:cNvSpPr>
              <a:spLocks/>
            </p:cNvSpPr>
            <p:nvPr/>
          </p:nvSpPr>
          <p:spPr bwMode="auto">
            <a:xfrm>
              <a:off x="2163" y="2192"/>
              <a:ext cx="21" cy="22"/>
            </a:xfrm>
            <a:custGeom>
              <a:avLst/>
              <a:gdLst>
                <a:gd name="T0" fmla="*/ 43 w 85"/>
                <a:gd name="T1" fmla="*/ 86 h 86"/>
                <a:gd name="T2" fmla="*/ 34 w 85"/>
                <a:gd name="T3" fmla="*/ 85 h 86"/>
                <a:gd name="T4" fmla="*/ 26 w 85"/>
                <a:gd name="T5" fmla="*/ 82 h 86"/>
                <a:gd name="T6" fmla="*/ 19 w 85"/>
                <a:gd name="T7" fmla="*/ 79 h 86"/>
                <a:gd name="T8" fmla="*/ 12 w 85"/>
                <a:gd name="T9" fmla="*/ 73 h 86"/>
                <a:gd name="T10" fmla="*/ 7 w 85"/>
                <a:gd name="T11" fmla="*/ 67 h 86"/>
                <a:gd name="T12" fmla="*/ 4 w 85"/>
                <a:gd name="T13" fmla="*/ 60 h 86"/>
                <a:gd name="T14" fmla="*/ 1 w 85"/>
                <a:gd name="T15" fmla="*/ 52 h 86"/>
                <a:gd name="T16" fmla="*/ 0 w 85"/>
                <a:gd name="T17" fmla="*/ 43 h 86"/>
                <a:gd name="T18" fmla="*/ 1 w 85"/>
                <a:gd name="T19" fmla="*/ 34 h 86"/>
                <a:gd name="T20" fmla="*/ 4 w 85"/>
                <a:gd name="T21" fmla="*/ 26 h 86"/>
                <a:gd name="T22" fmla="*/ 7 w 85"/>
                <a:gd name="T23" fmla="*/ 19 h 86"/>
                <a:gd name="T24" fmla="*/ 12 w 85"/>
                <a:gd name="T25" fmla="*/ 13 h 86"/>
                <a:gd name="T26" fmla="*/ 19 w 85"/>
                <a:gd name="T27" fmla="*/ 7 h 86"/>
                <a:gd name="T28" fmla="*/ 26 w 85"/>
                <a:gd name="T29" fmla="*/ 3 h 86"/>
                <a:gd name="T30" fmla="*/ 33 w 85"/>
                <a:gd name="T31" fmla="*/ 1 h 86"/>
                <a:gd name="T32" fmla="*/ 43 w 85"/>
                <a:gd name="T33" fmla="*/ 0 h 86"/>
                <a:gd name="T34" fmla="*/ 43 w 85"/>
                <a:gd name="T35" fmla="*/ 0 h 86"/>
                <a:gd name="T36" fmla="*/ 43 w 85"/>
                <a:gd name="T37" fmla="*/ 0 h 86"/>
                <a:gd name="T38" fmla="*/ 51 w 85"/>
                <a:gd name="T39" fmla="*/ 1 h 86"/>
                <a:gd name="T40" fmla="*/ 59 w 85"/>
                <a:gd name="T41" fmla="*/ 3 h 86"/>
                <a:gd name="T42" fmla="*/ 66 w 85"/>
                <a:gd name="T43" fmla="*/ 7 h 86"/>
                <a:gd name="T44" fmla="*/ 72 w 85"/>
                <a:gd name="T45" fmla="*/ 13 h 86"/>
                <a:gd name="T46" fmla="*/ 78 w 85"/>
                <a:gd name="T47" fmla="*/ 19 h 86"/>
                <a:gd name="T48" fmla="*/ 82 w 85"/>
                <a:gd name="T49" fmla="*/ 26 h 86"/>
                <a:gd name="T50" fmla="*/ 84 w 85"/>
                <a:gd name="T51" fmla="*/ 34 h 86"/>
                <a:gd name="T52" fmla="*/ 85 w 85"/>
                <a:gd name="T53" fmla="*/ 42 h 86"/>
                <a:gd name="T54" fmla="*/ 84 w 85"/>
                <a:gd name="T55" fmla="*/ 52 h 86"/>
                <a:gd name="T56" fmla="*/ 82 w 85"/>
                <a:gd name="T57" fmla="*/ 60 h 86"/>
                <a:gd name="T58" fmla="*/ 78 w 85"/>
                <a:gd name="T59" fmla="*/ 67 h 86"/>
                <a:gd name="T60" fmla="*/ 72 w 85"/>
                <a:gd name="T61" fmla="*/ 73 h 86"/>
                <a:gd name="T62" fmla="*/ 66 w 85"/>
                <a:gd name="T63" fmla="*/ 79 h 86"/>
                <a:gd name="T64" fmla="*/ 59 w 85"/>
                <a:gd name="T65" fmla="*/ 82 h 86"/>
                <a:gd name="T66" fmla="*/ 51 w 85"/>
                <a:gd name="T67" fmla="*/ 85 h 86"/>
                <a:gd name="T68" fmla="*/ 43 w 85"/>
                <a:gd name="T69" fmla="*/ 86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85" h="86">
                  <a:moveTo>
                    <a:pt x="43" y="86"/>
                  </a:moveTo>
                  <a:lnTo>
                    <a:pt x="34" y="85"/>
                  </a:lnTo>
                  <a:lnTo>
                    <a:pt x="26" y="82"/>
                  </a:lnTo>
                  <a:lnTo>
                    <a:pt x="19" y="79"/>
                  </a:lnTo>
                  <a:lnTo>
                    <a:pt x="12" y="73"/>
                  </a:lnTo>
                  <a:lnTo>
                    <a:pt x="7" y="67"/>
                  </a:lnTo>
                  <a:lnTo>
                    <a:pt x="4" y="60"/>
                  </a:lnTo>
                  <a:lnTo>
                    <a:pt x="1" y="52"/>
                  </a:lnTo>
                  <a:lnTo>
                    <a:pt x="0" y="43"/>
                  </a:lnTo>
                  <a:lnTo>
                    <a:pt x="1" y="34"/>
                  </a:lnTo>
                  <a:lnTo>
                    <a:pt x="4" y="26"/>
                  </a:lnTo>
                  <a:lnTo>
                    <a:pt x="7" y="19"/>
                  </a:lnTo>
                  <a:lnTo>
                    <a:pt x="12" y="13"/>
                  </a:lnTo>
                  <a:lnTo>
                    <a:pt x="19" y="7"/>
                  </a:lnTo>
                  <a:lnTo>
                    <a:pt x="26" y="3"/>
                  </a:lnTo>
                  <a:lnTo>
                    <a:pt x="33" y="1"/>
                  </a:lnTo>
                  <a:lnTo>
                    <a:pt x="43" y="0"/>
                  </a:lnTo>
                  <a:lnTo>
                    <a:pt x="43" y="0"/>
                  </a:lnTo>
                  <a:lnTo>
                    <a:pt x="43" y="0"/>
                  </a:lnTo>
                  <a:lnTo>
                    <a:pt x="51" y="1"/>
                  </a:lnTo>
                  <a:lnTo>
                    <a:pt x="59" y="3"/>
                  </a:lnTo>
                  <a:lnTo>
                    <a:pt x="66" y="7"/>
                  </a:lnTo>
                  <a:lnTo>
                    <a:pt x="72" y="13"/>
                  </a:lnTo>
                  <a:lnTo>
                    <a:pt x="78" y="19"/>
                  </a:lnTo>
                  <a:lnTo>
                    <a:pt x="82" y="26"/>
                  </a:lnTo>
                  <a:lnTo>
                    <a:pt x="84" y="34"/>
                  </a:lnTo>
                  <a:lnTo>
                    <a:pt x="85" y="42"/>
                  </a:lnTo>
                  <a:lnTo>
                    <a:pt x="84" y="52"/>
                  </a:lnTo>
                  <a:lnTo>
                    <a:pt x="82" y="60"/>
                  </a:lnTo>
                  <a:lnTo>
                    <a:pt x="78" y="67"/>
                  </a:lnTo>
                  <a:lnTo>
                    <a:pt x="72" y="73"/>
                  </a:lnTo>
                  <a:lnTo>
                    <a:pt x="66" y="79"/>
                  </a:lnTo>
                  <a:lnTo>
                    <a:pt x="59" y="82"/>
                  </a:lnTo>
                  <a:lnTo>
                    <a:pt x="51" y="85"/>
                  </a:lnTo>
                  <a:lnTo>
                    <a:pt x="43" y="86"/>
                  </a:lnTo>
                  <a:close/>
                </a:path>
              </a:pathLst>
            </a:custGeom>
            <a:solidFill>
              <a:srgbClr val="B4A69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6653" tIns="58327" rIns="116653" bIns="58327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434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137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04" name="Freeform 74"/>
            <p:cNvSpPr>
              <a:spLocks/>
            </p:cNvSpPr>
            <p:nvPr/>
          </p:nvSpPr>
          <p:spPr bwMode="auto">
            <a:xfrm>
              <a:off x="1937" y="2276"/>
              <a:ext cx="22" cy="22"/>
            </a:xfrm>
            <a:custGeom>
              <a:avLst/>
              <a:gdLst>
                <a:gd name="T0" fmla="*/ 42 w 84"/>
                <a:gd name="T1" fmla="*/ 86 h 86"/>
                <a:gd name="T2" fmla="*/ 34 w 84"/>
                <a:gd name="T3" fmla="*/ 85 h 86"/>
                <a:gd name="T4" fmla="*/ 25 w 84"/>
                <a:gd name="T5" fmla="*/ 83 h 86"/>
                <a:gd name="T6" fmla="*/ 18 w 84"/>
                <a:gd name="T7" fmla="*/ 79 h 86"/>
                <a:gd name="T8" fmla="*/ 12 w 84"/>
                <a:gd name="T9" fmla="*/ 73 h 86"/>
                <a:gd name="T10" fmla="*/ 8 w 84"/>
                <a:gd name="T11" fmla="*/ 68 h 86"/>
                <a:gd name="T12" fmla="*/ 3 w 84"/>
                <a:gd name="T13" fmla="*/ 60 h 86"/>
                <a:gd name="T14" fmla="*/ 1 w 84"/>
                <a:gd name="T15" fmla="*/ 52 h 86"/>
                <a:gd name="T16" fmla="*/ 0 w 84"/>
                <a:gd name="T17" fmla="*/ 43 h 86"/>
                <a:gd name="T18" fmla="*/ 1 w 84"/>
                <a:gd name="T19" fmla="*/ 35 h 86"/>
                <a:gd name="T20" fmla="*/ 3 w 84"/>
                <a:gd name="T21" fmla="*/ 26 h 86"/>
                <a:gd name="T22" fmla="*/ 7 w 84"/>
                <a:gd name="T23" fmla="*/ 19 h 86"/>
                <a:gd name="T24" fmla="*/ 12 w 84"/>
                <a:gd name="T25" fmla="*/ 13 h 86"/>
                <a:gd name="T26" fmla="*/ 18 w 84"/>
                <a:gd name="T27" fmla="*/ 7 h 86"/>
                <a:gd name="T28" fmla="*/ 25 w 84"/>
                <a:gd name="T29" fmla="*/ 4 h 86"/>
                <a:gd name="T30" fmla="*/ 34 w 84"/>
                <a:gd name="T31" fmla="*/ 2 h 86"/>
                <a:gd name="T32" fmla="*/ 42 w 84"/>
                <a:gd name="T33" fmla="*/ 0 h 86"/>
                <a:gd name="T34" fmla="*/ 42 w 84"/>
                <a:gd name="T35" fmla="*/ 0 h 86"/>
                <a:gd name="T36" fmla="*/ 42 w 84"/>
                <a:gd name="T37" fmla="*/ 0 h 86"/>
                <a:gd name="T38" fmla="*/ 50 w 84"/>
                <a:gd name="T39" fmla="*/ 2 h 86"/>
                <a:gd name="T40" fmla="*/ 58 w 84"/>
                <a:gd name="T41" fmla="*/ 4 h 86"/>
                <a:gd name="T42" fmla="*/ 65 w 84"/>
                <a:gd name="T43" fmla="*/ 7 h 86"/>
                <a:gd name="T44" fmla="*/ 73 w 84"/>
                <a:gd name="T45" fmla="*/ 13 h 86"/>
                <a:gd name="T46" fmla="*/ 77 w 84"/>
                <a:gd name="T47" fmla="*/ 19 h 86"/>
                <a:gd name="T48" fmla="*/ 81 w 84"/>
                <a:gd name="T49" fmla="*/ 26 h 86"/>
                <a:gd name="T50" fmla="*/ 84 w 84"/>
                <a:gd name="T51" fmla="*/ 35 h 86"/>
                <a:gd name="T52" fmla="*/ 84 w 84"/>
                <a:gd name="T53" fmla="*/ 43 h 86"/>
                <a:gd name="T54" fmla="*/ 84 w 84"/>
                <a:gd name="T55" fmla="*/ 52 h 86"/>
                <a:gd name="T56" fmla="*/ 82 w 84"/>
                <a:gd name="T57" fmla="*/ 59 h 86"/>
                <a:gd name="T58" fmla="*/ 77 w 84"/>
                <a:gd name="T59" fmla="*/ 68 h 86"/>
                <a:gd name="T60" fmla="*/ 73 w 84"/>
                <a:gd name="T61" fmla="*/ 73 h 86"/>
                <a:gd name="T62" fmla="*/ 65 w 84"/>
                <a:gd name="T63" fmla="*/ 78 h 86"/>
                <a:gd name="T64" fmla="*/ 58 w 84"/>
                <a:gd name="T65" fmla="*/ 83 h 86"/>
                <a:gd name="T66" fmla="*/ 51 w 84"/>
                <a:gd name="T67" fmla="*/ 85 h 86"/>
                <a:gd name="T68" fmla="*/ 42 w 84"/>
                <a:gd name="T69" fmla="*/ 86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84" h="86">
                  <a:moveTo>
                    <a:pt x="42" y="86"/>
                  </a:moveTo>
                  <a:lnTo>
                    <a:pt x="34" y="85"/>
                  </a:lnTo>
                  <a:lnTo>
                    <a:pt x="25" y="83"/>
                  </a:lnTo>
                  <a:lnTo>
                    <a:pt x="18" y="79"/>
                  </a:lnTo>
                  <a:lnTo>
                    <a:pt x="12" y="73"/>
                  </a:lnTo>
                  <a:lnTo>
                    <a:pt x="8" y="68"/>
                  </a:lnTo>
                  <a:lnTo>
                    <a:pt x="3" y="60"/>
                  </a:lnTo>
                  <a:lnTo>
                    <a:pt x="1" y="52"/>
                  </a:lnTo>
                  <a:lnTo>
                    <a:pt x="0" y="43"/>
                  </a:lnTo>
                  <a:lnTo>
                    <a:pt x="1" y="35"/>
                  </a:lnTo>
                  <a:lnTo>
                    <a:pt x="3" y="26"/>
                  </a:lnTo>
                  <a:lnTo>
                    <a:pt x="7" y="19"/>
                  </a:lnTo>
                  <a:lnTo>
                    <a:pt x="12" y="13"/>
                  </a:lnTo>
                  <a:lnTo>
                    <a:pt x="18" y="7"/>
                  </a:lnTo>
                  <a:lnTo>
                    <a:pt x="25" y="4"/>
                  </a:lnTo>
                  <a:lnTo>
                    <a:pt x="34" y="2"/>
                  </a:lnTo>
                  <a:lnTo>
                    <a:pt x="42" y="0"/>
                  </a:lnTo>
                  <a:lnTo>
                    <a:pt x="42" y="0"/>
                  </a:lnTo>
                  <a:lnTo>
                    <a:pt x="42" y="0"/>
                  </a:lnTo>
                  <a:lnTo>
                    <a:pt x="50" y="2"/>
                  </a:lnTo>
                  <a:lnTo>
                    <a:pt x="58" y="4"/>
                  </a:lnTo>
                  <a:lnTo>
                    <a:pt x="65" y="7"/>
                  </a:lnTo>
                  <a:lnTo>
                    <a:pt x="73" y="13"/>
                  </a:lnTo>
                  <a:lnTo>
                    <a:pt x="77" y="19"/>
                  </a:lnTo>
                  <a:lnTo>
                    <a:pt x="81" y="26"/>
                  </a:lnTo>
                  <a:lnTo>
                    <a:pt x="84" y="35"/>
                  </a:lnTo>
                  <a:lnTo>
                    <a:pt x="84" y="43"/>
                  </a:lnTo>
                  <a:lnTo>
                    <a:pt x="84" y="52"/>
                  </a:lnTo>
                  <a:lnTo>
                    <a:pt x="82" y="59"/>
                  </a:lnTo>
                  <a:lnTo>
                    <a:pt x="77" y="68"/>
                  </a:lnTo>
                  <a:lnTo>
                    <a:pt x="73" y="73"/>
                  </a:lnTo>
                  <a:lnTo>
                    <a:pt x="65" y="78"/>
                  </a:lnTo>
                  <a:lnTo>
                    <a:pt x="58" y="83"/>
                  </a:lnTo>
                  <a:lnTo>
                    <a:pt x="51" y="85"/>
                  </a:lnTo>
                  <a:lnTo>
                    <a:pt x="42" y="86"/>
                  </a:lnTo>
                  <a:close/>
                </a:path>
              </a:pathLst>
            </a:custGeom>
            <a:solidFill>
              <a:srgbClr val="B4A69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6653" tIns="58327" rIns="116653" bIns="58327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434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137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05" name="Freeform 75"/>
            <p:cNvSpPr>
              <a:spLocks/>
            </p:cNvSpPr>
            <p:nvPr/>
          </p:nvSpPr>
          <p:spPr bwMode="auto">
            <a:xfrm>
              <a:off x="2081" y="2276"/>
              <a:ext cx="21" cy="22"/>
            </a:xfrm>
            <a:custGeom>
              <a:avLst/>
              <a:gdLst>
                <a:gd name="T0" fmla="*/ 43 w 85"/>
                <a:gd name="T1" fmla="*/ 86 h 86"/>
                <a:gd name="T2" fmla="*/ 33 w 85"/>
                <a:gd name="T3" fmla="*/ 85 h 86"/>
                <a:gd name="T4" fmla="*/ 26 w 85"/>
                <a:gd name="T5" fmla="*/ 83 h 86"/>
                <a:gd name="T6" fmla="*/ 19 w 85"/>
                <a:gd name="T7" fmla="*/ 79 h 86"/>
                <a:gd name="T8" fmla="*/ 12 w 85"/>
                <a:gd name="T9" fmla="*/ 73 h 86"/>
                <a:gd name="T10" fmla="*/ 7 w 85"/>
                <a:gd name="T11" fmla="*/ 67 h 86"/>
                <a:gd name="T12" fmla="*/ 4 w 85"/>
                <a:gd name="T13" fmla="*/ 60 h 86"/>
                <a:gd name="T14" fmla="*/ 1 w 85"/>
                <a:gd name="T15" fmla="*/ 52 h 86"/>
                <a:gd name="T16" fmla="*/ 0 w 85"/>
                <a:gd name="T17" fmla="*/ 44 h 86"/>
                <a:gd name="T18" fmla="*/ 1 w 85"/>
                <a:gd name="T19" fmla="*/ 34 h 86"/>
                <a:gd name="T20" fmla="*/ 4 w 85"/>
                <a:gd name="T21" fmla="*/ 26 h 86"/>
                <a:gd name="T22" fmla="*/ 7 w 85"/>
                <a:gd name="T23" fmla="*/ 19 h 86"/>
                <a:gd name="T24" fmla="*/ 12 w 85"/>
                <a:gd name="T25" fmla="*/ 13 h 86"/>
                <a:gd name="T26" fmla="*/ 19 w 85"/>
                <a:gd name="T27" fmla="*/ 7 h 86"/>
                <a:gd name="T28" fmla="*/ 26 w 85"/>
                <a:gd name="T29" fmla="*/ 4 h 86"/>
                <a:gd name="T30" fmla="*/ 33 w 85"/>
                <a:gd name="T31" fmla="*/ 1 h 86"/>
                <a:gd name="T32" fmla="*/ 43 w 85"/>
                <a:gd name="T33" fmla="*/ 0 h 86"/>
                <a:gd name="T34" fmla="*/ 51 w 85"/>
                <a:gd name="T35" fmla="*/ 1 h 86"/>
                <a:gd name="T36" fmla="*/ 59 w 85"/>
                <a:gd name="T37" fmla="*/ 4 h 86"/>
                <a:gd name="T38" fmla="*/ 66 w 85"/>
                <a:gd name="T39" fmla="*/ 7 h 86"/>
                <a:gd name="T40" fmla="*/ 72 w 85"/>
                <a:gd name="T41" fmla="*/ 13 h 86"/>
                <a:gd name="T42" fmla="*/ 78 w 85"/>
                <a:gd name="T43" fmla="*/ 19 h 86"/>
                <a:gd name="T44" fmla="*/ 81 w 85"/>
                <a:gd name="T45" fmla="*/ 26 h 86"/>
                <a:gd name="T46" fmla="*/ 84 w 85"/>
                <a:gd name="T47" fmla="*/ 34 h 86"/>
                <a:gd name="T48" fmla="*/ 85 w 85"/>
                <a:gd name="T49" fmla="*/ 43 h 86"/>
                <a:gd name="T50" fmla="*/ 84 w 85"/>
                <a:gd name="T51" fmla="*/ 52 h 86"/>
                <a:gd name="T52" fmla="*/ 81 w 85"/>
                <a:gd name="T53" fmla="*/ 60 h 86"/>
                <a:gd name="T54" fmla="*/ 78 w 85"/>
                <a:gd name="T55" fmla="*/ 67 h 86"/>
                <a:gd name="T56" fmla="*/ 72 w 85"/>
                <a:gd name="T57" fmla="*/ 73 h 86"/>
                <a:gd name="T58" fmla="*/ 66 w 85"/>
                <a:gd name="T59" fmla="*/ 79 h 86"/>
                <a:gd name="T60" fmla="*/ 59 w 85"/>
                <a:gd name="T61" fmla="*/ 83 h 86"/>
                <a:gd name="T62" fmla="*/ 51 w 85"/>
                <a:gd name="T63" fmla="*/ 85 h 86"/>
                <a:gd name="T64" fmla="*/ 43 w 85"/>
                <a:gd name="T65" fmla="*/ 86 h 86"/>
                <a:gd name="T66" fmla="*/ 43 w 85"/>
                <a:gd name="T67" fmla="*/ 86 h 86"/>
                <a:gd name="T68" fmla="*/ 43 w 85"/>
                <a:gd name="T69" fmla="*/ 86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85" h="86">
                  <a:moveTo>
                    <a:pt x="43" y="86"/>
                  </a:moveTo>
                  <a:lnTo>
                    <a:pt x="33" y="85"/>
                  </a:lnTo>
                  <a:lnTo>
                    <a:pt x="26" y="83"/>
                  </a:lnTo>
                  <a:lnTo>
                    <a:pt x="19" y="79"/>
                  </a:lnTo>
                  <a:lnTo>
                    <a:pt x="12" y="73"/>
                  </a:lnTo>
                  <a:lnTo>
                    <a:pt x="7" y="67"/>
                  </a:lnTo>
                  <a:lnTo>
                    <a:pt x="4" y="60"/>
                  </a:lnTo>
                  <a:lnTo>
                    <a:pt x="1" y="52"/>
                  </a:lnTo>
                  <a:lnTo>
                    <a:pt x="0" y="44"/>
                  </a:lnTo>
                  <a:lnTo>
                    <a:pt x="1" y="34"/>
                  </a:lnTo>
                  <a:lnTo>
                    <a:pt x="4" y="26"/>
                  </a:lnTo>
                  <a:lnTo>
                    <a:pt x="7" y="19"/>
                  </a:lnTo>
                  <a:lnTo>
                    <a:pt x="12" y="13"/>
                  </a:lnTo>
                  <a:lnTo>
                    <a:pt x="19" y="7"/>
                  </a:lnTo>
                  <a:lnTo>
                    <a:pt x="26" y="4"/>
                  </a:lnTo>
                  <a:lnTo>
                    <a:pt x="33" y="1"/>
                  </a:lnTo>
                  <a:lnTo>
                    <a:pt x="43" y="0"/>
                  </a:lnTo>
                  <a:lnTo>
                    <a:pt x="51" y="1"/>
                  </a:lnTo>
                  <a:lnTo>
                    <a:pt x="59" y="4"/>
                  </a:lnTo>
                  <a:lnTo>
                    <a:pt x="66" y="7"/>
                  </a:lnTo>
                  <a:lnTo>
                    <a:pt x="72" y="13"/>
                  </a:lnTo>
                  <a:lnTo>
                    <a:pt x="78" y="19"/>
                  </a:lnTo>
                  <a:lnTo>
                    <a:pt x="81" y="26"/>
                  </a:lnTo>
                  <a:lnTo>
                    <a:pt x="84" y="34"/>
                  </a:lnTo>
                  <a:lnTo>
                    <a:pt x="85" y="43"/>
                  </a:lnTo>
                  <a:lnTo>
                    <a:pt x="84" y="52"/>
                  </a:lnTo>
                  <a:lnTo>
                    <a:pt x="81" y="60"/>
                  </a:lnTo>
                  <a:lnTo>
                    <a:pt x="78" y="67"/>
                  </a:lnTo>
                  <a:lnTo>
                    <a:pt x="72" y="73"/>
                  </a:lnTo>
                  <a:lnTo>
                    <a:pt x="66" y="79"/>
                  </a:lnTo>
                  <a:lnTo>
                    <a:pt x="59" y="83"/>
                  </a:lnTo>
                  <a:lnTo>
                    <a:pt x="51" y="85"/>
                  </a:lnTo>
                  <a:lnTo>
                    <a:pt x="43" y="86"/>
                  </a:lnTo>
                  <a:lnTo>
                    <a:pt x="43" y="86"/>
                  </a:lnTo>
                  <a:lnTo>
                    <a:pt x="43" y="86"/>
                  </a:lnTo>
                  <a:close/>
                </a:path>
              </a:pathLst>
            </a:custGeom>
            <a:solidFill>
              <a:srgbClr val="B4A69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6653" tIns="58327" rIns="116653" bIns="58327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434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137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06" name="Freeform 76"/>
            <p:cNvSpPr>
              <a:spLocks/>
            </p:cNvSpPr>
            <p:nvPr/>
          </p:nvSpPr>
          <p:spPr bwMode="auto">
            <a:xfrm>
              <a:off x="2019" y="2346"/>
              <a:ext cx="21" cy="22"/>
            </a:xfrm>
            <a:custGeom>
              <a:avLst/>
              <a:gdLst>
                <a:gd name="T0" fmla="*/ 42 w 85"/>
                <a:gd name="T1" fmla="*/ 84 h 84"/>
                <a:gd name="T2" fmla="*/ 34 w 85"/>
                <a:gd name="T3" fmla="*/ 84 h 84"/>
                <a:gd name="T4" fmla="*/ 26 w 85"/>
                <a:gd name="T5" fmla="*/ 82 h 84"/>
                <a:gd name="T6" fmla="*/ 19 w 85"/>
                <a:gd name="T7" fmla="*/ 77 h 84"/>
                <a:gd name="T8" fmla="*/ 13 w 85"/>
                <a:gd name="T9" fmla="*/ 73 h 84"/>
                <a:gd name="T10" fmla="*/ 7 w 85"/>
                <a:gd name="T11" fmla="*/ 66 h 84"/>
                <a:gd name="T12" fmla="*/ 3 w 85"/>
                <a:gd name="T13" fmla="*/ 58 h 84"/>
                <a:gd name="T14" fmla="*/ 1 w 85"/>
                <a:gd name="T15" fmla="*/ 51 h 84"/>
                <a:gd name="T16" fmla="*/ 0 w 85"/>
                <a:gd name="T17" fmla="*/ 42 h 84"/>
                <a:gd name="T18" fmla="*/ 1 w 85"/>
                <a:gd name="T19" fmla="*/ 34 h 84"/>
                <a:gd name="T20" fmla="*/ 3 w 85"/>
                <a:gd name="T21" fmla="*/ 25 h 84"/>
                <a:gd name="T22" fmla="*/ 7 w 85"/>
                <a:gd name="T23" fmla="*/ 18 h 84"/>
                <a:gd name="T24" fmla="*/ 13 w 85"/>
                <a:gd name="T25" fmla="*/ 13 h 84"/>
                <a:gd name="T26" fmla="*/ 19 w 85"/>
                <a:gd name="T27" fmla="*/ 7 h 84"/>
                <a:gd name="T28" fmla="*/ 26 w 85"/>
                <a:gd name="T29" fmla="*/ 3 h 84"/>
                <a:gd name="T30" fmla="*/ 34 w 85"/>
                <a:gd name="T31" fmla="*/ 1 h 84"/>
                <a:gd name="T32" fmla="*/ 42 w 85"/>
                <a:gd name="T33" fmla="*/ 0 h 84"/>
                <a:gd name="T34" fmla="*/ 42 w 85"/>
                <a:gd name="T35" fmla="*/ 0 h 84"/>
                <a:gd name="T36" fmla="*/ 42 w 85"/>
                <a:gd name="T37" fmla="*/ 0 h 84"/>
                <a:gd name="T38" fmla="*/ 50 w 85"/>
                <a:gd name="T39" fmla="*/ 1 h 84"/>
                <a:gd name="T40" fmla="*/ 59 w 85"/>
                <a:gd name="T41" fmla="*/ 3 h 84"/>
                <a:gd name="T42" fmla="*/ 66 w 85"/>
                <a:gd name="T43" fmla="*/ 7 h 84"/>
                <a:gd name="T44" fmla="*/ 73 w 85"/>
                <a:gd name="T45" fmla="*/ 11 h 84"/>
                <a:gd name="T46" fmla="*/ 78 w 85"/>
                <a:gd name="T47" fmla="*/ 18 h 84"/>
                <a:gd name="T48" fmla="*/ 81 w 85"/>
                <a:gd name="T49" fmla="*/ 25 h 84"/>
                <a:gd name="T50" fmla="*/ 83 w 85"/>
                <a:gd name="T51" fmla="*/ 34 h 84"/>
                <a:gd name="T52" fmla="*/ 85 w 85"/>
                <a:gd name="T53" fmla="*/ 42 h 84"/>
                <a:gd name="T54" fmla="*/ 85 w 85"/>
                <a:gd name="T55" fmla="*/ 50 h 84"/>
                <a:gd name="T56" fmla="*/ 81 w 85"/>
                <a:gd name="T57" fmla="*/ 58 h 84"/>
                <a:gd name="T58" fmla="*/ 78 w 85"/>
                <a:gd name="T59" fmla="*/ 66 h 84"/>
                <a:gd name="T60" fmla="*/ 73 w 85"/>
                <a:gd name="T61" fmla="*/ 73 h 84"/>
                <a:gd name="T62" fmla="*/ 66 w 85"/>
                <a:gd name="T63" fmla="*/ 77 h 84"/>
                <a:gd name="T64" fmla="*/ 59 w 85"/>
                <a:gd name="T65" fmla="*/ 82 h 84"/>
                <a:gd name="T66" fmla="*/ 52 w 85"/>
                <a:gd name="T67" fmla="*/ 84 h 84"/>
                <a:gd name="T68" fmla="*/ 42 w 85"/>
                <a:gd name="T69" fmla="*/ 84 h 84"/>
                <a:gd name="T70" fmla="*/ 42 w 85"/>
                <a:gd name="T71" fmla="*/ 84 h 84"/>
                <a:gd name="T72" fmla="*/ 42 w 85"/>
                <a:gd name="T73" fmla="*/ 84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85" h="84">
                  <a:moveTo>
                    <a:pt x="42" y="84"/>
                  </a:moveTo>
                  <a:lnTo>
                    <a:pt x="34" y="84"/>
                  </a:lnTo>
                  <a:lnTo>
                    <a:pt x="26" y="82"/>
                  </a:lnTo>
                  <a:lnTo>
                    <a:pt x="19" y="77"/>
                  </a:lnTo>
                  <a:lnTo>
                    <a:pt x="13" y="73"/>
                  </a:lnTo>
                  <a:lnTo>
                    <a:pt x="7" y="66"/>
                  </a:lnTo>
                  <a:lnTo>
                    <a:pt x="3" y="58"/>
                  </a:lnTo>
                  <a:lnTo>
                    <a:pt x="1" y="51"/>
                  </a:lnTo>
                  <a:lnTo>
                    <a:pt x="0" y="42"/>
                  </a:lnTo>
                  <a:lnTo>
                    <a:pt x="1" y="34"/>
                  </a:lnTo>
                  <a:lnTo>
                    <a:pt x="3" y="25"/>
                  </a:lnTo>
                  <a:lnTo>
                    <a:pt x="7" y="18"/>
                  </a:lnTo>
                  <a:lnTo>
                    <a:pt x="13" y="13"/>
                  </a:lnTo>
                  <a:lnTo>
                    <a:pt x="19" y="7"/>
                  </a:lnTo>
                  <a:lnTo>
                    <a:pt x="26" y="3"/>
                  </a:lnTo>
                  <a:lnTo>
                    <a:pt x="34" y="1"/>
                  </a:lnTo>
                  <a:lnTo>
                    <a:pt x="42" y="0"/>
                  </a:lnTo>
                  <a:lnTo>
                    <a:pt x="42" y="0"/>
                  </a:lnTo>
                  <a:lnTo>
                    <a:pt x="42" y="0"/>
                  </a:lnTo>
                  <a:lnTo>
                    <a:pt x="50" y="1"/>
                  </a:lnTo>
                  <a:lnTo>
                    <a:pt x="59" y="3"/>
                  </a:lnTo>
                  <a:lnTo>
                    <a:pt x="66" y="7"/>
                  </a:lnTo>
                  <a:lnTo>
                    <a:pt x="73" y="11"/>
                  </a:lnTo>
                  <a:lnTo>
                    <a:pt x="78" y="18"/>
                  </a:lnTo>
                  <a:lnTo>
                    <a:pt x="81" y="25"/>
                  </a:lnTo>
                  <a:lnTo>
                    <a:pt x="83" y="34"/>
                  </a:lnTo>
                  <a:lnTo>
                    <a:pt x="85" y="42"/>
                  </a:lnTo>
                  <a:lnTo>
                    <a:pt x="85" y="50"/>
                  </a:lnTo>
                  <a:lnTo>
                    <a:pt x="81" y="58"/>
                  </a:lnTo>
                  <a:lnTo>
                    <a:pt x="78" y="66"/>
                  </a:lnTo>
                  <a:lnTo>
                    <a:pt x="73" y="73"/>
                  </a:lnTo>
                  <a:lnTo>
                    <a:pt x="66" y="77"/>
                  </a:lnTo>
                  <a:lnTo>
                    <a:pt x="59" y="82"/>
                  </a:lnTo>
                  <a:lnTo>
                    <a:pt x="52" y="84"/>
                  </a:lnTo>
                  <a:lnTo>
                    <a:pt x="42" y="84"/>
                  </a:lnTo>
                  <a:lnTo>
                    <a:pt x="42" y="84"/>
                  </a:lnTo>
                  <a:lnTo>
                    <a:pt x="42" y="84"/>
                  </a:lnTo>
                  <a:close/>
                </a:path>
              </a:pathLst>
            </a:custGeom>
            <a:solidFill>
              <a:srgbClr val="B4A69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6653" tIns="58327" rIns="116653" bIns="58327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434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137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07" name="Freeform 77"/>
            <p:cNvSpPr>
              <a:spLocks/>
            </p:cNvSpPr>
            <p:nvPr/>
          </p:nvSpPr>
          <p:spPr bwMode="auto">
            <a:xfrm>
              <a:off x="2163" y="2346"/>
              <a:ext cx="21" cy="22"/>
            </a:xfrm>
            <a:custGeom>
              <a:avLst/>
              <a:gdLst>
                <a:gd name="T0" fmla="*/ 43 w 85"/>
                <a:gd name="T1" fmla="*/ 86 h 86"/>
                <a:gd name="T2" fmla="*/ 33 w 85"/>
                <a:gd name="T3" fmla="*/ 85 h 86"/>
                <a:gd name="T4" fmla="*/ 26 w 85"/>
                <a:gd name="T5" fmla="*/ 83 h 86"/>
                <a:gd name="T6" fmla="*/ 19 w 85"/>
                <a:gd name="T7" fmla="*/ 78 h 86"/>
                <a:gd name="T8" fmla="*/ 12 w 85"/>
                <a:gd name="T9" fmla="*/ 73 h 86"/>
                <a:gd name="T10" fmla="*/ 8 w 85"/>
                <a:gd name="T11" fmla="*/ 68 h 86"/>
                <a:gd name="T12" fmla="*/ 4 w 85"/>
                <a:gd name="T13" fmla="*/ 59 h 86"/>
                <a:gd name="T14" fmla="*/ 2 w 85"/>
                <a:gd name="T15" fmla="*/ 52 h 86"/>
                <a:gd name="T16" fmla="*/ 0 w 85"/>
                <a:gd name="T17" fmla="*/ 43 h 86"/>
                <a:gd name="T18" fmla="*/ 2 w 85"/>
                <a:gd name="T19" fmla="*/ 35 h 86"/>
                <a:gd name="T20" fmla="*/ 4 w 85"/>
                <a:gd name="T21" fmla="*/ 26 h 86"/>
                <a:gd name="T22" fmla="*/ 8 w 85"/>
                <a:gd name="T23" fmla="*/ 19 h 86"/>
                <a:gd name="T24" fmla="*/ 12 w 85"/>
                <a:gd name="T25" fmla="*/ 13 h 86"/>
                <a:gd name="T26" fmla="*/ 19 w 85"/>
                <a:gd name="T27" fmla="*/ 7 h 86"/>
                <a:gd name="T28" fmla="*/ 26 w 85"/>
                <a:gd name="T29" fmla="*/ 4 h 86"/>
                <a:gd name="T30" fmla="*/ 33 w 85"/>
                <a:gd name="T31" fmla="*/ 2 h 86"/>
                <a:gd name="T32" fmla="*/ 43 w 85"/>
                <a:gd name="T33" fmla="*/ 0 h 86"/>
                <a:gd name="T34" fmla="*/ 43 w 85"/>
                <a:gd name="T35" fmla="*/ 0 h 86"/>
                <a:gd name="T36" fmla="*/ 43 w 85"/>
                <a:gd name="T37" fmla="*/ 0 h 86"/>
                <a:gd name="T38" fmla="*/ 51 w 85"/>
                <a:gd name="T39" fmla="*/ 2 h 86"/>
                <a:gd name="T40" fmla="*/ 59 w 85"/>
                <a:gd name="T41" fmla="*/ 4 h 86"/>
                <a:gd name="T42" fmla="*/ 66 w 85"/>
                <a:gd name="T43" fmla="*/ 7 h 86"/>
                <a:gd name="T44" fmla="*/ 72 w 85"/>
                <a:gd name="T45" fmla="*/ 13 h 86"/>
                <a:gd name="T46" fmla="*/ 78 w 85"/>
                <a:gd name="T47" fmla="*/ 19 h 86"/>
                <a:gd name="T48" fmla="*/ 82 w 85"/>
                <a:gd name="T49" fmla="*/ 26 h 86"/>
                <a:gd name="T50" fmla="*/ 84 w 85"/>
                <a:gd name="T51" fmla="*/ 35 h 86"/>
                <a:gd name="T52" fmla="*/ 85 w 85"/>
                <a:gd name="T53" fmla="*/ 43 h 86"/>
                <a:gd name="T54" fmla="*/ 84 w 85"/>
                <a:gd name="T55" fmla="*/ 51 h 86"/>
                <a:gd name="T56" fmla="*/ 82 w 85"/>
                <a:gd name="T57" fmla="*/ 59 h 86"/>
                <a:gd name="T58" fmla="*/ 78 w 85"/>
                <a:gd name="T59" fmla="*/ 66 h 86"/>
                <a:gd name="T60" fmla="*/ 72 w 85"/>
                <a:gd name="T61" fmla="*/ 73 h 86"/>
                <a:gd name="T62" fmla="*/ 66 w 85"/>
                <a:gd name="T63" fmla="*/ 78 h 86"/>
                <a:gd name="T64" fmla="*/ 59 w 85"/>
                <a:gd name="T65" fmla="*/ 83 h 86"/>
                <a:gd name="T66" fmla="*/ 51 w 85"/>
                <a:gd name="T67" fmla="*/ 85 h 86"/>
                <a:gd name="T68" fmla="*/ 43 w 85"/>
                <a:gd name="T69" fmla="*/ 86 h 86"/>
                <a:gd name="T70" fmla="*/ 43 w 85"/>
                <a:gd name="T71" fmla="*/ 86 h 86"/>
                <a:gd name="T72" fmla="*/ 43 w 85"/>
                <a:gd name="T73" fmla="*/ 86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85" h="86">
                  <a:moveTo>
                    <a:pt x="43" y="86"/>
                  </a:moveTo>
                  <a:lnTo>
                    <a:pt x="33" y="85"/>
                  </a:lnTo>
                  <a:lnTo>
                    <a:pt x="26" y="83"/>
                  </a:lnTo>
                  <a:lnTo>
                    <a:pt x="19" y="78"/>
                  </a:lnTo>
                  <a:lnTo>
                    <a:pt x="12" y="73"/>
                  </a:lnTo>
                  <a:lnTo>
                    <a:pt x="8" y="68"/>
                  </a:lnTo>
                  <a:lnTo>
                    <a:pt x="4" y="59"/>
                  </a:lnTo>
                  <a:lnTo>
                    <a:pt x="2" y="52"/>
                  </a:lnTo>
                  <a:lnTo>
                    <a:pt x="0" y="43"/>
                  </a:lnTo>
                  <a:lnTo>
                    <a:pt x="2" y="35"/>
                  </a:lnTo>
                  <a:lnTo>
                    <a:pt x="4" y="26"/>
                  </a:lnTo>
                  <a:lnTo>
                    <a:pt x="8" y="19"/>
                  </a:lnTo>
                  <a:lnTo>
                    <a:pt x="12" y="13"/>
                  </a:lnTo>
                  <a:lnTo>
                    <a:pt x="19" y="7"/>
                  </a:lnTo>
                  <a:lnTo>
                    <a:pt x="26" y="4"/>
                  </a:lnTo>
                  <a:lnTo>
                    <a:pt x="33" y="2"/>
                  </a:lnTo>
                  <a:lnTo>
                    <a:pt x="43" y="0"/>
                  </a:lnTo>
                  <a:lnTo>
                    <a:pt x="43" y="0"/>
                  </a:lnTo>
                  <a:lnTo>
                    <a:pt x="43" y="0"/>
                  </a:lnTo>
                  <a:lnTo>
                    <a:pt x="51" y="2"/>
                  </a:lnTo>
                  <a:lnTo>
                    <a:pt x="59" y="4"/>
                  </a:lnTo>
                  <a:lnTo>
                    <a:pt x="66" y="7"/>
                  </a:lnTo>
                  <a:lnTo>
                    <a:pt x="72" y="13"/>
                  </a:lnTo>
                  <a:lnTo>
                    <a:pt x="78" y="19"/>
                  </a:lnTo>
                  <a:lnTo>
                    <a:pt x="82" y="26"/>
                  </a:lnTo>
                  <a:lnTo>
                    <a:pt x="84" y="35"/>
                  </a:lnTo>
                  <a:lnTo>
                    <a:pt x="85" y="43"/>
                  </a:lnTo>
                  <a:lnTo>
                    <a:pt x="84" y="51"/>
                  </a:lnTo>
                  <a:lnTo>
                    <a:pt x="82" y="59"/>
                  </a:lnTo>
                  <a:lnTo>
                    <a:pt x="78" y="66"/>
                  </a:lnTo>
                  <a:lnTo>
                    <a:pt x="72" y="73"/>
                  </a:lnTo>
                  <a:lnTo>
                    <a:pt x="66" y="78"/>
                  </a:lnTo>
                  <a:lnTo>
                    <a:pt x="59" y="83"/>
                  </a:lnTo>
                  <a:lnTo>
                    <a:pt x="51" y="85"/>
                  </a:lnTo>
                  <a:lnTo>
                    <a:pt x="43" y="86"/>
                  </a:lnTo>
                  <a:lnTo>
                    <a:pt x="43" y="86"/>
                  </a:lnTo>
                  <a:lnTo>
                    <a:pt x="43" y="86"/>
                  </a:lnTo>
                  <a:close/>
                </a:path>
              </a:pathLst>
            </a:custGeom>
            <a:solidFill>
              <a:srgbClr val="B4A69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6653" tIns="58327" rIns="116653" bIns="58327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434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137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08" name="Freeform 78"/>
            <p:cNvSpPr>
              <a:spLocks/>
            </p:cNvSpPr>
            <p:nvPr/>
          </p:nvSpPr>
          <p:spPr bwMode="auto">
            <a:xfrm>
              <a:off x="2082" y="2430"/>
              <a:ext cx="21" cy="21"/>
            </a:xfrm>
            <a:custGeom>
              <a:avLst/>
              <a:gdLst>
                <a:gd name="T0" fmla="*/ 43 w 85"/>
                <a:gd name="T1" fmla="*/ 84 h 84"/>
                <a:gd name="T2" fmla="*/ 35 w 85"/>
                <a:gd name="T3" fmla="*/ 84 h 84"/>
                <a:gd name="T4" fmla="*/ 26 w 85"/>
                <a:gd name="T5" fmla="*/ 82 h 84"/>
                <a:gd name="T6" fmla="*/ 19 w 85"/>
                <a:gd name="T7" fmla="*/ 77 h 84"/>
                <a:gd name="T8" fmla="*/ 12 w 85"/>
                <a:gd name="T9" fmla="*/ 73 h 84"/>
                <a:gd name="T10" fmla="*/ 7 w 85"/>
                <a:gd name="T11" fmla="*/ 67 h 84"/>
                <a:gd name="T12" fmla="*/ 4 w 85"/>
                <a:gd name="T13" fmla="*/ 59 h 84"/>
                <a:gd name="T14" fmla="*/ 2 w 85"/>
                <a:gd name="T15" fmla="*/ 52 h 84"/>
                <a:gd name="T16" fmla="*/ 0 w 85"/>
                <a:gd name="T17" fmla="*/ 42 h 84"/>
                <a:gd name="T18" fmla="*/ 0 w 85"/>
                <a:gd name="T19" fmla="*/ 34 h 84"/>
                <a:gd name="T20" fmla="*/ 4 w 85"/>
                <a:gd name="T21" fmla="*/ 26 h 84"/>
                <a:gd name="T22" fmla="*/ 7 w 85"/>
                <a:gd name="T23" fmla="*/ 19 h 84"/>
                <a:gd name="T24" fmla="*/ 12 w 85"/>
                <a:gd name="T25" fmla="*/ 13 h 84"/>
                <a:gd name="T26" fmla="*/ 19 w 85"/>
                <a:gd name="T27" fmla="*/ 7 h 84"/>
                <a:gd name="T28" fmla="*/ 26 w 85"/>
                <a:gd name="T29" fmla="*/ 3 h 84"/>
                <a:gd name="T30" fmla="*/ 33 w 85"/>
                <a:gd name="T31" fmla="*/ 1 h 84"/>
                <a:gd name="T32" fmla="*/ 43 w 85"/>
                <a:gd name="T33" fmla="*/ 0 h 84"/>
                <a:gd name="T34" fmla="*/ 51 w 85"/>
                <a:gd name="T35" fmla="*/ 1 h 84"/>
                <a:gd name="T36" fmla="*/ 59 w 85"/>
                <a:gd name="T37" fmla="*/ 3 h 84"/>
                <a:gd name="T38" fmla="*/ 66 w 85"/>
                <a:gd name="T39" fmla="*/ 7 h 84"/>
                <a:gd name="T40" fmla="*/ 72 w 85"/>
                <a:gd name="T41" fmla="*/ 12 h 84"/>
                <a:gd name="T42" fmla="*/ 78 w 85"/>
                <a:gd name="T43" fmla="*/ 19 h 84"/>
                <a:gd name="T44" fmla="*/ 82 w 85"/>
                <a:gd name="T45" fmla="*/ 26 h 84"/>
                <a:gd name="T46" fmla="*/ 84 w 85"/>
                <a:gd name="T47" fmla="*/ 34 h 84"/>
                <a:gd name="T48" fmla="*/ 85 w 85"/>
                <a:gd name="T49" fmla="*/ 42 h 84"/>
                <a:gd name="T50" fmla="*/ 84 w 85"/>
                <a:gd name="T51" fmla="*/ 50 h 84"/>
                <a:gd name="T52" fmla="*/ 82 w 85"/>
                <a:gd name="T53" fmla="*/ 59 h 84"/>
                <a:gd name="T54" fmla="*/ 78 w 85"/>
                <a:gd name="T55" fmla="*/ 66 h 84"/>
                <a:gd name="T56" fmla="*/ 72 w 85"/>
                <a:gd name="T57" fmla="*/ 73 h 84"/>
                <a:gd name="T58" fmla="*/ 66 w 85"/>
                <a:gd name="T59" fmla="*/ 77 h 84"/>
                <a:gd name="T60" fmla="*/ 59 w 85"/>
                <a:gd name="T61" fmla="*/ 82 h 84"/>
                <a:gd name="T62" fmla="*/ 51 w 85"/>
                <a:gd name="T63" fmla="*/ 84 h 84"/>
                <a:gd name="T64" fmla="*/ 43 w 85"/>
                <a:gd name="T65" fmla="*/ 84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85" h="84">
                  <a:moveTo>
                    <a:pt x="43" y="84"/>
                  </a:moveTo>
                  <a:lnTo>
                    <a:pt x="35" y="84"/>
                  </a:lnTo>
                  <a:lnTo>
                    <a:pt x="26" y="82"/>
                  </a:lnTo>
                  <a:lnTo>
                    <a:pt x="19" y="77"/>
                  </a:lnTo>
                  <a:lnTo>
                    <a:pt x="12" y="73"/>
                  </a:lnTo>
                  <a:lnTo>
                    <a:pt x="7" y="67"/>
                  </a:lnTo>
                  <a:lnTo>
                    <a:pt x="4" y="59"/>
                  </a:lnTo>
                  <a:lnTo>
                    <a:pt x="2" y="52"/>
                  </a:lnTo>
                  <a:lnTo>
                    <a:pt x="0" y="42"/>
                  </a:lnTo>
                  <a:lnTo>
                    <a:pt x="0" y="34"/>
                  </a:lnTo>
                  <a:lnTo>
                    <a:pt x="4" y="26"/>
                  </a:lnTo>
                  <a:lnTo>
                    <a:pt x="7" y="19"/>
                  </a:lnTo>
                  <a:lnTo>
                    <a:pt x="12" y="13"/>
                  </a:lnTo>
                  <a:lnTo>
                    <a:pt x="19" y="7"/>
                  </a:lnTo>
                  <a:lnTo>
                    <a:pt x="26" y="3"/>
                  </a:lnTo>
                  <a:lnTo>
                    <a:pt x="33" y="1"/>
                  </a:lnTo>
                  <a:lnTo>
                    <a:pt x="43" y="0"/>
                  </a:lnTo>
                  <a:lnTo>
                    <a:pt x="51" y="1"/>
                  </a:lnTo>
                  <a:lnTo>
                    <a:pt x="59" y="3"/>
                  </a:lnTo>
                  <a:lnTo>
                    <a:pt x="66" y="7"/>
                  </a:lnTo>
                  <a:lnTo>
                    <a:pt x="72" y="12"/>
                  </a:lnTo>
                  <a:lnTo>
                    <a:pt x="78" y="19"/>
                  </a:lnTo>
                  <a:lnTo>
                    <a:pt x="82" y="26"/>
                  </a:lnTo>
                  <a:lnTo>
                    <a:pt x="84" y="34"/>
                  </a:lnTo>
                  <a:lnTo>
                    <a:pt x="85" y="42"/>
                  </a:lnTo>
                  <a:lnTo>
                    <a:pt x="84" y="50"/>
                  </a:lnTo>
                  <a:lnTo>
                    <a:pt x="82" y="59"/>
                  </a:lnTo>
                  <a:lnTo>
                    <a:pt x="78" y="66"/>
                  </a:lnTo>
                  <a:lnTo>
                    <a:pt x="72" y="73"/>
                  </a:lnTo>
                  <a:lnTo>
                    <a:pt x="66" y="77"/>
                  </a:lnTo>
                  <a:lnTo>
                    <a:pt x="59" y="82"/>
                  </a:lnTo>
                  <a:lnTo>
                    <a:pt x="51" y="84"/>
                  </a:lnTo>
                  <a:lnTo>
                    <a:pt x="43" y="84"/>
                  </a:lnTo>
                  <a:close/>
                </a:path>
              </a:pathLst>
            </a:custGeom>
            <a:solidFill>
              <a:srgbClr val="B4A69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6653" tIns="58327" rIns="116653" bIns="58327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434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137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09" name="Freeform 79"/>
            <p:cNvSpPr>
              <a:spLocks/>
            </p:cNvSpPr>
            <p:nvPr/>
          </p:nvSpPr>
          <p:spPr bwMode="auto">
            <a:xfrm>
              <a:off x="2321" y="2516"/>
              <a:ext cx="21" cy="22"/>
            </a:xfrm>
            <a:custGeom>
              <a:avLst/>
              <a:gdLst>
                <a:gd name="T0" fmla="*/ 43 w 85"/>
                <a:gd name="T1" fmla="*/ 86 h 86"/>
                <a:gd name="T2" fmla="*/ 34 w 85"/>
                <a:gd name="T3" fmla="*/ 85 h 86"/>
                <a:gd name="T4" fmla="*/ 26 w 85"/>
                <a:gd name="T5" fmla="*/ 82 h 86"/>
                <a:gd name="T6" fmla="*/ 19 w 85"/>
                <a:gd name="T7" fmla="*/ 79 h 86"/>
                <a:gd name="T8" fmla="*/ 13 w 85"/>
                <a:gd name="T9" fmla="*/ 73 h 86"/>
                <a:gd name="T10" fmla="*/ 7 w 85"/>
                <a:gd name="T11" fmla="*/ 67 h 86"/>
                <a:gd name="T12" fmla="*/ 4 w 85"/>
                <a:gd name="T13" fmla="*/ 60 h 86"/>
                <a:gd name="T14" fmla="*/ 1 w 85"/>
                <a:gd name="T15" fmla="*/ 52 h 86"/>
                <a:gd name="T16" fmla="*/ 0 w 85"/>
                <a:gd name="T17" fmla="*/ 43 h 86"/>
                <a:gd name="T18" fmla="*/ 1 w 85"/>
                <a:gd name="T19" fmla="*/ 34 h 86"/>
                <a:gd name="T20" fmla="*/ 4 w 85"/>
                <a:gd name="T21" fmla="*/ 27 h 86"/>
                <a:gd name="T22" fmla="*/ 7 w 85"/>
                <a:gd name="T23" fmla="*/ 19 h 86"/>
                <a:gd name="T24" fmla="*/ 13 w 85"/>
                <a:gd name="T25" fmla="*/ 13 h 86"/>
                <a:gd name="T26" fmla="*/ 19 w 85"/>
                <a:gd name="T27" fmla="*/ 8 h 86"/>
                <a:gd name="T28" fmla="*/ 26 w 85"/>
                <a:gd name="T29" fmla="*/ 3 h 86"/>
                <a:gd name="T30" fmla="*/ 34 w 85"/>
                <a:gd name="T31" fmla="*/ 1 h 86"/>
                <a:gd name="T32" fmla="*/ 43 w 85"/>
                <a:gd name="T33" fmla="*/ 0 h 86"/>
                <a:gd name="T34" fmla="*/ 51 w 85"/>
                <a:gd name="T35" fmla="*/ 1 h 86"/>
                <a:gd name="T36" fmla="*/ 59 w 85"/>
                <a:gd name="T37" fmla="*/ 3 h 86"/>
                <a:gd name="T38" fmla="*/ 66 w 85"/>
                <a:gd name="T39" fmla="*/ 8 h 86"/>
                <a:gd name="T40" fmla="*/ 72 w 85"/>
                <a:gd name="T41" fmla="*/ 13 h 86"/>
                <a:gd name="T42" fmla="*/ 78 w 85"/>
                <a:gd name="T43" fmla="*/ 19 h 86"/>
                <a:gd name="T44" fmla="*/ 82 w 85"/>
                <a:gd name="T45" fmla="*/ 26 h 86"/>
                <a:gd name="T46" fmla="*/ 84 w 85"/>
                <a:gd name="T47" fmla="*/ 34 h 86"/>
                <a:gd name="T48" fmla="*/ 85 w 85"/>
                <a:gd name="T49" fmla="*/ 43 h 86"/>
                <a:gd name="T50" fmla="*/ 84 w 85"/>
                <a:gd name="T51" fmla="*/ 52 h 86"/>
                <a:gd name="T52" fmla="*/ 82 w 85"/>
                <a:gd name="T53" fmla="*/ 60 h 86"/>
                <a:gd name="T54" fmla="*/ 78 w 85"/>
                <a:gd name="T55" fmla="*/ 67 h 86"/>
                <a:gd name="T56" fmla="*/ 73 w 85"/>
                <a:gd name="T57" fmla="*/ 73 h 86"/>
                <a:gd name="T58" fmla="*/ 66 w 85"/>
                <a:gd name="T59" fmla="*/ 79 h 86"/>
                <a:gd name="T60" fmla="*/ 59 w 85"/>
                <a:gd name="T61" fmla="*/ 82 h 86"/>
                <a:gd name="T62" fmla="*/ 51 w 85"/>
                <a:gd name="T63" fmla="*/ 85 h 86"/>
                <a:gd name="T64" fmla="*/ 43 w 85"/>
                <a:gd name="T65" fmla="*/ 86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85" h="86">
                  <a:moveTo>
                    <a:pt x="43" y="86"/>
                  </a:moveTo>
                  <a:lnTo>
                    <a:pt x="34" y="85"/>
                  </a:lnTo>
                  <a:lnTo>
                    <a:pt x="26" y="82"/>
                  </a:lnTo>
                  <a:lnTo>
                    <a:pt x="19" y="79"/>
                  </a:lnTo>
                  <a:lnTo>
                    <a:pt x="13" y="73"/>
                  </a:lnTo>
                  <a:lnTo>
                    <a:pt x="7" y="67"/>
                  </a:lnTo>
                  <a:lnTo>
                    <a:pt x="4" y="60"/>
                  </a:lnTo>
                  <a:lnTo>
                    <a:pt x="1" y="52"/>
                  </a:lnTo>
                  <a:lnTo>
                    <a:pt x="0" y="43"/>
                  </a:lnTo>
                  <a:lnTo>
                    <a:pt x="1" y="34"/>
                  </a:lnTo>
                  <a:lnTo>
                    <a:pt x="4" y="27"/>
                  </a:lnTo>
                  <a:lnTo>
                    <a:pt x="7" y="19"/>
                  </a:lnTo>
                  <a:lnTo>
                    <a:pt x="13" y="13"/>
                  </a:lnTo>
                  <a:lnTo>
                    <a:pt x="19" y="8"/>
                  </a:lnTo>
                  <a:lnTo>
                    <a:pt x="26" y="3"/>
                  </a:lnTo>
                  <a:lnTo>
                    <a:pt x="34" y="1"/>
                  </a:lnTo>
                  <a:lnTo>
                    <a:pt x="43" y="0"/>
                  </a:lnTo>
                  <a:lnTo>
                    <a:pt x="51" y="1"/>
                  </a:lnTo>
                  <a:lnTo>
                    <a:pt x="59" y="3"/>
                  </a:lnTo>
                  <a:lnTo>
                    <a:pt x="66" y="8"/>
                  </a:lnTo>
                  <a:lnTo>
                    <a:pt x="72" y="13"/>
                  </a:lnTo>
                  <a:lnTo>
                    <a:pt x="78" y="19"/>
                  </a:lnTo>
                  <a:lnTo>
                    <a:pt x="82" y="26"/>
                  </a:lnTo>
                  <a:lnTo>
                    <a:pt x="84" y="34"/>
                  </a:lnTo>
                  <a:lnTo>
                    <a:pt x="85" y="43"/>
                  </a:lnTo>
                  <a:lnTo>
                    <a:pt x="84" y="52"/>
                  </a:lnTo>
                  <a:lnTo>
                    <a:pt x="82" y="60"/>
                  </a:lnTo>
                  <a:lnTo>
                    <a:pt x="78" y="67"/>
                  </a:lnTo>
                  <a:lnTo>
                    <a:pt x="73" y="73"/>
                  </a:lnTo>
                  <a:lnTo>
                    <a:pt x="66" y="79"/>
                  </a:lnTo>
                  <a:lnTo>
                    <a:pt x="59" y="82"/>
                  </a:lnTo>
                  <a:lnTo>
                    <a:pt x="51" y="85"/>
                  </a:lnTo>
                  <a:lnTo>
                    <a:pt x="43" y="86"/>
                  </a:lnTo>
                  <a:close/>
                </a:path>
              </a:pathLst>
            </a:custGeom>
            <a:solidFill>
              <a:srgbClr val="B4A69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6653" tIns="58327" rIns="116653" bIns="58327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434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137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10" name="Freeform 80"/>
            <p:cNvSpPr>
              <a:spLocks/>
            </p:cNvSpPr>
            <p:nvPr/>
          </p:nvSpPr>
          <p:spPr bwMode="auto">
            <a:xfrm>
              <a:off x="2464" y="2516"/>
              <a:ext cx="21" cy="21"/>
            </a:xfrm>
            <a:custGeom>
              <a:avLst/>
              <a:gdLst>
                <a:gd name="T0" fmla="*/ 42 w 84"/>
                <a:gd name="T1" fmla="*/ 86 h 86"/>
                <a:gd name="T2" fmla="*/ 33 w 84"/>
                <a:gd name="T3" fmla="*/ 84 h 86"/>
                <a:gd name="T4" fmla="*/ 26 w 84"/>
                <a:gd name="T5" fmla="*/ 82 h 86"/>
                <a:gd name="T6" fmla="*/ 18 w 84"/>
                <a:gd name="T7" fmla="*/ 79 h 86"/>
                <a:gd name="T8" fmla="*/ 12 w 84"/>
                <a:gd name="T9" fmla="*/ 73 h 86"/>
                <a:gd name="T10" fmla="*/ 7 w 84"/>
                <a:gd name="T11" fmla="*/ 67 h 86"/>
                <a:gd name="T12" fmla="*/ 2 w 84"/>
                <a:gd name="T13" fmla="*/ 60 h 86"/>
                <a:gd name="T14" fmla="*/ 0 w 84"/>
                <a:gd name="T15" fmla="*/ 51 h 86"/>
                <a:gd name="T16" fmla="*/ 0 w 84"/>
                <a:gd name="T17" fmla="*/ 43 h 86"/>
                <a:gd name="T18" fmla="*/ 0 w 84"/>
                <a:gd name="T19" fmla="*/ 34 h 86"/>
                <a:gd name="T20" fmla="*/ 2 w 84"/>
                <a:gd name="T21" fmla="*/ 27 h 86"/>
                <a:gd name="T22" fmla="*/ 7 w 84"/>
                <a:gd name="T23" fmla="*/ 18 h 86"/>
                <a:gd name="T24" fmla="*/ 12 w 84"/>
                <a:gd name="T25" fmla="*/ 13 h 86"/>
                <a:gd name="T26" fmla="*/ 18 w 84"/>
                <a:gd name="T27" fmla="*/ 8 h 86"/>
                <a:gd name="T28" fmla="*/ 25 w 84"/>
                <a:gd name="T29" fmla="*/ 3 h 86"/>
                <a:gd name="T30" fmla="*/ 33 w 84"/>
                <a:gd name="T31" fmla="*/ 1 h 86"/>
                <a:gd name="T32" fmla="*/ 42 w 84"/>
                <a:gd name="T33" fmla="*/ 0 h 86"/>
                <a:gd name="T34" fmla="*/ 42 w 84"/>
                <a:gd name="T35" fmla="*/ 0 h 86"/>
                <a:gd name="T36" fmla="*/ 42 w 84"/>
                <a:gd name="T37" fmla="*/ 0 h 86"/>
                <a:gd name="T38" fmla="*/ 51 w 84"/>
                <a:gd name="T39" fmla="*/ 1 h 86"/>
                <a:gd name="T40" fmla="*/ 59 w 84"/>
                <a:gd name="T41" fmla="*/ 3 h 86"/>
                <a:gd name="T42" fmla="*/ 66 w 84"/>
                <a:gd name="T43" fmla="*/ 8 h 86"/>
                <a:gd name="T44" fmla="*/ 72 w 84"/>
                <a:gd name="T45" fmla="*/ 13 h 86"/>
                <a:gd name="T46" fmla="*/ 77 w 84"/>
                <a:gd name="T47" fmla="*/ 18 h 86"/>
                <a:gd name="T48" fmla="*/ 81 w 84"/>
                <a:gd name="T49" fmla="*/ 27 h 86"/>
                <a:gd name="T50" fmla="*/ 84 w 84"/>
                <a:gd name="T51" fmla="*/ 34 h 86"/>
                <a:gd name="T52" fmla="*/ 84 w 84"/>
                <a:gd name="T53" fmla="*/ 43 h 86"/>
                <a:gd name="T54" fmla="*/ 84 w 84"/>
                <a:gd name="T55" fmla="*/ 51 h 86"/>
                <a:gd name="T56" fmla="*/ 81 w 84"/>
                <a:gd name="T57" fmla="*/ 60 h 86"/>
                <a:gd name="T58" fmla="*/ 77 w 84"/>
                <a:gd name="T59" fmla="*/ 67 h 86"/>
                <a:gd name="T60" fmla="*/ 72 w 84"/>
                <a:gd name="T61" fmla="*/ 73 h 86"/>
                <a:gd name="T62" fmla="*/ 66 w 84"/>
                <a:gd name="T63" fmla="*/ 79 h 86"/>
                <a:gd name="T64" fmla="*/ 59 w 84"/>
                <a:gd name="T65" fmla="*/ 82 h 86"/>
                <a:gd name="T66" fmla="*/ 51 w 84"/>
                <a:gd name="T67" fmla="*/ 84 h 86"/>
                <a:gd name="T68" fmla="*/ 42 w 84"/>
                <a:gd name="T69" fmla="*/ 86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84" h="86">
                  <a:moveTo>
                    <a:pt x="42" y="86"/>
                  </a:moveTo>
                  <a:lnTo>
                    <a:pt x="33" y="84"/>
                  </a:lnTo>
                  <a:lnTo>
                    <a:pt x="26" y="82"/>
                  </a:lnTo>
                  <a:lnTo>
                    <a:pt x="18" y="79"/>
                  </a:lnTo>
                  <a:lnTo>
                    <a:pt x="12" y="73"/>
                  </a:lnTo>
                  <a:lnTo>
                    <a:pt x="7" y="67"/>
                  </a:lnTo>
                  <a:lnTo>
                    <a:pt x="2" y="60"/>
                  </a:lnTo>
                  <a:lnTo>
                    <a:pt x="0" y="51"/>
                  </a:lnTo>
                  <a:lnTo>
                    <a:pt x="0" y="43"/>
                  </a:lnTo>
                  <a:lnTo>
                    <a:pt x="0" y="34"/>
                  </a:lnTo>
                  <a:lnTo>
                    <a:pt x="2" y="27"/>
                  </a:lnTo>
                  <a:lnTo>
                    <a:pt x="7" y="18"/>
                  </a:lnTo>
                  <a:lnTo>
                    <a:pt x="12" y="13"/>
                  </a:lnTo>
                  <a:lnTo>
                    <a:pt x="18" y="8"/>
                  </a:lnTo>
                  <a:lnTo>
                    <a:pt x="25" y="3"/>
                  </a:lnTo>
                  <a:lnTo>
                    <a:pt x="33" y="1"/>
                  </a:lnTo>
                  <a:lnTo>
                    <a:pt x="42" y="0"/>
                  </a:lnTo>
                  <a:lnTo>
                    <a:pt x="42" y="0"/>
                  </a:lnTo>
                  <a:lnTo>
                    <a:pt x="42" y="0"/>
                  </a:lnTo>
                  <a:lnTo>
                    <a:pt x="51" y="1"/>
                  </a:lnTo>
                  <a:lnTo>
                    <a:pt x="59" y="3"/>
                  </a:lnTo>
                  <a:lnTo>
                    <a:pt x="66" y="8"/>
                  </a:lnTo>
                  <a:lnTo>
                    <a:pt x="72" y="13"/>
                  </a:lnTo>
                  <a:lnTo>
                    <a:pt x="77" y="18"/>
                  </a:lnTo>
                  <a:lnTo>
                    <a:pt x="81" y="27"/>
                  </a:lnTo>
                  <a:lnTo>
                    <a:pt x="84" y="34"/>
                  </a:lnTo>
                  <a:lnTo>
                    <a:pt x="84" y="43"/>
                  </a:lnTo>
                  <a:lnTo>
                    <a:pt x="84" y="51"/>
                  </a:lnTo>
                  <a:lnTo>
                    <a:pt x="81" y="60"/>
                  </a:lnTo>
                  <a:lnTo>
                    <a:pt x="77" y="67"/>
                  </a:lnTo>
                  <a:lnTo>
                    <a:pt x="72" y="73"/>
                  </a:lnTo>
                  <a:lnTo>
                    <a:pt x="66" y="79"/>
                  </a:lnTo>
                  <a:lnTo>
                    <a:pt x="59" y="82"/>
                  </a:lnTo>
                  <a:lnTo>
                    <a:pt x="51" y="84"/>
                  </a:lnTo>
                  <a:lnTo>
                    <a:pt x="42" y="86"/>
                  </a:lnTo>
                  <a:close/>
                </a:path>
              </a:pathLst>
            </a:custGeom>
            <a:solidFill>
              <a:srgbClr val="B4A69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6653" tIns="58327" rIns="116653" bIns="58327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434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137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11" name="Freeform 81"/>
            <p:cNvSpPr>
              <a:spLocks/>
            </p:cNvSpPr>
            <p:nvPr/>
          </p:nvSpPr>
          <p:spPr bwMode="auto">
            <a:xfrm>
              <a:off x="2019" y="2517"/>
              <a:ext cx="21" cy="21"/>
            </a:xfrm>
            <a:custGeom>
              <a:avLst/>
              <a:gdLst>
                <a:gd name="T0" fmla="*/ 42 w 84"/>
                <a:gd name="T1" fmla="*/ 86 h 86"/>
                <a:gd name="T2" fmla="*/ 33 w 84"/>
                <a:gd name="T3" fmla="*/ 85 h 86"/>
                <a:gd name="T4" fmla="*/ 26 w 84"/>
                <a:gd name="T5" fmla="*/ 83 h 86"/>
                <a:gd name="T6" fmla="*/ 18 w 84"/>
                <a:gd name="T7" fmla="*/ 79 h 86"/>
                <a:gd name="T8" fmla="*/ 12 w 84"/>
                <a:gd name="T9" fmla="*/ 73 h 86"/>
                <a:gd name="T10" fmla="*/ 7 w 84"/>
                <a:gd name="T11" fmla="*/ 67 h 86"/>
                <a:gd name="T12" fmla="*/ 2 w 84"/>
                <a:gd name="T13" fmla="*/ 60 h 86"/>
                <a:gd name="T14" fmla="*/ 0 w 84"/>
                <a:gd name="T15" fmla="*/ 52 h 86"/>
                <a:gd name="T16" fmla="*/ 0 w 84"/>
                <a:gd name="T17" fmla="*/ 44 h 86"/>
                <a:gd name="T18" fmla="*/ 0 w 84"/>
                <a:gd name="T19" fmla="*/ 34 h 86"/>
                <a:gd name="T20" fmla="*/ 2 w 84"/>
                <a:gd name="T21" fmla="*/ 27 h 86"/>
                <a:gd name="T22" fmla="*/ 7 w 84"/>
                <a:gd name="T23" fmla="*/ 19 h 86"/>
                <a:gd name="T24" fmla="*/ 12 w 84"/>
                <a:gd name="T25" fmla="*/ 13 h 86"/>
                <a:gd name="T26" fmla="*/ 18 w 84"/>
                <a:gd name="T27" fmla="*/ 8 h 86"/>
                <a:gd name="T28" fmla="*/ 26 w 84"/>
                <a:gd name="T29" fmla="*/ 4 h 86"/>
                <a:gd name="T30" fmla="*/ 33 w 84"/>
                <a:gd name="T31" fmla="*/ 1 h 86"/>
                <a:gd name="T32" fmla="*/ 41 w 84"/>
                <a:gd name="T33" fmla="*/ 0 h 86"/>
                <a:gd name="T34" fmla="*/ 42 w 84"/>
                <a:gd name="T35" fmla="*/ 0 h 86"/>
                <a:gd name="T36" fmla="*/ 42 w 84"/>
                <a:gd name="T37" fmla="*/ 0 h 86"/>
                <a:gd name="T38" fmla="*/ 51 w 84"/>
                <a:gd name="T39" fmla="*/ 1 h 86"/>
                <a:gd name="T40" fmla="*/ 59 w 84"/>
                <a:gd name="T41" fmla="*/ 4 h 86"/>
                <a:gd name="T42" fmla="*/ 66 w 84"/>
                <a:gd name="T43" fmla="*/ 7 h 86"/>
                <a:gd name="T44" fmla="*/ 72 w 84"/>
                <a:gd name="T45" fmla="*/ 13 h 86"/>
                <a:gd name="T46" fmla="*/ 77 w 84"/>
                <a:gd name="T47" fmla="*/ 19 h 86"/>
                <a:gd name="T48" fmla="*/ 81 w 84"/>
                <a:gd name="T49" fmla="*/ 26 h 86"/>
                <a:gd name="T50" fmla="*/ 84 w 84"/>
                <a:gd name="T51" fmla="*/ 34 h 86"/>
                <a:gd name="T52" fmla="*/ 84 w 84"/>
                <a:gd name="T53" fmla="*/ 44 h 86"/>
                <a:gd name="T54" fmla="*/ 84 w 84"/>
                <a:gd name="T55" fmla="*/ 52 h 86"/>
                <a:gd name="T56" fmla="*/ 81 w 84"/>
                <a:gd name="T57" fmla="*/ 60 h 86"/>
                <a:gd name="T58" fmla="*/ 77 w 84"/>
                <a:gd name="T59" fmla="*/ 67 h 86"/>
                <a:gd name="T60" fmla="*/ 72 w 84"/>
                <a:gd name="T61" fmla="*/ 73 h 86"/>
                <a:gd name="T62" fmla="*/ 66 w 84"/>
                <a:gd name="T63" fmla="*/ 79 h 86"/>
                <a:gd name="T64" fmla="*/ 59 w 84"/>
                <a:gd name="T65" fmla="*/ 83 h 86"/>
                <a:gd name="T66" fmla="*/ 51 w 84"/>
                <a:gd name="T67" fmla="*/ 85 h 86"/>
                <a:gd name="T68" fmla="*/ 42 w 84"/>
                <a:gd name="T69" fmla="*/ 86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84" h="86">
                  <a:moveTo>
                    <a:pt x="42" y="86"/>
                  </a:moveTo>
                  <a:lnTo>
                    <a:pt x="33" y="85"/>
                  </a:lnTo>
                  <a:lnTo>
                    <a:pt x="26" y="83"/>
                  </a:lnTo>
                  <a:lnTo>
                    <a:pt x="18" y="79"/>
                  </a:lnTo>
                  <a:lnTo>
                    <a:pt x="12" y="73"/>
                  </a:lnTo>
                  <a:lnTo>
                    <a:pt x="7" y="67"/>
                  </a:lnTo>
                  <a:lnTo>
                    <a:pt x="2" y="60"/>
                  </a:lnTo>
                  <a:lnTo>
                    <a:pt x="0" y="52"/>
                  </a:lnTo>
                  <a:lnTo>
                    <a:pt x="0" y="44"/>
                  </a:lnTo>
                  <a:lnTo>
                    <a:pt x="0" y="34"/>
                  </a:lnTo>
                  <a:lnTo>
                    <a:pt x="2" y="27"/>
                  </a:lnTo>
                  <a:lnTo>
                    <a:pt x="7" y="19"/>
                  </a:lnTo>
                  <a:lnTo>
                    <a:pt x="12" y="13"/>
                  </a:lnTo>
                  <a:lnTo>
                    <a:pt x="18" y="8"/>
                  </a:lnTo>
                  <a:lnTo>
                    <a:pt x="26" y="4"/>
                  </a:lnTo>
                  <a:lnTo>
                    <a:pt x="33" y="1"/>
                  </a:lnTo>
                  <a:lnTo>
                    <a:pt x="41" y="0"/>
                  </a:lnTo>
                  <a:lnTo>
                    <a:pt x="42" y="0"/>
                  </a:lnTo>
                  <a:lnTo>
                    <a:pt x="42" y="0"/>
                  </a:lnTo>
                  <a:lnTo>
                    <a:pt x="51" y="1"/>
                  </a:lnTo>
                  <a:lnTo>
                    <a:pt x="59" y="4"/>
                  </a:lnTo>
                  <a:lnTo>
                    <a:pt x="66" y="7"/>
                  </a:lnTo>
                  <a:lnTo>
                    <a:pt x="72" y="13"/>
                  </a:lnTo>
                  <a:lnTo>
                    <a:pt x="77" y="19"/>
                  </a:lnTo>
                  <a:lnTo>
                    <a:pt x="81" y="26"/>
                  </a:lnTo>
                  <a:lnTo>
                    <a:pt x="84" y="34"/>
                  </a:lnTo>
                  <a:lnTo>
                    <a:pt x="84" y="44"/>
                  </a:lnTo>
                  <a:lnTo>
                    <a:pt x="84" y="52"/>
                  </a:lnTo>
                  <a:lnTo>
                    <a:pt x="81" y="60"/>
                  </a:lnTo>
                  <a:lnTo>
                    <a:pt x="77" y="67"/>
                  </a:lnTo>
                  <a:lnTo>
                    <a:pt x="72" y="73"/>
                  </a:lnTo>
                  <a:lnTo>
                    <a:pt x="66" y="79"/>
                  </a:lnTo>
                  <a:lnTo>
                    <a:pt x="59" y="83"/>
                  </a:lnTo>
                  <a:lnTo>
                    <a:pt x="51" y="85"/>
                  </a:lnTo>
                  <a:lnTo>
                    <a:pt x="42" y="86"/>
                  </a:lnTo>
                  <a:close/>
                </a:path>
              </a:pathLst>
            </a:custGeom>
            <a:solidFill>
              <a:srgbClr val="B4A69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6653" tIns="58327" rIns="116653" bIns="58327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434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137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12" name="Freeform 82"/>
            <p:cNvSpPr>
              <a:spLocks/>
            </p:cNvSpPr>
            <p:nvPr/>
          </p:nvSpPr>
          <p:spPr bwMode="auto">
            <a:xfrm>
              <a:off x="2163" y="2516"/>
              <a:ext cx="21" cy="22"/>
            </a:xfrm>
            <a:custGeom>
              <a:avLst/>
              <a:gdLst>
                <a:gd name="T0" fmla="*/ 43 w 85"/>
                <a:gd name="T1" fmla="*/ 86 h 86"/>
                <a:gd name="T2" fmla="*/ 35 w 85"/>
                <a:gd name="T3" fmla="*/ 85 h 86"/>
                <a:gd name="T4" fmla="*/ 26 w 85"/>
                <a:gd name="T5" fmla="*/ 82 h 86"/>
                <a:gd name="T6" fmla="*/ 19 w 85"/>
                <a:gd name="T7" fmla="*/ 79 h 86"/>
                <a:gd name="T8" fmla="*/ 13 w 85"/>
                <a:gd name="T9" fmla="*/ 73 h 86"/>
                <a:gd name="T10" fmla="*/ 8 w 85"/>
                <a:gd name="T11" fmla="*/ 67 h 86"/>
                <a:gd name="T12" fmla="*/ 4 w 85"/>
                <a:gd name="T13" fmla="*/ 60 h 86"/>
                <a:gd name="T14" fmla="*/ 2 w 85"/>
                <a:gd name="T15" fmla="*/ 52 h 86"/>
                <a:gd name="T16" fmla="*/ 0 w 85"/>
                <a:gd name="T17" fmla="*/ 44 h 86"/>
                <a:gd name="T18" fmla="*/ 2 w 85"/>
                <a:gd name="T19" fmla="*/ 34 h 86"/>
                <a:gd name="T20" fmla="*/ 4 w 85"/>
                <a:gd name="T21" fmla="*/ 27 h 86"/>
                <a:gd name="T22" fmla="*/ 8 w 85"/>
                <a:gd name="T23" fmla="*/ 19 h 86"/>
                <a:gd name="T24" fmla="*/ 13 w 85"/>
                <a:gd name="T25" fmla="*/ 13 h 86"/>
                <a:gd name="T26" fmla="*/ 19 w 85"/>
                <a:gd name="T27" fmla="*/ 8 h 86"/>
                <a:gd name="T28" fmla="*/ 26 w 85"/>
                <a:gd name="T29" fmla="*/ 4 h 86"/>
                <a:gd name="T30" fmla="*/ 35 w 85"/>
                <a:gd name="T31" fmla="*/ 1 h 86"/>
                <a:gd name="T32" fmla="*/ 43 w 85"/>
                <a:gd name="T33" fmla="*/ 0 h 86"/>
                <a:gd name="T34" fmla="*/ 51 w 85"/>
                <a:gd name="T35" fmla="*/ 1 h 86"/>
                <a:gd name="T36" fmla="*/ 59 w 85"/>
                <a:gd name="T37" fmla="*/ 4 h 86"/>
                <a:gd name="T38" fmla="*/ 66 w 85"/>
                <a:gd name="T39" fmla="*/ 8 h 86"/>
                <a:gd name="T40" fmla="*/ 72 w 85"/>
                <a:gd name="T41" fmla="*/ 13 h 86"/>
                <a:gd name="T42" fmla="*/ 78 w 85"/>
                <a:gd name="T43" fmla="*/ 19 h 86"/>
                <a:gd name="T44" fmla="*/ 82 w 85"/>
                <a:gd name="T45" fmla="*/ 27 h 86"/>
                <a:gd name="T46" fmla="*/ 84 w 85"/>
                <a:gd name="T47" fmla="*/ 34 h 86"/>
                <a:gd name="T48" fmla="*/ 85 w 85"/>
                <a:gd name="T49" fmla="*/ 44 h 86"/>
                <a:gd name="T50" fmla="*/ 84 w 85"/>
                <a:gd name="T51" fmla="*/ 52 h 86"/>
                <a:gd name="T52" fmla="*/ 82 w 85"/>
                <a:gd name="T53" fmla="*/ 60 h 86"/>
                <a:gd name="T54" fmla="*/ 78 w 85"/>
                <a:gd name="T55" fmla="*/ 67 h 86"/>
                <a:gd name="T56" fmla="*/ 72 w 85"/>
                <a:gd name="T57" fmla="*/ 73 h 86"/>
                <a:gd name="T58" fmla="*/ 66 w 85"/>
                <a:gd name="T59" fmla="*/ 79 h 86"/>
                <a:gd name="T60" fmla="*/ 59 w 85"/>
                <a:gd name="T61" fmla="*/ 82 h 86"/>
                <a:gd name="T62" fmla="*/ 51 w 85"/>
                <a:gd name="T63" fmla="*/ 85 h 86"/>
                <a:gd name="T64" fmla="*/ 43 w 85"/>
                <a:gd name="T65" fmla="*/ 86 h 86"/>
                <a:gd name="T66" fmla="*/ 43 w 85"/>
                <a:gd name="T67" fmla="*/ 86 h 86"/>
                <a:gd name="T68" fmla="*/ 43 w 85"/>
                <a:gd name="T69" fmla="*/ 86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85" h="86">
                  <a:moveTo>
                    <a:pt x="43" y="86"/>
                  </a:moveTo>
                  <a:lnTo>
                    <a:pt x="35" y="85"/>
                  </a:lnTo>
                  <a:lnTo>
                    <a:pt x="26" y="82"/>
                  </a:lnTo>
                  <a:lnTo>
                    <a:pt x="19" y="79"/>
                  </a:lnTo>
                  <a:lnTo>
                    <a:pt x="13" y="73"/>
                  </a:lnTo>
                  <a:lnTo>
                    <a:pt x="8" y="67"/>
                  </a:lnTo>
                  <a:lnTo>
                    <a:pt x="4" y="60"/>
                  </a:lnTo>
                  <a:lnTo>
                    <a:pt x="2" y="52"/>
                  </a:lnTo>
                  <a:lnTo>
                    <a:pt x="0" y="44"/>
                  </a:lnTo>
                  <a:lnTo>
                    <a:pt x="2" y="34"/>
                  </a:lnTo>
                  <a:lnTo>
                    <a:pt x="4" y="27"/>
                  </a:lnTo>
                  <a:lnTo>
                    <a:pt x="8" y="19"/>
                  </a:lnTo>
                  <a:lnTo>
                    <a:pt x="13" y="13"/>
                  </a:lnTo>
                  <a:lnTo>
                    <a:pt x="19" y="8"/>
                  </a:lnTo>
                  <a:lnTo>
                    <a:pt x="26" y="4"/>
                  </a:lnTo>
                  <a:lnTo>
                    <a:pt x="35" y="1"/>
                  </a:lnTo>
                  <a:lnTo>
                    <a:pt x="43" y="0"/>
                  </a:lnTo>
                  <a:lnTo>
                    <a:pt x="51" y="1"/>
                  </a:lnTo>
                  <a:lnTo>
                    <a:pt x="59" y="4"/>
                  </a:lnTo>
                  <a:lnTo>
                    <a:pt x="66" y="8"/>
                  </a:lnTo>
                  <a:lnTo>
                    <a:pt x="72" y="13"/>
                  </a:lnTo>
                  <a:lnTo>
                    <a:pt x="78" y="19"/>
                  </a:lnTo>
                  <a:lnTo>
                    <a:pt x="82" y="27"/>
                  </a:lnTo>
                  <a:lnTo>
                    <a:pt x="84" y="34"/>
                  </a:lnTo>
                  <a:lnTo>
                    <a:pt x="85" y="44"/>
                  </a:lnTo>
                  <a:lnTo>
                    <a:pt x="84" y="52"/>
                  </a:lnTo>
                  <a:lnTo>
                    <a:pt x="82" y="60"/>
                  </a:lnTo>
                  <a:lnTo>
                    <a:pt x="78" y="67"/>
                  </a:lnTo>
                  <a:lnTo>
                    <a:pt x="72" y="73"/>
                  </a:lnTo>
                  <a:lnTo>
                    <a:pt x="66" y="79"/>
                  </a:lnTo>
                  <a:lnTo>
                    <a:pt x="59" y="82"/>
                  </a:lnTo>
                  <a:lnTo>
                    <a:pt x="51" y="85"/>
                  </a:lnTo>
                  <a:lnTo>
                    <a:pt x="43" y="86"/>
                  </a:lnTo>
                  <a:lnTo>
                    <a:pt x="43" y="86"/>
                  </a:lnTo>
                  <a:lnTo>
                    <a:pt x="43" y="86"/>
                  </a:lnTo>
                  <a:close/>
                </a:path>
              </a:pathLst>
            </a:custGeom>
            <a:solidFill>
              <a:srgbClr val="B4A69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6653" tIns="58327" rIns="116653" bIns="58327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434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137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13" name="Freeform 83"/>
            <p:cNvSpPr>
              <a:spLocks/>
            </p:cNvSpPr>
            <p:nvPr/>
          </p:nvSpPr>
          <p:spPr bwMode="auto">
            <a:xfrm>
              <a:off x="1870" y="1969"/>
              <a:ext cx="703" cy="636"/>
            </a:xfrm>
            <a:custGeom>
              <a:avLst/>
              <a:gdLst>
                <a:gd name="T0" fmla="*/ 2509 w 2811"/>
                <a:gd name="T1" fmla="*/ 1718 h 2547"/>
                <a:gd name="T2" fmla="*/ 2444 w 2811"/>
                <a:gd name="T3" fmla="*/ 1538 h 2547"/>
                <a:gd name="T4" fmla="*/ 2466 w 2811"/>
                <a:gd name="T5" fmla="*/ 1403 h 2547"/>
                <a:gd name="T6" fmla="*/ 2544 w 2811"/>
                <a:gd name="T7" fmla="*/ 1285 h 2547"/>
                <a:gd name="T8" fmla="*/ 2641 w 2811"/>
                <a:gd name="T9" fmla="*/ 1152 h 2547"/>
                <a:gd name="T10" fmla="*/ 2723 w 2811"/>
                <a:gd name="T11" fmla="*/ 979 h 2547"/>
                <a:gd name="T12" fmla="*/ 2757 w 2811"/>
                <a:gd name="T13" fmla="*/ 747 h 2547"/>
                <a:gd name="T14" fmla="*/ 2743 w 2811"/>
                <a:gd name="T15" fmla="*/ 556 h 2547"/>
                <a:gd name="T16" fmla="*/ 2687 w 2811"/>
                <a:gd name="T17" fmla="*/ 426 h 2547"/>
                <a:gd name="T18" fmla="*/ 2588 w 2811"/>
                <a:gd name="T19" fmla="*/ 355 h 2547"/>
                <a:gd name="T20" fmla="*/ 2451 w 2811"/>
                <a:gd name="T21" fmla="*/ 335 h 2547"/>
                <a:gd name="T22" fmla="*/ 2278 w 2811"/>
                <a:gd name="T23" fmla="*/ 362 h 2547"/>
                <a:gd name="T24" fmla="*/ 2071 w 2811"/>
                <a:gd name="T25" fmla="*/ 429 h 2547"/>
                <a:gd name="T26" fmla="*/ 1890 w 2811"/>
                <a:gd name="T27" fmla="*/ 428 h 2547"/>
                <a:gd name="T28" fmla="*/ 1748 w 2811"/>
                <a:gd name="T29" fmla="*/ 309 h 2547"/>
                <a:gd name="T30" fmla="*/ 1621 w 2811"/>
                <a:gd name="T31" fmla="*/ 150 h 2547"/>
                <a:gd name="T32" fmla="*/ 1485 w 2811"/>
                <a:gd name="T33" fmla="*/ 26 h 2547"/>
                <a:gd name="T34" fmla="*/ 1312 w 2811"/>
                <a:gd name="T35" fmla="*/ 13 h 2547"/>
                <a:gd name="T36" fmla="*/ 1080 w 2811"/>
                <a:gd name="T37" fmla="*/ 186 h 2547"/>
                <a:gd name="T38" fmla="*/ 888 w 2811"/>
                <a:gd name="T39" fmla="*/ 455 h 2547"/>
                <a:gd name="T40" fmla="*/ 811 w 2811"/>
                <a:gd name="T41" fmla="*/ 545 h 2547"/>
                <a:gd name="T42" fmla="*/ 768 w 2811"/>
                <a:gd name="T43" fmla="*/ 568 h 2547"/>
                <a:gd name="T44" fmla="*/ 719 w 2811"/>
                <a:gd name="T45" fmla="*/ 572 h 2547"/>
                <a:gd name="T46" fmla="*/ 550 w 2811"/>
                <a:gd name="T47" fmla="*/ 534 h 2547"/>
                <a:gd name="T48" fmla="*/ 338 w 2811"/>
                <a:gd name="T49" fmla="*/ 494 h 2547"/>
                <a:gd name="T50" fmla="*/ 216 w 2811"/>
                <a:gd name="T51" fmla="*/ 483 h 2547"/>
                <a:gd name="T52" fmla="*/ 121 w 2811"/>
                <a:gd name="T53" fmla="*/ 502 h 2547"/>
                <a:gd name="T54" fmla="*/ 54 w 2811"/>
                <a:gd name="T55" fmla="*/ 546 h 2547"/>
                <a:gd name="T56" fmla="*/ 15 w 2811"/>
                <a:gd name="T57" fmla="*/ 617 h 2547"/>
                <a:gd name="T58" fmla="*/ 0 w 2811"/>
                <a:gd name="T59" fmla="*/ 712 h 2547"/>
                <a:gd name="T60" fmla="*/ 10 w 2811"/>
                <a:gd name="T61" fmla="*/ 829 h 2547"/>
                <a:gd name="T62" fmla="*/ 67 w 2811"/>
                <a:gd name="T63" fmla="*/ 1019 h 2547"/>
                <a:gd name="T64" fmla="*/ 192 w 2811"/>
                <a:gd name="T65" fmla="*/ 1207 h 2547"/>
                <a:gd name="T66" fmla="*/ 371 w 2811"/>
                <a:gd name="T67" fmla="*/ 1378 h 2547"/>
                <a:gd name="T68" fmla="*/ 516 w 2811"/>
                <a:gd name="T69" fmla="*/ 1505 h 2547"/>
                <a:gd name="T70" fmla="*/ 562 w 2811"/>
                <a:gd name="T71" fmla="*/ 1588 h 2547"/>
                <a:gd name="T72" fmla="*/ 496 w 2811"/>
                <a:gd name="T73" fmla="*/ 1665 h 2547"/>
                <a:gd name="T74" fmla="*/ 329 w 2811"/>
                <a:gd name="T75" fmla="*/ 1759 h 2547"/>
                <a:gd name="T76" fmla="*/ 239 w 2811"/>
                <a:gd name="T77" fmla="*/ 1927 h 2547"/>
                <a:gd name="T78" fmla="*/ 239 w 2811"/>
                <a:gd name="T79" fmla="*/ 2132 h 2547"/>
                <a:gd name="T80" fmla="*/ 316 w 2811"/>
                <a:gd name="T81" fmla="*/ 2325 h 2547"/>
                <a:gd name="T82" fmla="*/ 459 w 2811"/>
                <a:gd name="T83" fmla="*/ 2459 h 2547"/>
                <a:gd name="T84" fmla="*/ 658 w 2811"/>
                <a:gd name="T85" fmla="*/ 2489 h 2547"/>
                <a:gd name="T86" fmla="*/ 901 w 2811"/>
                <a:gd name="T87" fmla="*/ 2370 h 2547"/>
                <a:gd name="T88" fmla="*/ 1106 w 2811"/>
                <a:gd name="T89" fmla="*/ 2257 h 2547"/>
                <a:gd name="T90" fmla="*/ 1257 w 2811"/>
                <a:gd name="T91" fmla="*/ 2220 h 2547"/>
                <a:gd name="T92" fmla="*/ 1381 w 2811"/>
                <a:gd name="T93" fmla="*/ 2242 h 2547"/>
                <a:gd name="T94" fmla="*/ 1529 w 2811"/>
                <a:gd name="T95" fmla="*/ 2318 h 2547"/>
                <a:gd name="T96" fmla="*/ 1718 w 2811"/>
                <a:gd name="T97" fmla="*/ 2419 h 2547"/>
                <a:gd name="T98" fmla="*/ 1937 w 2811"/>
                <a:gd name="T99" fmla="*/ 2498 h 2547"/>
                <a:gd name="T100" fmla="*/ 2192 w 2811"/>
                <a:gd name="T101" fmla="*/ 2543 h 2547"/>
                <a:gd name="T102" fmla="*/ 2439 w 2811"/>
                <a:gd name="T103" fmla="*/ 2538 h 2547"/>
                <a:gd name="T104" fmla="*/ 2647 w 2811"/>
                <a:gd name="T105" fmla="*/ 2482 h 2547"/>
                <a:gd name="T106" fmla="*/ 2780 w 2811"/>
                <a:gd name="T107" fmla="*/ 2371 h 2547"/>
                <a:gd name="T108" fmla="*/ 2806 w 2811"/>
                <a:gd name="T109" fmla="*/ 2200 h 2547"/>
                <a:gd name="T110" fmla="*/ 2691 w 2811"/>
                <a:gd name="T111" fmla="*/ 1967 h 25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2811" h="2547">
                  <a:moveTo>
                    <a:pt x="2649" y="1912"/>
                  </a:moveTo>
                  <a:lnTo>
                    <a:pt x="2605" y="1859"/>
                  </a:lnTo>
                  <a:lnTo>
                    <a:pt x="2568" y="1808"/>
                  </a:lnTo>
                  <a:lnTo>
                    <a:pt x="2536" y="1761"/>
                  </a:lnTo>
                  <a:lnTo>
                    <a:pt x="2509" y="1718"/>
                  </a:lnTo>
                  <a:lnTo>
                    <a:pt x="2488" y="1677"/>
                  </a:lnTo>
                  <a:lnTo>
                    <a:pt x="2470" y="1639"/>
                  </a:lnTo>
                  <a:lnTo>
                    <a:pt x="2457" y="1604"/>
                  </a:lnTo>
                  <a:lnTo>
                    <a:pt x="2449" y="1569"/>
                  </a:lnTo>
                  <a:lnTo>
                    <a:pt x="2444" y="1538"/>
                  </a:lnTo>
                  <a:lnTo>
                    <a:pt x="2443" y="1508"/>
                  </a:lnTo>
                  <a:lnTo>
                    <a:pt x="2444" y="1480"/>
                  </a:lnTo>
                  <a:lnTo>
                    <a:pt x="2449" y="1454"/>
                  </a:lnTo>
                  <a:lnTo>
                    <a:pt x="2457" y="1428"/>
                  </a:lnTo>
                  <a:lnTo>
                    <a:pt x="2466" y="1403"/>
                  </a:lnTo>
                  <a:lnTo>
                    <a:pt x="2479" y="1379"/>
                  </a:lnTo>
                  <a:lnTo>
                    <a:pt x="2494" y="1355"/>
                  </a:lnTo>
                  <a:lnTo>
                    <a:pt x="2509" y="1332"/>
                  </a:lnTo>
                  <a:lnTo>
                    <a:pt x="2525" y="1308"/>
                  </a:lnTo>
                  <a:lnTo>
                    <a:pt x="2544" y="1285"/>
                  </a:lnTo>
                  <a:lnTo>
                    <a:pt x="2563" y="1260"/>
                  </a:lnTo>
                  <a:lnTo>
                    <a:pt x="2582" y="1234"/>
                  </a:lnTo>
                  <a:lnTo>
                    <a:pt x="2602" y="1208"/>
                  </a:lnTo>
                  <a:lnTo>
                    <a:pt x="2622" y="1181"/>
                  </a:lnTo>
                  <a:lnTo>
                    <a:pt x="2641" y="1152"/>
                  </a:lnTo>
                  <a:lnTo>
                    <a:pt x="2660" y="1121"/>
                  </a:lnTo>
                  <a:lnTo>
                    <a:pt x="2677" y="1089"/>
                  </a:lnTo>
                  <a:lnTo>
                    <a:pt x="2694" y="1055"/>
                  </a:lnTo>
                  <a:lnTo>
                    <a:pt x="2709" y="1017"/>
                  </a:lnTo>
                  <a:lnTo>
                    <a:pt x="2723" y="979"/>
                  </a:lnTo>
                  <a:lnTo>
                    <a:pt x="2734" y="936"/>
                  </a:lnTo>
                  <a:lnTo>
                    <a:pt x="2743" y="890"/>
                  </a:lnTo>
                  <a:lnTo>
                    <a:pt x="2750" y="842"/>
                  </a:lnTo>
                  <a:lnTo>
                    <a:pt x="2755" y="793"/>
                  </a:lnTo>
                  <a:lnTo>
                    <a:pt x="2757" y="747"/>
                  </a:lnTo>
                  <a:lnTo>
                    <a:pt x="2758" y="703"/>
                  </a:lnTo>
                  <a:lnTo>
                    <a:pt x="2757" y="662"/>
                  </a:lnTo>
                  <a:lnTo>
                    <a:pt x="2754" y="624"/>
                  </a:lnTo>
                  <a:lnTo>
                    <a:pt x="2749" y="589"/>
                  </a:lnTo>
                  <a:lnTo>
                    <a:pt x="2743" y="556"/>
                  </a:lnTo>
                  <a:lnTo>
                    <a:pt x="2735" y="525"/>
                  </a:lnTo>
                  <a:lnTo>
                    <a:pt x="2725" y="497"/>
                  </a:lnTo>
                  <a:lnTo>
                    <a:pt x="2714" y="471"/>
                  </a:lnTo>
                  <a:lnTo>
                    <a:pt x="2701" y="448"/>
                  </a:lnTo>
                  <a:lnTo>
                    <a:pt x="2687" y="426"/>
                  </a:lnTo>
                  <a:lnTo>
                    <a:pt x="2670" y="408"/>
                  </a:lnTo>
                  <a:lnTo>
                    <a:pt x="2651" y="391"/>
                  </a:lnTo>
                  <a:lnTo>
                    <a:pt x="2632" y="377"/>
                  </a:lnTo>
                  <a:lnTo>
                    <a:pt x="2611" y="364"/>
                  </a:lnTo>
                  <a:lnTo>
                    <a:pt x="2588" y="355"/>
                  </a:lnTo>
                  <a:lnTo>
                    <a:pt x="2564" y="346"/>
                  </a:lnTo>
                  <a:lnTo>
                    <a:pt x="2538" y="340"/>
                  </a:lnTo>
                  <a:lnTo>
                    <a:pt x="2510" y="337"/>
                  </a:lnTo>
                  <a:lnTo>
                    <a:pt x="2482" y="335"/>
                  </a:lnTo>
                  <a:lnTo>
                    <a:pt x="2451" y="335"/>
                  </a:lnTo>
                  <a:lnTo>
                    <a:pt x="2419" y="336"/>
                  </a:lnTo>
                  <a:lnTo>
                    <a:pt x="2386" y="340"/>
                  </a:lnTo>
                  <a:lnTo>
                    <a:pt x="2351" y="345"/>
                  </a:lnTo>
                  <a:lnTo>
                    <a:pt x="2316" y="352"/>
                  </a:lnTo>
                  <a:lnTo>
                    <a:pt x="2278" y="362"/>
                  </a:lnTo>
                  <a:lnTo>
                    <a:pt x="2239" y="371"/>
                  </a:lnTo>
                  <a:lnTo>
                    <a:pt x="2199" y="384"/>
                  </a:lnTo>
                  <a:lnTo>
                    <a:pt x="2157" y="397"/>
                  </a:lnTo>
                  <a:lnTo>
                    <a:pt x="2114" y="412"/>
                  </a:lnTo>
                  <a:lnTo>
                    <a:pt x="2071" y="429"/>
                  </a:lnTo>
                  <a:lnTo>
                    <a:pt x="2030" y="442"/>
                  </a:lnTo>
                  <a:lnTo>
                    <a:pt x="1992" y="448"/>
                  </a:lnTo>
                  <a:lnTo>
                    <a:pt x="1956" y="446"/>
                  </a:lnTo>
                  <a:lnTo>
                    <a:pt x="1921" y="439"/>
                  </a:lnTo>
                  <a:lnTo>
                    <a:pt x="1890" y="428"/>
                  </a:lnTo>
                  <a:lnTo>
                    <a:pt x="1859" y="410"/>
                  </a:lnTo>
                  <a:lnTo>
                    <a:pt x="1830" y="390"/>
                  </a:lnTo>
                  <a:lnTo>
                    <a:pt x="1801" y="365"/>
                  </a:lnTo>
                  <a:lnTo>
                    <a:pt x="1774" y="338"/>
                  </a:lnTo>
                  <a:lnTo>
                    <a:pt x="1748" y="309"/>
                  </a:lnTo>
                  <a:lnTo>
                    <a:pt x="1722" y="278"/>
                  </a:lnTo>
                  <a:lnTo>
                    <a:pt x="1697" y="246"/>
                  </a:lnTo>
                  <a:lnTo>
                    <a:pt x="1672" y="213"/>
                  </a:lnTo>
                  <a:lnTo>
                    <a:pt x="1647" y="182"/>
                  </a:lnTo>
                  <a:lnTo>
                    <a:pt x="1621" y="150"/>
                  </a:lnTo>
                  <a:lnTo>
                    <a:pt x="1595" y="120"/>
                  </a:lnTo>
                  <a:lnTo>
                    <a:pt x="1569" y="92"/>
                  </a:lnTo>
                  <a:lnTo>
                    <a:pt x="1542" y="67"/>
                  </a:lnTo>
                  <a:lnTo>
                    <a:pt x="1514" y="45"/>
                  </a:lnTo>
                  <a:lnTo>
                    <a:pt x="1485" y="26"/>
                  </a:lnTo>
                  <a:lnTo>
                    <a:pt x="1454" y="12"/>
                  </a:lnTo>
                  <a:lnTo>
                    <a:pt x="1421" y="4"/>
                  </a:lnTo>
                  <a:lnTo>
                    <a:pt x="1387" y="0"/>
                  </a:lnTo>
                  <a:lnTo>
                    <a:pt x="1350" y="4"/>
                  </a:lnTo>
                  <a:lnTo>
                    <a:pt x="1312" y="13"/>
                  </a:lnTo>
                  <a:lnTo>
                    <a:pt x="1272" y="31"/>
                  </a:lnTo>
                  <a:lnTo>
                    <a:pt x="1228" y="57"/>
                  </a:lnTo>
                  <a:lnTo>
                    <a:pt x="1181" y="90"/>
                  </a:lnTo>
                  <a:lnTo>
                    <a:pt x="1131" y="133"/>
                  </a:lnTo>
                  <a:lnTo>
                    <a:pt x="1080" y="186"/>
                  </a:lnTo>
                  <a:lnTo>
                    <a:pt x="1023" y="251"/>
                  </a:lnTo>
                  <a:lnTo>
                    <a:pt x="963" y="325"/>
                  </a:lnTo>
                  <a:lnTo>
                    <a:pt x="932" y="381"/>
                  </a:lnTo>
                  <a:lnTo>
                    <a:pt x="902" y="431"/>
                  </a:lnTo>
                  <a:lnTo>
                    <a:pt x="888" y="455"/>
                  </a:lnTo>
                  <a:lnTo>
                    <a:pt x="872" y="477"/>
                  </a:lnTo>
                  <a:lnTo>
                    <a:pt x="857" y="497"/>
                  </a:lnTo>
                  <a:lnTo>
                    <a:pt x="843" y="516"/>
                  </a:lnTo>
                  <a:lnTo>
                    <a:pt x="827" y="531"/>
                  </a:lnTo>
                  <a:lnTo>
                    <a:pt x="811" y="545"/>
                  </a:lnTo>
                  <a:lnTo>
                    <a:pt x="803" y="551"/>
                  </a:lnTo>
                  <a:lnTo>
                    <a:pt x="795" y="556"/>
                  </a:lnTo>
                  <a:lnTo>
                    <a:pt x="785" y="561"/>
                  </a:lnTo>
                  <a:lnTo>
                    <a:pt x="777" y="565"/>
                  </a:lnTo>
                  <a:lnTo>
                    <a:pt x="768" y="568"/>
                  </a:lnTo>
                  <a:lnTo>
                    <a:pt x="758" y="570"/>
                  </a:lnTo>
                  <a:lnTo>
                    <a:pt x="749" y="572"/>
                  </a:lnTo>
                  <a:lnTo>
                    <a:pt x="739" y="572"/>
                  </a:lnTo>
                  <a:lnTo>
                    <a:pt x="730" y="572"/>
                  </a:lnTo>
                  <a:lnTo>
                    <a:pt x="719" y="572"/>
                  </a:lnTo>
                  <a:lnTo>
                    <a:pt x="709" y="570"/>
                  </a:lnTo>
                  <a:lnTo>
                    <a:pt x="698" y="568"/>
                  </a:lnTo>
                  <a:lnTo>
                    <a:pt x="652" y="556"/>
                  </a:lnTo>
                  <a:lnTo>
                    <a:pt x="603" y="544"/>
                  </a:lnTo>
                  <a:lnTo>
                    <a:pt x="550" y="534"/>
                  </a:lnTo>
                  <a:lnTo>
                    <a:pt x="498" y="524"/>
                  </a:lnTo>
                  <a:lnTo>
                    <a:pt x="449" y="515"/>
                  </a:lnTo>
                  <a:lnTo>
                    <a:pt x="404" y="506"/>
                  </a:lnTo>
                  <a:lnTo>
                    <a:pt x="366" y="499"/>
                  </a:lnTo>
                  <a:lnTo>
                    <a:pt x="338" y="494"/>
                  </a:lnTo>
                  <a:lnTo>
                    <a:pt x="311" y="489"/>
                  </a:lnTo>
                  <a:lnTo>
                    <a:pt x="285" y="486"/>
                  </a:lnTo>
                  <a:lnTo>
                    <a:pt x="260" y="484"/>
                  </a:lnTo>
                  <a:lnTo>
                    <a:pt x="237" y="483"/>
                  </a:lnTo>
                  <a:lnTo>
                    <a:pt x="216" y="483"/>
                  </a:lnTo>
                  <a:lnTo>
                    <a:pt x="194" y="484"/>
                  </a:lnTo>
                  <a:lnTo>
                    <a:pt x="174" y="486"/>
                  </a:lnTo>
                  <a:lnTo>
                    <a:pt x="156" y="491"/>
                  </a:lnTo>
                  <a:lnTo>
                    <a:pt x="138" y="496"/>
                  </a:lnTo>
                  <a:lnTo>
                    <a:pt x="121" y="502"/>
                  </a:lnTo>
                  <a:lnTo>
                    <a:pt x="106" y="508"/>
                  </a:lnTo>
                  <a:lnTo>
                    <a:pt x="91" y="516"/>
                  </a:lnTo>
                  <a:lnTo>
                    <a:pt x="78" y="525"/>
                  </a:lnTo>
                  <a:lnTo>
                    <a:pt x="66" y="536"/>
                  </a:lnTo>
                  <a:lnTo>
                    <a:pt x="54" y="546"/>
                  </a:lnTo>
                  <a:lnTo>
                    <a:pt x="45" y="558"/>
                  </a:lnTo>
                  <a:lnTo>
                    <a:pt x="35" y="572"/>
                  </a:lnTo>
                  <a:lnTo>
                    <a:pt x="28" y="587"/>
                  </a:lnTo>
                  <a:lnTo>
                    <a:pt x="21" y="602"/>
                  </a:lnTo>
                  <a:lnTo>
                    <a:pt x="15" y="617"/>
                  </a:lnTo>
                  <a:lnTo>
                    <a:pt x="11" y="635"/>
                  </a:lnTo>
                  <a:lnTo>
                    <a:pt x="6" y="652"/>
                  </a:lnTo>
                  <a:lnTo>
                    <a:pt x="4" y="671"/>
                  </a:lnTo>
                  <a:lnTo>
                    <a:pt x="1" y="691"/>
                  </a:lnTo>
                  <a:lnTo>
                    <a:pt x="0" y="712"/>
                  </a:lnTo>
                  <a:lnTo>
                    <a:pt x="0" y="734"/>
                  </a:lnTo>
                  <a:lnTo>
                    <a:pt x="1" y="756"/>
                  </a:lnTo>
                  <a:lnTo>
                    <a:pt x="4" y="780"/>
                  </a:lnTo>
                  <a:lnTo>
                    <a:pt x="6" y="804"/>
                  </a:lnTo>
                  <a:lnTo>
                    <a:pt x="10" y="829"/>
                  </a:lnTo>
                  <a:lnTo>
                    <a:pt x="14" y="855"/>
                  </a:lnTo>
                  <a:lnTo>
                    <a:pt x="20" y="882"/>
                  </a:lnTo>
                  <a:lnTo>
                    <a:pt x="33" y="930"/>
                  </a:lnTo>
                  <a:lnTo>
                    <a:pt x="48" y="975"/>
                  </a:lnTo>
                  <a:lnTo>
                    <a:pt x="67" y="1019"/>
                  </a:lnTo>
                  <a:lnTo>
                    <a:pt x="88" y="1061"/>
                  </a:lnTo>
                  <a:lnTo>
                    <a:pt x="112" y="1100"/>
                  </a:lnTo>
                  <a:lnTo>
                    <a:pt x="137" y="1137"/>
                  </a:lnTo>
                  <a:lnTo>
                    <a:pt x="164" y="1173"/>
                  </a:lnTo>
                  <a:lnTo>
                    <a:pt x="192" y="1207"/>
                  </a:lnTo>
                  <a:lnTo>
                    <a:pt x="221" y="1240"/>
                  </a:lnTo>
                  <a:lnTo>
                    <a:pt x="251" y="1270"/>
                  </a:lnTo>
                  <a:lnTo>
                    <a:pt x="281" y="1299"/>
                  </a:lnTo>
                  <a:lnTo>
                    <a:pt x="312" y="1327"/>
                  </a:lnTo>
                  <a:lnTo>
                    <a:pt x="371" y="1378"/>
                  </a:lnTo>
                  <a:lnTo>
                    <a:pt x="426" y="1423"/>
                  </a:lnTo>
                  <a:lnTo>
                    <a:pt x="452" y="1446"/>
                  </a:lnTo>
                  <a:lnTo>
                    <a:pt x="476" y="1466"/>
                  </a:lnTo>
                  <a:lnTo>
                    <a:pt x="497" y="1486"/>
                  </a:lnTo>
                  <a:lnTo>
                    <a:pt x="516" y="1505"/>
                  </a:lnTo>
                  <a:lnTo>
                    <a:pt x="532" y="1522"/>
                  </a:lnTo>
                  <a:lnTo>
                    <a:pt x="545" y="1540"/>
                  </a:lnTo>
                  <a:lnTo>
                    <a:pt x="555" y="1557"/>
                  </a:lnTo>
                  <a:lnTo>
                    <a:pt x="559" y="1573"/>
                  </a:lnTo>
                  <a:lnTo>
                    <a:pt x="562" y="1588"/>
                  </a:lnTo>
                  <a:lnTo>
                    <a:pt x="558" y="1605"/>
                  </a:lnTo>
                  <a:lnTo>
                    <a:pt x="550" y="1620"/>
                  </a:lnTo>
                  <a:lnTo>
                    <a:pt x="538" y="1634"/>
                  </a:lnTo>
                  <a:lnTo>
                    <a:pt x="519" y="1649"/>
                  </a:lnTo>
                  <a:lnTo>
                    <a:pt x="496" y="1665"/>
                  </a:lnTo>
                  <a:lnTo>
                    <a:pt x="465" y="1680"/>
                  </a:lnTo>
                  <a:lnTo>
                    <a:pt x="429" y="1695"/>
                  </a:lnTo>
                  <a:lnTo>
                    <a:pt x="391" y="1713"/>
                  </a:lnTo>
                  <a:lnTo>
                    <a:pt x="358" y="1734"/>
                  </a:lnTo>
                  <a:lnTo>
                    <a:pt x="329" y="1759"/>
                  </a:lnTo>
                  <a:lnTo>
                    <a:pt x="303" y="1788"/>
                  </a:lnTo>
                  <a:lnTo>
                    <a:pt x="281" y="1819"/>
                  </a:lnTo>
                  <a:lnTo>
                    <a:pt x="264" y="1853"/>
                  </a:lnTo>
                  <a:lnTo>
                    <a:pt x="250" y="1890"/>
                  </a:lnTo>
                  <a:lnTo>
                    <a:pt x="239" y="1927"/>
                  </a:lnTo>
                  <a:lnTo>
                    <a:pt x="233" y="1967"/>
                  </a:lnTo>
                  <a:lnTo>
                    <a:pt x="230" y="2007"/>
                  </a:lnTo>
                  <a:lnTo>
                    <a:pt x="230" y="2049"/>
                  </a:lnTo>
                  <a:lnTo>
                    <a:pt x="232" y="2091"/>
                  </a:lnTo>
                  <a:lnTo>
                    <a:pt x="239" y="2132"/>
                  </a:lnTo>
                  <a:lnTo>
                    <a:pt x="249" y="2173"/>
                  </a:lnTo>
                  <a:lnTo>
                    <a:pt x="260" y="2213"/>
                  </a:lnTo>
                  <a:lnTo>
                    <a:pt x="277" y="2252"/>
                  </a:lnTo>
                  <a:lnTo>
                    <a:pt x="294" y="2290"/>
                  </a:lnTo>
                  <a:lnTo>
                    <a:pt x="316" y="2325"/>
                  </a:lnTo>
                  <a:lnTo>
                    <a:pt x="339" y="2358"/>
                  </a:lnTo>
                  <a:lnTo>
                    <a:pt x="365" y="2389"/>
                  </a:lnTo>
                  <a:lnTo>
                    <a:pt x="394" y="2416"/>
                  </a:lnTo>
                  <a:lnTo>
                    <a:pt x="425" y="2439"/>
                  </a:lnTo>
                  <a:lnTo>
                    <a:pt x="459" y="2459"/>
                  </a:lnTo>
                  <a:lnTo>
                    <a:pt x="495" y="2476"/>
                  </a:lnTo>
                  <a:lnTo>
                    <a:pt x="532" y="2486"/>
                  </a:lnTo>
                  <a:lnTo>
                    <a:pt x="572" y="2492"/>
                  </a:lnTo>
                  <a:lnTo>
                    <a:pt x="615" y="2494"/>
                  </a:lnTo>
                  <a:lnTo>
                    <a:pt x="658" y="2489"/>
                  </a:lnTo>
                  <a:lnTo>
                    <a:pt x="704" y="2477"/>
                  </a:lnTo>
                  <a:lnTo>
                    <a:pt x="751" y="2459"/>
                  </a:lnTo>
                  <a:lnTo>
                    <a:pt x="801" y="2436"/>
                  </a:lnTo>
                  <a:lnTo>
                    <a:pt x="851" y="2404"/>
                  </a:lnTo>
                  <a:lnTo>
                    <a:pt x="901" y="2370"/>
                  </a:lnTo>
                  <a:lnTo>
                    <a:pt x="947" y="2340"/>
                  </a:lnTo>
                  <a:lnTo>
                    <a:pt x="990" y="2315"/>
                  </a:lnTo>
                  <a:lnTo>
                    <a:pt x="1031" y="2292"/>
                  </a:lnTo>
                  <a:lnTo>
                    <a:pt x="1069" y="2273"/>
                  </a:lnTo>
                  <a:lnTo>
                    <a:pt x="1106" y="2257"/>
                  </a:lnTo>
                  <a:lnTo>
                    <a:pt x="1140" y="2244"/>
                  </a:lnTo>
                  <a:lnTo>
                    <a:pt x="1171" y="2235"/>
                  </a:lnTo>
                  <a:lnTo>
                    <a:pt x="1201" y="2227"/>
                  </a:lnTo>
                  <a:lnTo>
                    <a:pt x="1230" y="2223"/>
                  </a:lnTo>
                  <a:lnTo>
                    <a:pt x="1257" y="2220"/>
                  </a:lnTo>
                  <a:lnTo>
                    <a:pt x="1283" y="2220"/>
                  </a:lnTo>
                  <a:lnTo>
                    <a:pt x="1309" y="2223"/>
                  </a:lnTo>
                  <a:lnTo>
                    <a:pt x="1333" y="2227"/>
                  </a:lnTo>
                  <a:lnTo>
                    <a:pt x="1357" y="2233"/>
                  </a:lnTo>
                  <a:lnTo>
                    <a:pt x="1381" y="2242"/>
                  </a:lnTo>
                  <a:lnTo>
                    <a:pt x="1405" y="2251"/>
                  </a:lnTo>
                  <a:lnTo>
                    <a:pt x="1429" y="2263"/>
                  </a:lnTo>
                  <a:lnTo>
                    <a:pt x="1453" y="2275"/>
                  </a:lnTo>
                  <a:lnTo>
                    <a:pt x="1478" y="2289"/>
                  </a:lnTo>
                  <a:lnTo>
                    <a:pt x="1529" y="2318"/>
                  </a:lnTo>
                  <a:lnTo>
                    <a:pt x="1586" y="2351"/>
                  </a:lnTo>
                  <a:lnTo>
                    <a:pt x="1616" y="2368"/>
                  </a:lnTo>
                  <a:lnTo>
                    <a:pt x="1648" y="2385"/>
                  </a:lnTo>
                  <a:lnTo>
                    <a:pt x="1682" y="2402"/>
                  </a:lnTo>
                  <a:lnTo>
                    <a:pt x="1718" y="2419"/>
                  </a:lnTo>
                  <a:lnTo>
                    <a:pt x="1757" y="2436"/>
                  </a:lnTo>
                  <a:lnTo>
                    <a:pt x="1798" y="2452"/>
                  </a:lnTo>
                  <a:lnTo>
                    <a:pt x="1841" y="2469"/>
                  </a:lnTo>
                  <a:lnTo>
                    <a:pt x="1888" y="2484"/>
                  </a:lnTo>
                  <a:lnTo>
                    <a:pt x="1937" y="2498"/>
                  </a:lnTo>
                  <a:lnTo>
                    <a:pt x="1987" y="2511"/>
                  </a:lnTo>
                  <a:lnTo>
                    <a:pt x="2038" y="2522"/>
                  </a:lnTo>
                  <a:lnTo>
                    <a:pt x="2089" y="2530"/>
                  </a:lnTo>
                  <a:lnTo>
                    <a:pt x="2140" y="2537"/>
                  </a:lnTo>
                  <a:lnTo>
                    <a:pt x="2192" y="2543"/>
                  </a:lnTo>
                  <a:lnTo>
                    <a:pt x="2243" y="2545"/>
                  </a:lnTo>
                  <a:lnTo>
                    <a:pt x="2293" y="2547"/>
                  </a:lnTo>
                  <a:lnTo>
                    <a:pt x="2344" y="2547"/>
                  </a:lnTo>
                  <a:lnTo>
                    <a:pt x="2392" y="2543"/>
                  </a:lnTo>
                  <a:lnTo>
                    <a:pt x="2439" y="2538"/>
                  </a:lnTo>
                  <a:lnTo>
                    <a:pt x="2485" y="2531"/>
                  </a:lnTo>
                  <a:lnTo>
                    <a:pt x="2529" y="2523"/>
                  </a:lnTo>
                  <a:lnTo>
                    <a:pt x="2571" y="2511"/>
                  </a:lnTo>
                  <a:lnTo>
                    <a:pt x="2610" y="2498"/>
                  </a:lnTo>
                  <a:lnTo>
                    <a:pt x="2647" y="2482"/>
                  </a:lnTo>
                  <a:lnTo>
                    <a:pt x="2681" y="2464"/>
                  </a:lnTo>
                  <a:lnTo>
                    <a:pt x="2710" y="2444"/>
                  </a:lnTo>
                  <a:lnTo>
                    <a:pt x="2737" y="2423"/>
                  </a:lnTo>
                  <a:lnTo>
                    <a:pt x="2761" y="2398"/>
                  </a:lnTo>
                  <a:lnTo>
                    <a:pt x="2780" y="2371"/>
                  </a:lnTo>
                  <a:lnTo>
                    <a:pt x="2795" y="2342"/>
                  </a:lnTo>
                  <a:lnTo>
                    <a:pt x="2806" y="2310"/>
                  </a:lnTo>
                  <a:lnTo>
                    <a:pt x="2810" y="2276"/>
                  </a:lnTo>
                  <a:lnTo>
                    <a:pt x="2811" y="2239"/>
                  </a:lnTo>
                  <a:lnTo>
                    <a:pt x="2806" y="2200"/>
                  </a:lnTo>
                  <a:lnTo>
                    <a:pt x="2795" y="2159"/>
                  </a:lnTo>
                  <a:lnTo>
                    <a:pt x="2778" y="2114"/>
                  </a:lnTo>
                  <a:lnTo>
                    <a:pt x="2756" y="2069"/>
                  </a:lnTo>
                  <a:lnTo>
                    <a:pt x="2727" y="2019"/>
                  </a:lnTo>
                  <a:lnTo>
                    <a:pt x="2691" y="1967"/>
                  </a:lnTo>
                  <a:lnTo>
                    <a:pt x="2649" y="1912"/>
                  </a:lnTo>
                  <a:close/>
                </a:path>
              </a:pathLst>
            </a:custGeom>
            <a:solidFill>
              <a:srgbClr val="EEC21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6653" tIns="58327" rIns="116653" bIns="58327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434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137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14" name="Freeform 84"/>
            <p:cNvSpPr>
              <a:spLocks noEditPoints="1"/>
            </p:cNvSpPr>
            <p:nvPr/>
          </p:nvSpPr>
          <p:spPr bwMode="auto">
            <a:xfrm>
              <a:off x="1859" y="1959"/>
              <a:ext cx="723" cy="657"/>
            </a:xfrm>
            <a:custGeom>
              <a:avLst/>
              <a:gdLst>
                <a:gd name="T0" fmla="*/ 2700 w 2889"/>
                <a:gd name="T1" fmla="*/ 2472 h 2626"/>
                <a:gd name="T2" fmla="*/ 2373 w 2889"/>
                <a:gd name="T3" fmla="*/ 2546 h 2626"/>
                <a:gd name="T4" fmla="*/ 1917 w 2889"/>
                <a:gd name="T5" fmla="*/ 2475 h 2626"/>
                <a:gd name="T6" fmla="*/ 1405 w 2889"/>
                <a:gd name="T7" fmla="*/ 2236 h 2626"/>
                <a:gd name="T8" fmla="*/ 1196 w 2889"/>
                <a:gd name="T9" fmla="*/ 2235 h 2626"/>
                <a:gd name="T10" fmla="*/ 805 w 2889"/>
                <a:gd name="T11" fmla="*/ 2445 h 2626"/>
                <a:gd name="T12" fmla="*/ 534 w 2889"/>
                <a:gd name="T13" fmla="*/ 2466 h 2626"/>
                <a:gd name="T14" fmla="*/ 359 w 2889"/>
                <a:gd name="T15" fmla="*/ 2289 h 2626"/>
                <a:gd name="T16" fmla="*/ 310 w 2889"/>
                <a:gd name="T17" fmla="*/ 2057 h 2626"/>
                <a:gd name="T18" fmla="*/ 377 w 2889"/>
                <a:gd name="T19" fmla="*/ 1850 h 2626"/>
                <a:gd name="T20" fmla="*/ 618 w 2889"/>
                <a:gd name="T21" fmla="*/ 1691 h 2626"/>
                <a:gd name="T22" fmla="*/ 625 w 2889"/>
                <a:gd name="T23" fmla="*/ 1562 h 2626"/>
                <a:gd name="T24" fmla="*/ 317 w 2889"/>
                <a:gd name="T25" fmla="*/ 1273 h 2626"/>
                <a:gd name="T26" fmla="*/ 141 w 2889"/>
                <a:gd name="T27" fmla="*/ 1012 h 2626"/>
                <a:gd name="T28" fmla="*/ 81 w 2889"/>
                <a:gd name="T29" fmla="*/ 695 h 2626"/>
                <a:gd name="T30" fmla="*/ 296 w 2889"/>
                <a:gd name="T31" fmla="*/ 556 h 2626"/>
                <a:gd name="T32" fmla="*/ 698 w 2889"/>
                <a:gd name="T33" fmla="*/ 636 h 2626"/>
                <a:gd name="T34" fmla="*/ 887 w 2889"/>
                <a:gd name="T35" fmla="*/ 605 h 2626"/>
                <a:gd name="T36" fmla="*/ 1077 w 2889"/>
                <a:gd name="T37" fmla="*/ 337 h 2626"/>
                <a:gd name="T38" fmla="*/ 1316 w 2889"/>
                <a:gd name="T39" fmla="*/ 111 h 2626"/>
                <a:gd name="T40" fmla="*/ 1561 w 2889"/>
                <a:gd name="T41" fmla="*/ 127 h 2626"/>
                <a:gd name="T42" fmla="*/ 1870 w 2889"/>
                <a:gd name="T43" fmla="*/ 467 h 2626"/>
                <a:gd name="T44" fmla="*/ 2110 w 2889"/>
                <a:gd name="T45" fmla="*/ 508 h 2626"/>
                <a:gd name="T46" fmla="*/ 2494 w 2889"/>
                <a:gd name="T47" fmla="*/ 412 h 2626"/>
                <a:gd name="T48" fmla="*/ 2714 w 2889"/>
                <a:gd name="T49" fmla="*/ 518 h 2626"/>
                <a:gd name="T50" fmla="*/ 2763 w 2889"/>
                <a:gd name="T51" fmla="*/ 774 h 2626"/>
                <a:gd name="T52" fmla="*/ 2672 w 2889"/>
                <a:gd name="T53" fmla="*/ 1125 h 2626"/>
                <a:gd name="T54" fmla="*/ 2451 w 2889"/>
                <a:gd name="T55" fmla="*/ 1493 h 2626"/>
                <a:gd name="T56" fmla="*/ 2482 w 2889"/>
                <a:gd name="T57" fmla="*/ 1709 h 2626"/>
                <a:gd name="T58" fmla="*/ 2768 w 2889"/>
                <a:gd name="T59" fmla="*/ 2129 h 2626"/>
                <a:gd name="T60" fmla="*/ 2806 w 2889"/>
                <a:gd name="T61" fmla="*/ 2347 h 2626"/>
                <a:gd name="T62" fmla="*/ 2541 w 2889"/>
                <a:gd name="T63" fmla="*/ 1639 h 2626"/>
                <a:gd name="T64" fmla="*/ 2558 w 2889"/>
                <a:gd name="T65" fmla="*/ 1430 h 2626"/>
                <a:gd name="T66" fmla="*/ 2787 w 2889"/>
                <a:gd name="T67" fmla="*/ 1059 h 2626"/>
                <a:gd name="T68" fmla="*/ 2830 w 2889"/>
                <a:gd name="T69" fmla="*/ 605 h 2626"/>
                <a:gd name="T70" fmla="*/ 2758 w 2889"/>
                <a:gd name="T71" fmla="*/ 443 h 2626"/>
                <a:gd name="T72" fmla="*/ 2619 w 2889"/>
                <a:gd name="T73" fmla="*/ 349 h 2626"/>
                <a:gd name="T74" fmla="*/ 2363 w 2889"/>
                <a:gd name="T75" fmla="*/ 347 h 2626"/>
                <a:gd name="T76" fmla="*/ 2003 w 2889"/>
                <a:gd name="T77" fmla="*/ 442 h 2626"/>
                <a:gd name="T78" fmla="*/ 1787 w 2889"/>
                <a:gd name="T79" fmla="*/ 288 h 2626"/>
                <a:gd name="T80" fmla="*/ 1462 w 2889"/>
                <a:gd name="T81" fmla="*/ 2 h 2626"/>
                <a:gd name="T82" fmla="*/ 1180 w 2889"/>
                <a:gd name="T83" fmla="*/ 110 h 2626"/>
                <a:gd name="T84" fmla="*/ 933 w 2889"/>
                <a:gd name="T85" fmla="*/ 413 h 2626"/>
                <a:gd name="T86" fmla="*/ 789 w 2889"/>
                <a:gd name="T87" fmla="*/ 562 h 2626"/>
                <a:gd name="T88" fmla="*/ 367 w 2889"/>
                <a:gd name="T89" fmla="*/ 480 h 2626"/>
                <a:gd name="T90" fmla="*/ 127 w 2889"/>
                <a:gd name="T91" fmla="*/ 509 h 2626"/>
                <a:gd name="T92" fmla="*/ 5 w 2889"/>
                <a:gd name="T93" fmla="*/ 696 h 2626"/>
                <a:gd name="T94" fmla="*/ 24 w 2889"/>
                <a:gd name="T95" fmla="*/ 939 h 2626"/>
                <a:gd name="T96" fmla="*/ 260 w 2889"/>
                <a:gd name="T97" fmla="*/ 1324 h 2626"/>
                <a:gd name="T98" fmla="*/ 558 w 2889"/>
                <a:gd name="T99" fmla="*/ 1615 h 2626"/>
                <a:gd name="T100" fmla="*/ 455 w 2889"/>
                <a:gd name="T101" fmla="*/ 1696 h 2626"/>
                <a:gd name="T102" fmla="*/ 312 w 2889"/>
                <a:gd name="T103" fmla="*/ 1805 h 2626"/>
                <a:gd name="T104" fmla="*/ 233 w 2889"/>
                <a:gd name="T105" fmla="*/ 2044 h 2626"/>
                <a:gd name="T106" fmla="*/ 343 w 2889"/>
                <a:gd name="T107" fmla="*/ 2410 h 2626"/>
                <a:gd name="T108" fmla="*/ 565 w 2889"/>
                <a:gd name="T109" fmla="*/ 2558 h 2626"/>
                <a:gd name="T110" fmla="*/ 764 w 2889"/>
                <a:gd name="T111" fmla="*/ 2552 h 2626"/>
                <a:gd name="T112" fmla="*/ 1143 w 2889"/>
                <a:gd name="T113" fmla="*/ 2340 h 2626"/>
                <a:gd name="T114" fmla="*/ 1420 w 2889"/>
                <a:gd name="T115" fmla="*/ 2320 h 2626"/>
                <a:gd name="T116" fmla="*/ 1880 w 2889"/>
                <a:gd name="T117" fmla="*/ 2545 h 2626"/>
                <a:gd name="T118" fmla="*/ 2422 w 2889"/>
                <a:gd name="T119" fmla="*/ 2624 h 2626"/>
                <a:gd name="T120" fmla="*/ 2747 w 2889"/>
                <a:gd name="T121" fmla="*/ 2533 h 2626"/>
                <a:gd name="T122" fmla="*/ 2889 w 2889"/>
                <a:gd name="T123" fmla="*/ 2321 h 2626"/>
                <a:gd name="T124" fmla="*/ 2821 w 2889"/>
                <a:gd name="T125" fmla="*/ 2073 h 26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889" h="2626">
                  <a:moveTo>
                    <a:pt x="2803" y="2360"/>
                  </a:moveTo>
                  <a:lnTo>
                    <a:pt x="2799" y="2370"/>
                  </a:lnTo>
                  <a:lnTo>
                    <a:pt x="2794" y="2381"/>
                  </a:lnTo>
                  <a:lnTo>
                    <a:pt x="2788" y="2390"/>
                  </a:lnTo>
                  <a:lnTo>
                    <a:pt x="2783" y="2400"/>
                  </a:lnTo>
                  <a:lnTo>
                    <a:pt x="2777" y="2409"/>
                  </a:lnTo>
                  <a:lnTo>
                    <a:pt x="2770" y="2418"/>
                  </a:lnTo>
                  <a:lnTo>
                    <a:pt x="2763" y="2426"/>
                  </a:lnTo>
                  <a:lnTo>
                    <a:pt x="2754" y="2433"/>
                  </a:lnTo>
                  <a:lnTo>
                    <a:pt x="2738" y="2447"/>
                  </a:lnTo>
                  <a:lnTo>
                    <a:pt x="2719" y="2460"/>
                  </a:lnTo>
                  <a:lnTo>
                    <a:pt x="2700" y="2472"/>
                  </a:lnTo>
                  <a:lnTo>
                    <a:pt x="2679" y="2482"/>
                  </a:lnTo>
                  <a:lnTo>
                    <a:pt x="2658" y="2492"/>
                  </a:lnTo>
                  <a:lnTo>
                    <a:pt x="2635" y="2500"/>
                  </a:lnTo>
                  <a:lnTo>
                    <a:pt x="2613" y="2507"/>
                  </a:lnTo>
                  <a:lnTo>
                    <a:pt x="2592" y="2513"/>
                  </a:lnTo>
                  <a:lnTo>
                    <a:pt x="2548" y="2523"/>
                  </a:lnTo>
                  <a:lnTo>
                    <a:pt x="2507" y="2532"/>
                  </a:lnTo>
                  <a:lnTo>
                    <a:pt x="2480" y="2536"/>
                  </a:lnTo>
                  <a:lnTo>
                    <a:pt x="2454" y="2540"/>
                  </a:lnTo>
                  <a:lnTo>
                    <a:pt x="2427" y="2542"/>
                  </a:lnTo>
                  <a:lnTo>
                    <a:pt x="2400" y="2545"/>
                  </a:lnTo>
                  <a:lnTo>
                    <a:pt x="2373" y="2546"/>
                  </a:lnTo>
                  <a:lnTo>
                    <a:pt x="2346" y="2547"/>
                  </a:lnTo>
                  <a:lnTo>
                    <a:pt x="2319" y="2547"/>
                  </a:lnTo>
                  <a:lnTo>
                    <a:pt x="2292" y="2546"/>
                  </a:lnTo>
                  <a:lnTo>
                    <a:pt x="2265" y="2545"/>
                  </a:lnTo>
                  <a:lnTo>
                    <a:pt x="2238" y="2543"/>
                  </a:lnTo>
                  <a:lnTo>
                    <a:pt x="2210" y="2541"/>
                  </a:lnTo>
                  <a:lnTo>
                    <a:pt x="2183" y="2538"/>
                  </a:lnTo>
                  <a:lnTo>
                    <a:pt x="2129" y="2529"/>
                  </a:lnTo>
                  <a:lnTo>
                    <a:pt x="2075" y="2519"/>
                  </a:lnTo>
                  <a:lnTo>
                    <a:pt x="2022" y="2506"/>
                  </a:lnTo>
                  <a:lnTo>
                    <a:pt x="1969" y="2492"/>
                  </a:lnTo>
                  <a:lnTo>
                    <a:pt x="1917" y="2475"/>
                  </a:lnTo>
                  <a:lnTo>
                    <a:pt x="1865" y="2456"/>
                  </a:lnTo>
                  <a:lnTo>
                    <a:pt x="1815" y="2436"/>
                  </a:lnTo>
                  <a:lnTo>
                    <a:pt x="1765" y="2414"/>
                  </a:lnTo>
                  <a:lnTo>
                    <a:pt x="1717" y="2390"/>
                  </a:lnTo>
                  <a:lnTo>
                    <a:pt x="1670" y="2366"/>
                  </a:lnTo>
                  <a:lnTo>
                    <a:pt x="1610" y="2333"/>
                  </a:lnTo>
                  <a:lnTo>
                    <a:pt x="1552" y="2300"/>
                  </a:lnTo>
                  <a:lnTo>
                    <a:pt x="1523" y="2285"/>
                  </a:lnTo>
                  <a:lnTo>
                    <a:pt x="1493" y="2270"/>
                  </a:lnTo>
                  <a:lnTo>
                    <a:pt x="1464" y="2257"/>
                  </a:lnTo>
                  <a:lnTo>
                    <a:pt x="1435" y="2246"/>
                  </a:lnTo>
                  <a:lnTo>
                    <a:pt x="1405" y="2236"/>
                  </a:lnTo>
                  <a:lnTo>
                    <a:pt x="1375" y="2228"/>
                  </a:lnTo>
                  <a:lnTo>
                    <a:pt x="1359" y="2226"/>
                  </a:lnTo>
                  <a:lnTo>
                    <a:pt x="1344" y="2223"/>
                  </a:lnTo>
                  <a:lnTo>
                    <a:pt x="1327" y="2221"/>
                  </a:lnTo>
                  <a:lnTo>
                    <a:pt x="1312" y="2221"/>
                  </a:lnTo>
                  <a:lnTo>
                    <a:pt x="1296" y="2220"/>
                  </a:lnTo>
                  <a:lnTo>
                    <a:pt x="1279" y="2221"/>
                  </a:lnTo>
                  <a:lnTo>
                    <a:pt x="1263" y="2222"/>
                  </a:lnTo>
                  <a:lnTo>
                    <a:pt x="1246" y="2224"/>
                  </a:lnTo>
                  <a:lnTo>
                    <a:pt x="1230" y="2227"/>
                  </a:lnTo>
                  <a:lnTo>
                    <a:pt x="1212" y="2230"/>
                  </a:lnTo>
                  <a:lnTo>
                    <a:pt x="1196" y="2235"/>
                  </a:lnTo>
                  <a:lnTo>
                    <a:pt x="1178" y="2241"/>
                  </a:lnTo>
                  <a:lnTo>
                    <a:pt x="1156" y="2249"/>
                  </a:lnTo>
                  <a:lnTo>
                    <a:pt x="1134" y="2259"/>
                  </a:lnTo>
                  <a:lnTo>
                    <a:pt x="1113" y="2269"/>
                  </a:lnTo>
                  <a:lnTo>
                    <a:pt x="1091" y="2280"/>
                  </a:lnTo>
                  <a:lnTo>
                    <a:pt x="1048" y="2305"/>
                  </a:lnTo>
                  <a:lnTo>
                    <a:pt x="1004" y="2330"/>
                  </a:lnTo>
                  <a:lnTo>
                    <a:pt x="960" y="2357"/>
                  </a:lnTo>
                  <a:lnTo>
                    <a:pt x="917" y="2385"/>
                  </a:lnTo>
                  <a:lnTo>
                    <a:pt x="872" y="2410"/>
                  </a:lnTo>
                  <a:lnTo>
                    <a:pt x="827" y="2434"/>
                  </a:lnTo>
                  <a:lnTo>
                    <a:pt x="805" y="2445"/>
                  </a:lnTo>
                  <a:lnTo>
                    <a:pt x="782" y="2455"/>
                  </a:lnTo>
                  <a:lnTo>
                    <a:pt x="760" y="2463"/>
                  </a:lnTo>
                  <a:lnTo>
                    <a:pt x="738" y="2472"/>
                  </a:lnTo>
                  <a:lnTo>
                    <a:pt x="715" y="2478"/>
                  </a:lnTo>
                  <a:lnTo>
                    <a:pt x="693" y="2482"/>
                  </a:lnTo>
                  <a:lnTo>
                    <a:pt x="671" y="2486"/>
                  </a:lnTo>
                  <a:lnTo>
                    <a:pt x="648" y="2487"/>
                  </a:lnTo>
                  <a:lnTo>
                    <a:pt x="625" y="2487"/>
                  </a:lnTo>
                  <a:lnTo>
                    <a:pt x="602" y="2485"/>
                  </a:lnTo>
                  <a:lnTo>
                    <a:pt x="580" y="2481"/>
                  </a:lnTo>
                  <a:lnTo>
                    <a:pt x="556" y="2474"/>
                  </a:lnTo>
                  <a:lnTo>
                    <a:pt x="534" y="2466"/>
                  </a:lnTo>
                  <a:lnTo>
                    <a:pt x="510" y="2454"/>
                  </a:lnTo>
                  <a:lnTo>
                    <a:pt x="488" y="2441"/>
                  </a:lnTo>
                  <a:lnTo>
                    <a:pt x="465" y="2425"/>
                  </a:lnTo>
                  <a:lnTo>
                    <a:pt x="450" y="2412"/>
                  </a:lnTo>
                  <a:lnTo>
                    <a:pt x="436" y="2400"/>
                  </a:lnTo>
                  <a:lnTo>
                    <a:pt x="423" y="2386"/>
                  </a:lnTo>
                  <a:lnTo>
                    <a:pt x="410" y="2372"/>
                  </a:lnTo>
                  <a:lnTo>
                    <a:pt x="399" y="2356"/>
                  </a:lnTo>
                  <a:lnTo>
                    <a:pt x="388" y="2341"/>
                  </a:lnTo>
                  <a:lnTo>
                    <a:pt x="377" y="2325"/>
                  </a:lnTo>
                  <a:lnTo>
                    <a:pt x="368" y="2307"/>
                  </a:lnTo>
                  <a:lnTo>
                    <a:pt x="359" y="2289"/>
                  </a:lnTo>
                  <a:lnTo>
                    <a:pt x="350" y="2272"/>
                  </a:lnTo>
                  <a:lnTo>
                    <a:pt x="343" y="2254"/>
                  </a:lnTo>
                  <a:lnTo>
                    <a:pt x="336" y="2235"/>
                  </a:lnTo>
                  <a:lnTo>
                    <a:pt x="330" y="2215"/>
                  </a:lnTo>
                  <a:lnTo>
                    <a:pt x="326" y="2196"/>
                  </a:lnTo>
                  <a:lnTo>
                    <a:pt x="321" y="2176"/>
                  </a:lnTo>
                  <a:lnTo>
                    <a:pt x="317" y="2157"/>
                  </a:lnTo>
                  <a:lnTo>
                    <a:pt x="314" y="2137"/>
                  </a:lnTo>
                  <a:lnTo>
                    <a:pt x="313" y="2117"/>
                  </a:lnTo>
                  <a:lnTo>
                    <a:pt x="312" y="2097"/>
                  </a:lnTo>
                  <a:lnTo>
                    <a:pt x="310" y="2077"/>
                  </a:lnTo>
                  <a:lnTo>
                    <a:pt x="310" y="2057"/>
                  </a:lnTo>
                  <a:lnTo>
                    <a:pt x="312" y="2037"/>
                  </a:lnTo>
                  <a:lnTo>
                    <a:pt x="314" y="2018"/>
                  </a:lnTo>
                  <a:lnTo>
                    <a:pt x="317" y="1998"/>
                  </a:lnTo>
                  <a:lnTo>
                    <a:pt x="321" y="1980"/>
                  </a:lnTo>
                  <a:lnTo>
                    <a:pt x="326" y="1961"/>
                  </a:lnTo>
                  <a:lnTo>
                    <a:pt x="330" y="1943"/>
                  </a:lnTo>
                  <a:lnTo>
                    <a:pt x="337" y="1924"/>
                  </a:lnTo>
                  <a:lnTo>
                    <a:pt x="344" y="1907"/>
                  </a:lnTo>
                  <a:lnTo>
                    <a:pt x="352" y="1890"/>
                  </a:lnTo>
                  <a:lnTo>
                    <a:pt x="361" y="1874"/>
                  </a:lnTo>
                  <a:lnTo>
                    <a:pt x="370" y="1857"/>
                  </a:lnTo>
                  <a:lnTo>
                    <a:pt x="377" y="1850"/>
                  </a:lnTo>
                  <a:lnTo>
                    <a:pt x="385" y="1842"/>
                  </a:lnTo>
                  <a:lnTo>
                    <a:pt x="393" y="1834"/>
                  </a:lnTo>
                  <a:lnTo>
                    <a:pt x="401" y="1827"/>
                  </a:lnTo>
                  <a:lnTo>
                    <a:pt x="421" y="1812"/>
                  </a:lnTo>
                  <a:lnTo>
                    <a:pt x="445" y="1800"/>
                  </a:lnTo>
                  <a:lnTo>
                    <a:pt x="494" y="1772"/>
                  </a:lnTo>
                  <a:lnTo>
                    <a:pt x="545" y="1745"/>
                  </a:lnTo>
                  <a:lnTo>
                    <a:pt x="568" y="1731"/>
                  </a:lnTo>
                  <a:lnTo>
                    <a:pt x="591" y="1716"/>
                  </a:lnTo>
                  <a:lnTo>
                    <a:pt x="600" y="1708"/>
                  </a:lnTo>
                  <a:lnTo>
                    <a:pt x="609" y="1699"/>
                  </a:lnTo>
                  <a:lnTo>
                    <a:pt x="618" y="1691"/>
                  </a:lnTo>
                  <a:lnTo>
                    <a:pt x="625" y="1682"/>
                  </a:lnTo>
                  <a:lnTo>
                    <a:pt x="632" y="1672"/>
                  </a:lnTo>
                  <a:lnTo>
                    <a:pt x="636" y="1662"/>
                  </a:lnTo>
                  <a:lnTo>
                    <a:pt x="640" y="1651"/>
                  </a:lnTo>
                  <a:lnTo>
                    <a:pt x="642" y="1641"/>
                  </a:lnTo>
                  <a:lnTo>
                    <a:pt x="644" y="1629"/>
                  </a:lnTo>
                  <a:lnTo>
                    <a:pt x="644" y="1616"/>
                  </a:lnTo>
                  <a:lnTo>
                    <a:pt x="641" y="1604"/>
                  </a:lnTo>
                  <a:lnTo>
                    <a:pt x="638" y="1590"/>
                  </a:lnTo>
                  <a:lnTo>
                    <a:pt x="634" y="1581"/>
                  </a:lnTo>
                  <a:lnTo>
                    <a:pt x="629" y="1571"/>
                  </a:lnTo>
                  <a:lnTo>
                    <a:pt x="625" y="1562"/>
                  </a:lnTo>
                  <a:lnTo>
                    <a:pt x="620" y="1552"/>
                  </a:lnTo>
                  <a:lnTo>
                    <a:pt x="607" y="1536"/>
                  </a:lnTo>
                  <a:lnTo>
                    <a:pt x="593" y="1519"/>
                  </a:lnTo>
                  <a:lnTo>
                    <a:pt x="562" y="1490"/>
                  </a:lnTo>
                  <a:lnTo>
                    <a:pt x="532" y="1462"/>
                  </a:lnTo>
                  <a:lnTo>
                    <a:pt x="500" y="1435"/>
                  </a:lnTo>
                  <a:lnTo>
                    <a:pt x="469" y="1409"/>
                  </a:lnTo>
                  <a:lnTo>
                    <a:pt x="439" y="1382"/>
                  </a:lnTo>
                  <a:lnTo>
                    <a:pt x="407" y="1356"/>
                  </a:lnTo>
                  <a:lnTo>
                    <a:pt x="376" y="1329"/>
                  </a:lnTo>
                  <a:lnTo>
                    <a:pt x="347" y="1302"/>
                  </a:lnTo>
                  <a:lnTo>
                    <a:pt x="317" y="1273"/>
                  </a:lnTo>
                  <a:lnTo>
                    <a:pt x="288" y="1244"/>
                  </a:lnTo>
                  <a:lnTo>
                    <a:pt x="276" y="1231"/>
                  </a:lnTo>
                  <a:lnTo>
                    <a:pt x="263" y="1214"/>
                  </a:lnTo>
                  <a:lnTo>
                    <a:pt x="249" y="1198"/>
                  </a:lnTo>
                  <a:lnTo>
                    <a:pt x="236" y="1178"/>
                  </a:lnTo>
                  <a:lnTo>
                    <a:pt x="222" y="1158"/>
                  </a:lnTo>
                  <a:lnTo>
                    <a:pt x="208" y="1136"/>
                  </a:lnTo>
                  <a:lnTo>
                    <a:pt x="194" y="1113"/>
                  </a:lnTo>
                  <a:lnTo>
                    <a:pt x="180" y="1088"/>
                  </a:lnTo>
                  <a:lnTo>
                    <a:pt x="167" y="1064"/>
                  </a:lnTo>
                  <a:lnTo>
                    <a:pt x="154" y="1038"/>
                  </a:lnTo>
                  <a:lnTo>
                    <a:pt x="141" y="1012"/>
                  </a:lnTo>
                  <a:lnTo>
                    <a:pt x="129" y="985"/>
                  </a:lnTo>
                  <a:lnTo>
                    <a:pt x="118" y="957"/>
                  </a:lnTo>
                  <a:lnTo>
                    <a:pt x="108" y="930"/>
                  </a:lnTo>
                  <a:lnTo>
                    <a:pt x="100" y="901"/>
                  </a:lnTo>
                  <a:lnTo>
                    <a:pt x="91" y="874"/>
                  </a:lnTo>
                  <a:lnTo>
                    <a:pt x="85" y="847"/>
                  </a:lnTo>
                  <a:lnTo>
                    <a:pt x="80" y="820"/>
                  </a:lnTo>
                  <a:lnTo>
                    <a:pt x="76" y="793"/>
                  </a:lnTo>
                  <a:lnTo>
                    <a:pt x="75" y="768"/>
                  </a:lnTo>
                  <a:lnTo>
                    <a:pt x="75" y="742"/>
                  </a:lnTo>
                  <a:lnTo>
                    <a:pt x="77" y="719"/>
                  </a:lnTo>
                  <a:lnTo>
                    <a:pt x="81" y="695"/>
                  </a:lnTo>
                  <a:lnTo>
                    <a:pt x="87" y="674"/>
                  </a:lnTo>
                  <a:lnTo>
                    <a:pt x="96" y="654"/>
                  </a:lnTo>
                  <a:lnTo>
                    <a:pt x="107" y="635"/>
                  </a:lnTo>
                  <a:lnTo>
                    <a:pt x="120" y="618"/>
                  </a:lnTo>
                  <a:lnTo>
                    <a:pt x="136" y="602"/>
                  </a:lnTo>
                  <a:lnTo>
                    <a:pt x="155" y="589"/>
                  </a:lnTo>
                  <a:lnTo>
                    <a:pt x="177" y="578"/>
                  </a:lnTo>
                  <a:lnTo>
                    <a:pt x="202" y="568"/>
                  </a:lnTo>
                  <a:lnTo>
                    <a:pt x="230" y="562"/>
                  </a:lnTo>
                  <a:lnTo>
                    <a:pt x="253" y="559"/>
                  </a:lnTo>
                  <a:lnTo>
                    <a:pt x="274" y="558"/>
                  </a:lnTo>
                  <a:lnTo>
                    <a:pt x="296" y="556"/>
                  </a:lnTo>
                  <a:lnTo>
                    <a:pt x="320" y="558"/>
                  </a:lnTo>
                  <a:lnTo>
                    <a:pt x="343" y="560"/>
                  </a:lnTo>
                  <a:lnTo>
                    <a:pt x="367" y="562"/>
                  </a:lnTo>
                  <a:lnTo>
                    <a:pt x="390" y="566"/>
                  </a:lnTo>
                  <a:lnTo>
                    <a:pt x="414" y="571"/>
                  </a:lnTo>
                  <a:lnTo>
                    <a:pt x="461" y="581"/>
                  </a:lnTo>
                  <a:lnTo>
                    <a:pt x="508" y="592"/>
                  </a:lnTo>
                  <a:lnTo>
                    <a:pt x="553" y="602"/>
                  </a:lnTo>
                  <a:lnTo>
                    <a:pt x="595" y="611"/>
                  </a:lnTo>
                  <a:lnTo>
                    <a:pt x="628" y="619"/>
                  </a:lnTo>
                  <a:lnTo>
                    <a:pt x="662" y="628"/>
                  </a:lnTo>
                  <a:lnTo>
                    <a:pt x="698" y="636"/>
                  </a:lnTo>
                  <a:lnTo>
                    <a:pt x="734" y="645"/>
                  </a:lnTo>
                  <a:lnTo>
                    <a:pt x="752" y="647"/>
                  </a:lnTo>
                  <a:lnTo>
                    <a:pt x="769" y="648"/>
                  </a:lnTo>
                  <a:lnTo>
                    <a:pt x="787" y="648"/>
                  </a:lnTo>
                  <a:lnTo>
                    <a:pt x="805" y="646"/>
                  </a:lnTo>
                  <a:lnTo>
                    <a:pt x="821" y="642"/>
                  </a:lnTo>
                  <a:lnTo>
                    <a:pt x="838" y="638"/>
                  </a:lnTo>
                  <a:lnTo>
                    <a:pt x="846" y="634"/>
                  </a:lnTo>
                  <a:lnTo>
                    <a:pt x="853" y="631"/>
                  </a:lnTo>
                  <a:lnTo>
                    <a:pt x="861" y="626"/>
                  </a:lnTo>
                  <a:lnTo>
                    <a:pt x="868" y="620"/>
                  </a:lnTo>
                  <a:lnTo>
                    <a:pt x="887" y="605"/>
                  </a:lnTo>
                  <a:lnTo>
                    <a:pt x="904" y="589"/>
                  </a:lnTo>
                  <a:lnTo>
                    <a:pt x="920" y="572"/>
                  </a:lnTo>
                  <a:lnTo>
                    <a:pt x="934" y="554"/>
                  </a:lnTo>
                  <a:lnTo>
                    <a:pt x="948" y="535"/>
                  </a:lnTo>
                  <a:lnTo>
                    <a:pt x="963" y="516"/>
                  </a:lnTo>
                  <a:lnTo>
                    <a:pt x="975" y="496"/>
                  </a:lnTo>
                  <a:lnTo>
                    <a:pt x="988" y="476"/>
                  </a:lnTo>
                  <a:lnTo>
                    <a:pt x="1013" y="436"/>
                  </a:lnTo>
                  <a:lnTo>
                    <a:pt x="1038" y="396"/>
                  </a:lnTo>
                  <a:lnTo>
                    <a:pt x="1051" y="376"/>
                  </a:lnTo>
                  <a:lnTo>
                    <a:pt x="1064" y="356"/>
                  </a:lnTo>
                  <a:lnTo>
                    <a:pt x="1077" y="337"/>
                  </a:lnTo>
                  <a:lnTo>
                    <a:pt x="1092" y="319"/>
                  </a:lnTo>
                  <a:lnTo>
                    <a:pt x="1120" y="283"/>
                  </a:lnTo>
                  <a:lnTo>
                    <a:pt x="1151" y="248"/>
                  </a:lnTo>
                  <a:lnTo>
                    <a:pt x="1167" y="230"/>
                  </a:lnTo>
                  <a:lnTo>
                    <a:pt x="1185" y="214"/>
                  </a:lnTo>
                  <a:lnTo>
                    <a:pt x="1202" y="196"/>
                  </a:lnTo>
                  <a:lnTo>
                    <a:pt x="1219" y="180"/>
                  </a:lnTo>
                  <a:lnTo>
                    <a:pt x="1238" y="164"/>
                  </a:lnTo>
                  <a:lnTo>
                    <a:pt x="1257" y="149"/>
                  </a:lnTo>
                  <a:lnTo>
                    <a:pt x="1276" y="136"/>
                  </a:lnTo>
                  <a:lnTo>
                    <a:pt x="1296" y="123"/>
                  </a:lnTo>
                  <a:lnTo>
                    <a:pt x="1316" y="111"/>
                  </a:lnTo>
                  <a:lnTo>
                    <a:pt x="1337" y="101"/>
                  </a:lnTo>
                  <a:lnTo>
                    <a:pt x="1358" y="91"/>
                  </a:lnTo>
                  <a:lnTo>
                    <a:pt x="1380" y="84"/>
                  </a:lnTo>
                  <a:lnTo>
                    <a:pt x="1403" y="78"/>
                  </a:lnTo>
                  <a:lnTo>
                    <a:pt x="1424" y="76"/>
                  </a:lnTo>
                  <a:lnTo>
                    <a:pt x="1445" y="76"/>
                  </a:lnTo>
                  <a:lnTo>
                    <a:pt x="1465" y="80"/>
                  </a:lnTo>
                  <a:lnTo>
                    <a:pt x="1485" y="84"/>
                  </a:lnTo>
                  <a:lnTo>
                    <a:pt x="1505" y="93"/>
                  </a:lnTo>
                  <a:lnTo>
                    <a:pt x="1524" y="102"/>
                  </a:lnTo>
                  <a:lnTo>
                    <a:pt x="1543" y="114"/>
                  </a:lnTo>
                  <a:lnTo>
                    <a:pt x="1561" y="127"/>
                  </a:lnTo>
                  <a:lnTo>
                    <a:pt x="1579" y="142"/>
                  </a:lnTo>
                  <a:lnTo>
                    <a:pt x="1597" y="157"/>
                  </a:lnTo>
                  <a:lnTo>
                    <a:pt x="1614" y="175"/>
                  </a:lnTo>
                  <a:lnTo>
                    <a:pt x="1648" y="213"/>
                  </a:lnTo>
                  <a:lnTo>
                    <a:pt x="1682" y="254"/>
                  </a:lnTo>
                  <a:lnTo>
                    <a:pt x="1715" y="295"/>
                  </a:lnTo>
                  <a:lnTo>
                    <a:pt x="1749" y="337"/>
                  </a:lnTo>
                  <a:lnTo>
                    <a:pt x="1782" y="379"/>
                  </a:lnTo>
                  <a:lnTo>
                    <a:pt x="1817" y="416"/>
                  </a:lnTo>
                  <a:lnTo>
                    <a:pt x="1835" y="435"/>
                  </a:lnTo>
                  <a:lnTo>
                    <a:pt x="1853" y="452"/>
                  </a:lnTo>
                  <a:lnTo>
                    <a:pt x="1870" y="467"/>
                  </a:lnTo>
                  <a:lnTo>
                    <a:pt x="1889" y="480"/>
                  </a:lnTo>
                  <a:lnTo>
                    <a:pt x="1908" y="493"/>
                  </a:lnTo>
                  <a:lnTo>
                    <a:pt x="1928" y="503"/>
                  </a:lnTo>
                  <a:lnTo>
                    <a:pt x="1947" y="512"/>
                  </a:lnTo>
                  <a:lnTo>
                    <a:pt x="1968" y="518"/>
                  </a:lnTo>
                  <a:lnTo>
                    <a:pt x="1988" y="521"/>
                  </a:lnTo>
                  <a:lnTo>
                    <a:pt x="2009" y="523"/>
                  </a:lnTo>
                  <a:lnTo>
                    <a:pt x="2029" y="523"/>
                  </a:lnTo>
                  <a:lnTo>
                    <a:pt x="2050" y="521"/>
                  </a:lnTo>
                  <a:lnTo>
                    <a:pt x="2070" y="519"/>
                  </a:lnTo>
                  <a:lnTo>
                    <a:pt x="2090" y="514"/>
                  </a:lnTo>
                  <a:lnTo>
                    <a:pt x="2110" y="508"/>
                  </a:lnTo>
                  <a:lnTo>
                    <a:pt x="2130" y="502"/>
                  </a:lnTo>
                  <a:lnTo>
                    <a:pt x="2177" y="485"/>
                  </a:lnTo>
                  <a:lnTo>
                    <a:pt x="2226" y="468"/>
                  </a:lnTo>
                  <a:lnTo>
                    <a:pt x="2273" y="453"/>
                  </a:lnTo>
                  <a:lnTo>
                    <a:pt x="2321" y="440"/>
                  </a:lnTo>
                  <a:lnTo>
                    <a:pt x="2346" y="433"/>
                  </a:lnTo>
                  <a:lnTo>
                    <a:pt x="2369" y="428"/>
                  </a:lnTo>
                  <a:lnTo>
                    <a:pt x="2394" y="422"/>
                  </a:lnTo>
                  <a:lnTo>
                    <a:pt x="2419" y="419"/>
                  </a:lnTo>
                  <a:lnTo>
                    <a:pt x="2444" y="415"/>
                  </a:lnTo>
                  <a:lnTo>
                    <a:pt x="2468" y="413"/>
                  </a:lnTo>
                  <a:lnTo>
                    <a:pt x="2494" y="412"/>
                  </a:lnTo>
                  <a:lnTo>
                    <a:pt x="2519" y="410"/>
                  </a:lnTo>
                  <a:lnTo>
                    <a:pt x="2545" y="412"/>
                  </a:lnTo>
                  <a:lnTo>
                    <a:pt x="2568" y="415"/>
                  </a:lnTo>
                  <a:lnTo>
                    <a:pt x="2591" y="420"/>
                  </a:lnTo>
                  <a:lnTo>
                    <a:pt x="2611" y="427"/>
                  </a:lnTo>
                  <a:lnTo>
                    <a:pt x="2630" y="436"/>
                  </a:lnTo>
                  <a:lnTo>
                    <a:pt x="2647" y="446"/>
                  </a:lnTo>
                  <a:lnTo>
                    <a:pt x="2664" y="458"/>
                  </a:lnTo>
                  <a:lnTo>
                    <a:pt x="2678" y="470"/>
                  </a:lnTo>
                  <a:lnTo>
                    <a:pt x="2691" y="486"/>
                  </a:lnTo>
                  <a:lnTo>
                    <a:pt x="2704" y="501"/>
                  </a:lnTo>
                  <a:lnTo>
                    <a:pt x="2714" y="518"/>
                  </a:lnTo>
                  <a:lnTo>
                    <a:pt x="2724" y="535"/>
                  </a:lnTo>
                  <a:lnTo>
                    <a:pt x="2732" y="554"/>
                  </a:lnTo>
                  <a:lnTo>
                    <a:pt x="2739" y="574"/>
                  </a:lnTo>
                  <a:lnTo>
                    <a:pt x="2745" y="594"/>
                  </a:lnTo>
                  <a:lnTo>
                    <a:pt x="2751" y="615"/>
                  </a:lnTo>
                  <a:lnTo>
                    <a:pt x="2754" y="638"/>
                  </a:lnTo>
                  <a:lnTo>
                    <a:pt x="2758" y="659"/>
                  </a:lnTo>
                  <a:lnTo>
                    <a:pt x="2760" y="682"/>
                  </a:lnTo>
                  <a:lnTo>
                    <a:pt x="2763" y="705"/>
                  </a:lnTo>
                  <a:lnTo>
                    <a:pt x="2764" y="727"/>
                  </a:lnTo>
                  <a:lnTo>
                    <a:pt x="2764" y="751"/>
                  </a:lnTo>
                  <a:lnTo>
                    <a:pt x="2763" y="774"/>
                  </a:lnTo>
                  <a:lnTo>
                    <a:pt x="2763" y="797"/>
                  </a:lnTo>
                  <a:lnTo>
                    <a:pt x="2759" y="841"/>
                  </a:lnTo>
                  <a:lnTo>
                    <a:pt x="2753" y="885"/>
                  </a:lnTo>
                  <a:lnTo>
                    <a:pt x="2746" y="927"/>
                  </a:lnTo>
                  <a:lnTo>
                    <a:pt x="2739" y="965"/>
                  </a:lnTo>
                  <a:lnTo>
                    <a:pt x="2734" y="983"/>
                  </a:lnTo>
                  <a:lnTo>
                    <a:pt x="2730" y="1000"/>
                  </a:lnTo>
                  <a:lnTo>
                    <a:pt x="2724" y="1017"/>
                  </a:lnTo>
                  <a:lnTo>
                    <a:pt x="2718" y="1033"/>
                  </a:lnTo>
                  <a:lnTo>
                    <a:pt x="2704" y="1065"/>
                  </a:lnTo>
                  <a:lnTo>
                    <a:pt x="2688" y="1094"/>
                  </a:lnTo>
                  <a:lnTo>
                    <a:pt x="2672" y="1125"/>
                  </a:lnTo>
                  <a:lnTo>
                    <a:pt x="2654" y="1153"/>
                  </a:lnTo>
                  <a:lnTo>
                    <a:pt x="2635" y="1181"/>
                  </a:lnTo>
                  <a:lnTo>
                    <a:pt x="2615" y="1209"/>
                  </a:lnTo>
                  <a:lnTo>
                    <a:pt x="2575" y="1264"/>
                  </a:lnTo>
                  <a:lnTo>
                    <a:pt x="2535" y="1319"/>
                  </a:lnTo>
                  <a:lnTo>
                    <a:pt x="2517" y="1349"/>
                  </a:lnTo>
                  <a:lnTo>
                    <a:pt x="2499" y="1377"/>
                  </a:lnTo>
                  <a:lnTo>
                    <a:pt x="2482" y="1408"/>
                  </a:lnTo>
                  <a:lnTo>
                    <a:pt x="2467" y="1439"/>
                  </a:lnTo>
                  <a:lnTo>
                    <a:pt x="2460" y="1457"/>
                  </a:lnTo>
                  <a:lnTo>
                    <a:pt x="2454" y="1475"/>
                  </a:lnTo>
                  <a:lnTo>
                    <a:pt x="2451" y="1493"/>
                  </a:lnTo>
                  <a:lnTo>
                    <a:pt x="2447" y="1511"/>
                  </a:lnTo>
                  <a:lnTo>
                    <a:pt x="2445" y="1529"/>
                  </a:lnTo>
                  <a:lnTo>
                    <a:pt x="2445" y="1548"/>
                  </a:lnTo>
                  <a:lnTo>
                    <a:pt x="2445" y="1565"/>
                  </a:lnTo>
                  <a:lnTo>
                    <a:pt x="2446" y="1584"/>
                  </a:lnTo>
                  <a:lnTo>
                    <a:pt x="2449" y="1602"/>
                  </a:lnTo>
                  <a:lnTo>
                    <a:pt x="2453" y="1621"/>
                  </a:lnTo>
                  <a:lnTo>
                    <a:pt x="2456" y="1638"/>
                  </a:lnTo>
                  <a:lnTo>
                    <a:pt x="2462" y="1656"/>
                  </a:lnTo>
                  <a:lnTo>
                    <a:pt x="2468" y="1674"/>
                  </a:lnTo>
                  <a:lnTo>
                    <a:pt x="2475" y="1692"/>
                  </a:lnTo>
                  <a:lnTo>
                    <a:pt x="2482" y="1709"/>
                  </a:lnTo>
                  <a:lnTo>
                    <a:pt x="2491" y="1727"/>
                  </a:lnTo>
                  <a:lnTo>
                    <a:pt x="2509" y="1762"/>
                  </a:lnTo>
                  <a:lnTo>
                    <a:pt x="2528" y="1795"/>
                  </a:lnTo>
                  <a:lnTo>
                    <a:pt x="2551" y="1828"/>
                  </a:lnTo>
                  <a:lnTo>
                    <a:pt x="2572" y="1860"/>
                  </a:lnTo>
                  <a:lnTo>
                    <a:pt x="2618" y="1921"/>
                  </a:lnTo>
                  <a:lnTo>
                    <a:pt x="2661" y="1975"/>
                  </a:lnTo>
                  <a:lnTo>
                    <a:pt x="2693" y="2016"/>
                  </a:lnTo>
                  <a:lnTo>
                    <a:pt x="2725" y="2060"/>
                  </a:lnTo>
                  <a:lnTo>
                    <a:pt x="2740" y="2082"/>
                  </a:lnTo>
                  <a:lnTo>
                    <a:pt x="2756" y="2106"/>
                  </a:lnTo>
                  <a:lnTo>
                    <a:pt x="2768" y="2129"/>
                  </a:lnTo>
                  <a:lnTo>
                    <a:pt x="2780" y="2154"/>
                  </a:lnTo>
                  <a:lnTo>
                    <a:pt x="2791" y="2179"/>
                  </a:lnTo>
                  <a:lnTo>
                    <a:pt x="2800" y="2204"/>
                  </a:lnTo>
                  <a:lnTo>
                    <a:pt x="2807" y="2229"/>
                  </a:lnTo>
                  <a:lnTo>
                    <a:pt x="2812" y="2255"/>
                  </a:lnTo>
                  <a:lnTo>
                    <a:pt x="2813" y="2268"/>
                  </a:lnTo>
                  <a:lnTo>
                    <a:pt x="2814" y="2281"/>
                  </a:lnTo>
                  <a:lnTo>
                    <a:pt x="2814" y="2294"/>
                  </a:lnTo>
                  <a:lnTo>
                    <a:pt x="2813" y="2308"/>
                  </a:lnTo>
                  <a:lnTo>
                    <a:pt x="2812" y="2321"/>
                  </a:lnTo>
                  <a:lnTo>
                    <a:pt x="2810" y="2334"/>
                  </a:lnTo>
                  <a:lnTo>
                    <a:pt x="2806" y="2347"/>
                  </a:lnTo>
                  <a:lnTo>
                    <a:pt x="2803" y="2360"/>
                  </a:lnTo>
                  <a:close/>
                  <a:moveTo>
                    <a:pt x="2723" y="1924"/>
                  </a:moveTo>
                  <a:lnTo>
                    <a:pt x="2688" y="1882"/>
                  </a:lnTo>
                  <a:lnTo>
                    <a:pt x="2653" y="1837"/>
                  </a:lnTo>
                  <a:lnTo>
                    <a:pt x="2635" y="1815"/>
                  </a:lnTo>
                  <a:lnTo>
                    <a:pt x="2619" y="1791"/>
                  </a:lnTo>
                  <a:lnTo>
                    <a:pt x="2604" y="1767"/>
                  </a:lnTo>
                  <a:lnTo>
                    <a:pt x="2588" y="1742"/>
                  </a:lnTo>
                  <a:lnTo>
                    <a:pt x="2574" y="1717"/>
                  </a:lnTo>
                  <a:lnTo>
                    <a:pt x="2561" y="1691"/>
                  </a:lnTo>
                  <a:lnTo>
                    <a:pt x="2551" y="1665"/>
                  </a:lnTo>
                  <a:lnTo>
                    <a:pt x="2541" y="1639"/>
                  </a:lnTo>
                  <a:lnTo>
                    <a:pt x="2534" y="1612"/>
                  </a:lnTo>
                  <a:lnTo>
                    <a:pt x="2528" y="1585"/>
                  </a:lnTo>
                  <a:lnTo>
                    <a:pt x="2527" y="1571"/>
                  </a:lnTo>
                  <a:lnTo>
                    <a:pt x="2526" y="1558"/>
                  </a:lnTo>
                  <a:lnTo>
                    <a:pt x="2525" y="1544"/>
                  </a:lnTo>
                  <a:lnTo>
                    <a:pt x="2526" y="1530"/>
                  </a:lnTo>
                  <a:lnTo>
                    <a:pt x="2527" y="1512"/>
                  </a:lnTo>
                  <a:lnTo>
                    <a:pt x="2531" y="1496"/>
                  </a:lnTo>
                  <a:lnTo>
                    <a:pt x="2535" y="1478"/>
                  </a:lnTo>
                  <a:lnTo>
                    <a:pt x="2541" y="1462"/>
                  </a:lnTo>
                  <a:lnTo>
                    <a:pt x="2548" y="1446"/>
                  </a:lnTo>
                  <a:lnTo>
                    <a:pt x="2558" y="1430"/>
                  </a:lnTo>
                  <a:lnTo>
                    <a:pt x="2566" y="1415"/>
                  </a:lnTo>
                  <a:lnTo>
                    <a:pt x="2577" y="1399"/>
                  </a:lnTo>
                  <a:lnTo>
                    <a:pt x="2598" y="1369"/>
                  </a:lnTo>
                  <a:lnTo>
                    <a:pt x="2620" y="1340"/>
                  </a:lnTo>
                  <a:lnTo>
                    <a:pt x="2642" y="1312"/>
                  </a:lnTo>
                  <a:lnTo>
                    <a:pt x="2664" y="1285"/>
                  </a:lnTo>
                  <a:lnTo>
                    <a:pt x="2690" y="1250"/>
                  </a:lnTo>
                  <a:lnTo>
                    <a:pt x="2714" y="1213"/>
                  </a:lnTo>
                  <a:lnTo>
                    <a:pt x="2735" y="1176"/>
                  </a:lnTo>
                  <a:lnTo>
                    <a:pt x="2756" y="1138"/>
                  </a:lnTo>
                  <a:lnTo>
                    <a:pt x="2772" y="1099"/>
                  </a:lnTo>
                  <a:lnTo>
                    <a:pt x="2787" y="1059"/>
                  </a:lnTo>
                  <a:lnTo>
                    <a:pt x="2801" y="1019"/>
                  </a:lnTo>
                  <a:lnTo>
                    <a:pt x="2812" y="979"/>
                  </a:lnTo>
                  <a:lnTo>
                    <a:pt x="2821" y="938"/>
                  </a:lnTo>
                  <a:lnTo>
                    <a:pt x="2830" y="895"/>
                  </a:lnTo>
                  <a:lnTo>
                    <a:pt x="2834" y="854"/>
                  </a:lnTo>
                  <a:lnTo>
                    <a:pt x="2838" y="812"/>
                  </a:lnTo>
                  <a:lnTo>
                    <a:pt x="2840" y="768"/>
                  </a:lnTo>
                  <a:lnTo>
                    <a:pt x="2839" y="725"/>
                  </a:lnTo>
                  <a:lnTo>
                    <a:pt x="2838" y="681"/>
                  </a:lnTo>
                  <a:lnTo>
                    <a:pt x="2834" y="636"/>
                  </a:lnTo>
                  <a:lnTo>
                    <a:pt x="2832" y="621"/>
                  </a:lnTo>
                  <a:lnTo>
                    <a:pt x="2830" y="605"/>
                  </a:lnTo>
                  <a:lnTo>
                    <a:pt x="2826" y="589"/>
                  </a:lnTo>
                  <a:lnTo>
                    <a:pt x="2823" y="574"/>
                  </a:lnTo>
                  <a:lnTo>
                    <a:pt x="2819" y="559"/>
                  </a:lnTo>
                  <a:lnTo>
                    <a:pt x="2814" y="545"/>
                  </a:lnTo>
                  <a:lnTo>
                    <a:pt x="2808" y="531"/>
                  </a:lnTo>
                  <a:lnTo>
                    <a:pt x="2803" y="516"/>
                  </a:lnTo>
                  <a:lnTo>
                    <a:pt x="2797" y="503"/>
                  </a:lnTo>
                  <a:lnTo>
                    <a:pt x="2790" y="490"/>
                  </a:lnTo>
                  <a:lnTo>
                    <a:pt x="2783" y="478"/>
                  </a:lnTo>
                  <a:lnTo>
                    <a:pt x="2776" y="466"/>
                  </a:lnTo>
                  <a:lnTo>
                    <a:pt x="2767" y="454"/>
                  </a:lnTo>
                  <a:lnTo>
                    <a:pt x="2758" y="443"/>
                  </a:lnTo>
                  <a:lnTo>
                    <a:pt x="2750" y="433"/>
                  </a:lnTo>
                  <a:lnTo>
                    <a:pt x="2740" y="422"/>
                  </a:lnTo>
                  <a:lnTo>
                    <a:pt x="2730" y="413"/>
                  </a:lnTo>
                  <a:lnTo>
                    <a:pt x="2719" y="403"/>
                  </a:lnTo>
                  <a:lnTo>
                    <a:pt x="2708" y="395"/>
                  </a:lnTo>
                  <a:lnTo>
                    <a:pt x="2697" y="387"/>
                  </a:lnTo>
                  <a:lnTo>
                    <a:pt x="2685" y="379"/>
                  </a:lnTo>
                  <a:lnTo>
                    <a:pt x="2672" y="372"/>
                  </a:lnTo>
                  <a:lnTo>
                    <a:pt x="2659" y="366"/>
                  </a:lnTo>
                  <a:lnTo>
                    <a:pt x="2646" y="360"/>
                  </a:lnTo>
                  <a:lnTo>
                    <a:pt x="2633" y="354"/>
                  </a:lnTo>
                  <a:lnTo>
                    <a:pt x="2619" y="349"/>
                  </a:lnTo>
                  <a:lnTo>
                    <a:pt x="2604" y="345"/>
                  </a:lnTo>
                  <a:lnTo>
                    <a:pt x="2590" y="341"/>
                  </a:lnTo>
                  <a:lnTo>
                    <a:pt x="2574" y="337"/>
                  </a:lnTo>
                  <a:lnTo>
                    <a:pt x="2558" y="335"/>
                  </a:lnTo>
                  <a:lnTo>
                    <a:pt x="2542" y="334"/>
                  </a:lnTo>
                  <a:lnTo>
                    <a:pt x="2526" y="333"/>
                  </a:lnTo>
                  <a:lnTo>
                    <a:pt x="2505" y="332"/>
                  </a:lnTo>
                  <a:lnTo>
                    <a:pt x="2485" y="332"/>
                  </a:lnTo>
                  <a:lnTo>
                    <a:pt x="2465" y="333"/>
                  </a:lnTo>
                  <a:lnTo>
                    <a:pt x="2445" y="334"/>
                  </a:lnTo>
                  <a:lnTo>
                    <a:pt x="2405" y="340"/>
                  </a:lnTo>
                  <a:lnTo>
                    <a:pt x="2363" y="347"/>
                  </a:lnTo>
                  <a:lnTo>
                    <a:pt x="2323" y="356"/>
                  </a:lnTo>
                  <a:lnTo>
                    <a:pt x="2285" y="367"/>
                  </a:lnTo>
                  <a:lnTo>
                    <a:pt x="2246" y="379"/>
                  </a:lnTo>
                  <a:lnTo>
                    <a:pt x="2207" y="390"/>
                  </a:lnTo>
                  <a:lnTo>
                    <a:pt x="2173" y="402"/>
                  </a:lnTo>
                  <a:lnTo>
                    <a:pt x="2139" y="415"/>
                  </a:lnTo>
                  <a:lnTo>
                    <a:pt x="2104" y="427"/>
                  </a:lnTo>
                  <a:lnTo>
                    <a:pt x="2070" y="436"/>
                  </a:lnTo>
                  <a:lnTo>
                    <a:pt x="2054" y="440"/>
                  </a:lnTo>
                  <a:lnTo>
                    <a:pt x="2037" y="441"/>
                  </a:lnTo>
                  <a:lnTo>
                    <a:pt x="2020" y="442"/>
                  </a:lnTo>
                  <a:lnTo>
                    <a:pt x="2003" y="442"/>
                  </a:lnTo>
                  <a:lnTo>
                    <a:pt x="1986" y="440"/>
                  </a:lnTo>
                  <a:lnTo>
                    <a:pt x="1969" y="435"/>
                  </a:lnTo>
                  <a:lnTo>
                    <a:pt x="1951" y="429"/>
                  </a:lnTo>
                  <a:lnTo>
                    <a:pt x="1934" y="420"/>
                  </a:lnTo>
                  <a:lnTo>
                    <a:pt x="1913" y="408"/>
                  </a:lnTo>
                  <a:lnTo>
                    <a:pt x="1894" y="394"/>
                  </a:lnTo>
                  <a:lnTo>
                    <a:pt x="1874" y="380"/>
                  </a:lnTo>
                  <a:lnTo>
                    <a:pt x="1856" y="363"/>
                  </a:lnTo>
                  <a:lnTo>
                    <a:pt x="1838" y="346"/>
                  </a:lnTo>
                  <a:lnTo>
                    <a:pt x="1821" y="327"/>
                  </a:lnTo>
                  <a:lnTo>
                    <a:pt x="1803" y="308"/>
                  </a:lnTo>
                  <a:lnTo>
                    <a:pt x="1787" y="288"/>
                  </a:lnTo>
                  <a:lnTo>
                    <a:pt x="1721" y="206"/>
                  </a:lnTo>
                  <a:lnTo>
                    <a:pt x="1656" y="126"/>
                  </a:lnTo>
                  <a:lnTo>
                    <a:pt x="1638" y="107"/>
                  </a:lnTo>
                  <a:lnTo>
                    <a:pt x="1621" y="90"/>
                  </a:lnTo>
                  <a:lnTo>
                    <a:pt x="1603" y="74"/>
                  </a:lnTo>
                  <a:lnTo>
                    <a:pt x="1585" y="58"/>
                  </a:lnTo>
                  <a:lnTo>
                    <a:pt x="1566" y="44"/>
                  </a:lnTo>
                  <a:lnTo>
                    <a:pt x="1546" y="33"/>
                  </a:lnTo>
                  <a:lnTo>
                    <a:pt x="1526" y="22"/>
                  </a:lnTo>
                  <a:lnTo>
                    <a:pt x="1505" y="13"/>
                  </a:lnTo>
                  <a:lnTo>
                    <a:pt x="1484" y="7"/>
                  </a:lnTo>
                  <a:lnTo>
                    <a:pt x="1462" y="2"/>
                  </a:lnTo>
                  <a:lnTo>
                    <a:pt x="1438" y="0"/>
                  </a:lnTo>
                  <a:lnTo>
                    <a:pt x="1413" y="0"/>
                  </a:lnTo>
                  <a:lnTo>
                    <a:pt x="1388" y="3"/>
                  </a:lnTo>
                  <a:lnTo>
                    <a:pt x="1360" y="9"/>
                  </a:lnTo>
                  <a:lnTo>
                    <a:pt x="1332" y="17"/>
                  </a:lnTo>
                  <a:lnTo>
                    <a:pt x="1303" y="29"/>
                  </a:lnTo>
                  <a:lnTo>
                    <a:pt x="1286" y="37"/>
                  </a:lnTo>
                  <a:lnTo>
                    <a:pt x="1270" y="46"/>
                  </a:lnTo>
                  <a:lnTo>
                    <a:pt x="1255" y="55"/>
                  </a:lnTo>
                  <a:lnTo>
                    <a:pt x="1239" y="66"/>
                  </a:lnTo>
                  <a:lnTo>
                    <a:pt x="1209" y="87"/>
                  </a:lnTo>
                  <a:lnTo>
                    <a:pt x="1180" y="110"/>
                  </a:lnTo>
                  <a:lnTo>
                    <a:pt x="1152" y="136"/>
                  </a:lnTo>
                  <a:lnTo>
                    <a:pt x="1126" y="162"/>
                  </a:lnTo>
                  <a:lnTo>
                    <a:pt x="1100" y="189"/>
                  </a:lnTo>
                  <a:lnTo>
                    <a:pt x="1077" y="216"/>
                  </a:lnTo>
                  <a:lnTo>
                    <a:pt x="1057" y="240"/>
                  </a:lnTo>
                  <a:lnTo>
                    <a:pt x="1037" y="262"/>
                  </a:lnTo>
                  <a:lnTo>
                    <a:pt x="1018" y="287"/>
                  </a:lnTo>
                  <a:lnTo>
                    <a:pt x="999" y="310"/>
                  </a:lnTo>
                  <a:lnTo>
                    <a:pt x="981" y="335"/>
                  </a:lnTo>
                  <a:lnTo>
                    <a:pt x="965" y="360"/>
                  </a:lnTo>
                  <a:lnTo>
                    <a:pt x="948" y="386"/>
                  </a:lnTo>
                  <a:lnTo>
                    <a:pt x="933" y="413"/>
                  </a:lnTo>
                  <a:lnTo>
                    <a:pt x="919" y="436"/>
                  </a:lnTo>
                  <a:lnTo>
                    <a:pt x="904" y="460"/>
                  </a:lnTo>
                  <a:lnTo>
                    <a:pt x="888" y="482"/>
                  </a:lnTo>
                  <a:lnTo>
                    <a:pt x="873" y="505"/>
                  </a:lnTo>
                  <a:lnTo>
                    <a:pt x="864" y="518"/>
                  </a:lnTo>
                  <a:lnTo>
                    <a:pt x="853" y="529"/>
                  </a:lnTo>
                  <a:lnTo>
                    <a:pt x="844" y="538"/>
                  </a:lnTo>
                  <a:lnTo>
                    <a:pt x="833" y="546"/>
                  </a:lnTo>
                  <a:lnTo>
                    <a:pt x="822" y="552"/>
                  </a:lnTo>
                  <a:lnTo>
                    <a:pt x="812" y="556"/>
                  </a:lnTo>
                  <a:lnTo>
                    <a:pt x="800" y="560"/>
                  </a:lnTo>
                  <a:lnTo>
                    <a:pt x="789" y="562"/>
                  </a:lnTo>
                  <a:lnTo>
                    <a:pt x="778" y="563"/>
                  </a:lnTo>
                  <a:lnTo>
                    <a:pt x="766" y="563"/>
                  </a:lnTo>
                  <a:lnTo>
                    <a:pt x="753" y="563"/>
                  </a:lnTo>
                  <a:lnTo>
                    <a:pt x="741" y="561"/>
                  </a:lnTo>
                  <a:lnTo>
                    <a:pt x="715" y="556"/>
                  </a:lnTo>
                  <a:lnTo>
                    <a:pt x="687" y="551"/>
                  </a:lnTo>
                  <a:lnTo>
                    <a:pt x="619" y="533"/>
                  </a:lnTo>
                  <a:lnTo>
                    <a:pt x="540" y="513"/>
                  </a:lnTo>
                  <a:lnTo>
                    <a:pt x="499" y="503"/>
                  </a:lnTo>
                  <a:lnTo>
                    <a:pt x="455" y="494"/>
                  </a:lnTo>
                  <a:lnTo>
                    <a:pt x="412" y="486"/>
                  </a:lnTo>
                  <a:lnTo>
                    <a:pt x="367" y="480"/>
                  </a:lnTo>
                  <a:lnTo>
                    <a:pt x="344" y="478"/>
                  </a:lnTo>
                  <a:lnTo>
                    <a:pt x="323" y="476"/>
                  </a:lnTo>
                  <a:lnTo>
                    <a:pt x="302" y="475"/>
                  </a:lnTo>
                  <a:lnTo>
                    <a:pt x="281" y="475"/>
                  </a:lnTo>
                  <a:lnTo>
                    <a:pt x="260" y="476"/>
                  </a:lnTo>
                  <a:lnTo>
                    <a:pt x="239" y="478"/>
                  </a:lnTo>
                  <a:lnTo>
                    <a:pt x="219" y="480"/>
                  </a:lnTo>
                  <a:lnTo>
                    <a:pt x="199" y="483"/>
                  </a:lnTo>
                  <a:lnTo>
                    <a:pt x="180" y="488"/>
                  </a:lnTo>
                  <a:lnTo>
                    <a:pt x="162" y="494"/>
                  </a:lnTo>
                  <a:lnTo>
                    <a:pt x="144" y="501"/>
                  </a:lnTo>
                  <a:lnTo>
                    <a:pt x="127" y="509"/>
                  </a:lnTo>
                  <a:lnTo>
                    <a:pt x="111" y="520"/>
                  </a:lnTo>
                  <a:lnTo>
                    <a:pt x="96" y="531"/>
                  </a:lnTo>
                  <a:lnTo>
                    <a:pt x="82" y="543"/>
                  </a:lnTo>
                  <a:lnTo>
                    <a:pt x="69" y="558"/>
                  </a:lnTo>
                  <a:lnTo>
                    <a:pt x="57" y="573"/>
                  </a:lnTo>
                  <a:lnTo>
                    <a:pt x="45" y="588"/>
                  </a:lnTo>
                  <a:lnTo>
                    <a:pt x="36" y="606"/>
                  </a:lnTo>
                  <a:lnTo>
                    <a:pt x="28" y="622"/>
                  </a:lnTo>
                  <a:lnTo>
                    <a:pt x="21" y="640"/>
                  </a:lnTo>
                  <a:lnTo>
                    <a:pt x="15" y="659"/>
                  </a:lnTo>
                  <a:lnTo>
                    <a:pt x="9" y="678"/>
                  </a:lnTo>
                  <a:lnTo>
                    <a:pt x="5" y="696"/>
                  </a:lnTo>
                  <a:lnTo>
                    <a:pt x="3" y="715"/>
                  </a:lnTo>
                  <a:lnTo>
                    <a:pt x="1" y="735"/>
                  </a:lnTo>
                  <a:lnTo>
                    <a:pt x="0" y="755"/>
                  </a:lnTo>
                  <a:lnTo>
                    <a:pt x="0" y="775"/>
                  </a:lnTo>
                  <a:lnTo>
                    <a:pt x="0" y="795"/>
                  </a:lnTo>
                  <a:lnTo>
                    <a:pt x="2" y="817"/>
                  </a:lnTo>
                  <a:lnTo>
                    <a:pt x="3" y="837"/>
                  </a:lnTo>
                  <a:lnTo>
                    <a:pt x="7" y="858"/>
                  </a:lnTo>
                  <a:lnTo>
                    <a:pt x="10" y="878"/>
                  </a:lnTo>
                  <a:lnTo>
                    <a:pt x="15" y="898"/>
                  </a:lnTo>
                  <a:lnTo>
                    <a:pt x="20" y="919"/>
                  </a:lnTo>
                  <a:lnTo>
                    <a:pt x="24" y="939"/>
                  </a:lnTo>
                  <a:lnTo>
                    <a:pt x="37" y="979"/>
                  </a:lnTo>
                  <a:lnTo>
                    <a:pt x="51" y="1018"/>
                  </a:lnTo>
                  <a:lnTo>
                    <a:pt x="67" y="1054"/>
                  </a:lnTo>
                  <a:lnTo>
                    <a:pt x="84" y="1091"/>
                  </a:lnTo>
                  <a:lnTo>
                    <a:pt x="101" y="1124"/>
                  </a:lnTo>
                  <a:lnTo>
                    <a:pt x="120" y="1154"/>
                  </a:lnTo>
                  <a:lnTo>
                    <a:pt x="140" y="1186"/>
                  </a:lnTo>
                  <a:lnTo>
                    <a:pt x="162" y="1217"/>
                  </a:lnTo>
                  <a:lnTo>
                    <a:pt x="184" y="1245"/>
                  </a:lnTo>
                  <a:lnTo>
                    <a:pt x="209" y="1272"/>
                  </a:lnTo>
                  <a:lnTo>
                    <a:pt x="234" y="1299"/>
                  </a:lnTo>
                  <a:lnTo>
                    <a:pt x="260" y="1324"/>
                  </a:lnTo>
                  <a:lnTo>
                    <a:pt x="286" y="1349"/>
                  </a:lnTo>
                  <a:lnTo>
                    <a:pt x="313" y="1373"/>
                  </a:lnTo>
                  <a:lnTo>
                    <a:pt x="367" y="1422"/>
                  </a:lnTo>
                  <a:lnTo>
                    <a:pt x="422" y="1469"/>
                  </a:lnTo>
                  <a:lnTo>
                    <a:pt x="450" y="1492"/>
                  </a:lnTo>
                  <a:lnTo>
                    <a:pt x="478" y="1517"/>
                  </a:lnTo>
                  <a:lnTo>
                    <a:pt x="503" y="1543"/>
                  </a:lnTo>
                  <a:lnTo>
                    <a:pt x="530" y="1569"/>
                  </a:lnTo>
                  <a:lnTo>
                    <a:pt x="541" y="1582"/>
                  </a:lnTo>
                  <a:lnTo>
                    <a:pt x="549" y="1594"/>
                  </a:lnTo>
                  <a:lnTo>
                    <a:pt x="555" y="1604"/>
                  </a:lnTo>
                  <a:lnTo>
                    <a:pt x="558" y="1615"/>
                  </a:lnTo>
                  <a:lnTo>
                    <a:pt x="558" y="1619"/>
                  </a:lnTo>
                  <a:lnTo>
                    <a:pt x="558" y="1624"/>
                  </a:lnTo>
                  <a:lnTo>
                    <a:pt x="556" y="1629"/>
                  </a:lnTo>
                  <a:lnTo>
                    <a:pt x="555" y="1632"/>
                  </a:lnTo>
                  <a:lnTo>
                    <a:pt x="551" y="1641"/>
                  </a:lnTo>
                  <a:lnTo>
                    <a:pt x="545" y="1649"/>
                  </a:lnTo>
                  <a:lnTo>
                    <a:pt x="536" y="1656"/>
                  </a:lnTo>
                  <a:lnTo>
                    <a:pt x="527" y="1662"/>
                  </a:lnTo>
                  <a:lnTo>
                    <a:pt x="516" y="1669"/>
                  </a:lnTo>
                  <a:lnTo>
                    <a:pt x="506" y="1675"/>
                  </a:lnTo>
                  <a:lnTo>
                    <a:pt x="481" y="1685"/>
                  </a:lnTo>
                  <a:lnTo>
                    <a:pt x="455" y="1696"/>
                  </a:lnTo>
                  <a:lnTo>
                    <a:pt x="441" y="1703"/>
                  </a:lnTo>
                  <a:lnTo>
                    <a:pt x="427" y="1709"/>
                  </a:lnTo>
                  <a:lnTo>
                    <a:pt x="414" y="1716"/>
                  </a:lnTo>
                  <a:lnTo>
                    <a:pt x="401" y="1724"/>
                  </a:lnTo>
                  <a:lnTo>
                    <a:pt x="388" y="1732"/>
                  </a:lnTo>
                  <a:lnTo>
                    <a:pt x="375" y="1741"/>
                  </a:lnTo>
                  <a:lnTo>
                    <a:pt x="363" y="1750"/>
                  </a:lnTo>
                  <a:lnTo>
                    <a:pt x="353" y="1761"/>
                  </a:lnTo>
                  <a:lnTo>
                    <a:pt x="341" y="1771"/>
                  </a:lnTo>
                  <a:lnTo>
                    <a:pt x="332" y="1782"/>
                  </a:lnTo>
                  <a:lnTo>
                    <a:pt x="321" y="1794"/>
                  </a:lnTo>
                  <a:lnTo>
                    <a:pt x="312" y="1805"/>
                  </a:lnTo>
                  <a:lnTo>
                    <a:pt x="303" y="1817"/>
                  </a:lnTo>
                  <a:lnTo>
                    <a:pt x="294" y="1830"/>
                  </a:lnTo>
                  <a:lnTo>
                    <a:pt x="287" y="1843"/>
                  </a:lnTo>
                  <a:lnTo>
                    <a:pt x="280" y="1857"/>
                  </a:lnTo>
                  <a:lnTo>
                    <a:pt x="273" y="1871"/>
                  </a:lnTo>
                  <a:lnTo>
                    <a:pt x="266" y="1887"/>
                  </a:lnTo>
                  <a:lnTo>
                    <a:pt x="261" y="1902"/>
                  </a:lnTo>
                  <a:lnTo>
                    <a:pt x="255" y="1917"/>
                  </a:lnTo>
                  <a:lnTo>
                    <a:pt x="247" y="1949"/>
                  </a:lnTo>
                  <a:lnTo>
                    <a:pt x="240" y="1981"/>
                  </a:lnTo>
                  <a:lnTo>
                    <a:pt x="235" y="2013"/>
                  </a:lnTo>
                  <a:lnTo>
                    <a:pt x="233" y="2044"/>
                  </a:lnTo>
                  <a:lnTo>
                    <a:pt x="233" y="2077"/>
                  </a:lnTo>
                  <a:lnTo>
                    <a:pt x="234" y="2109"/>
                  </a:lnTo>
                  <a:lnTo>
                    <a:pt x="237" y="2142"/>
                  </a:lnTo>
                  <a:lnTo>
                    <a:pt x="243" y="2174"/>
                  </a:lnTo>
                  <a:lnTo>
                    <a:pt x="250" y="2206"/>
                  </a:lnTo>
                  <a:lnTo>
                    <a:pt x="259" y="2237"/>
                  </a:lnTo>
                  <a:lnTo>
                    <a:pt x="269" y="2268"/>
                  </a:lnTo>
                  <a:lnTo>
                    <a:pt x="281" y="2299"/>
                  </a:lnTo>
                  <a:lnTo>
                    <a:pt x="294" y="2328"/>
                  </a:lnTo>
                  <a:lnTo>
                    <a:pt x="309" y="2356"/>
                  </a:lnTo>
                  <a:lnTo>
                    <a:pt x="326" y="2385"/>
                  </a:lnTo>
                  <a:lnTo>
                    <a:pt x="343" y="2410"/>
                  </a:lnTo>
                  <a:lnTo>
                    <a:pt x="363" y="2434"/>
                  </a:lnTo>
                  <a:lnTo>
                    <a:pt x="385" y="2456"/>
                  </a:lnTo>
                  <a:lnTo>
                    <a:pt x="407" y="2478"/>
                  </a:lnTo>
                  <a:lnTo>
                    <a:pt x="430" y="2495"/>
                  </a:lnTo>
                  <a:lnTo>
                    <a:pt x="455" y="2513"/>
                  </a:lnTo>
                  <a:lnTo>
                    <a:pt x="481" y="2527"/>
                  </a:lnTo>
                  <a:lnTo>
                    <a:pt x="494" y="2534"/>
                  </a:lnTo>
                  <a:lnTo>
                    <a:pt x="507" y="2540"/>
                  </a:lnTo>
                  <a:lnTo>
                    <a:pt x="521" y="2545"/>
                  </a:lnTo>
                  <a:lnTo>
                    <a:pt x="535" y="2549"/>
                  </a:lnTo>
                  <a:lnTo>
                    <a:pt x="549" y="2554"/>
                  </a:lnTo>
                  <a:lnTo>
                    <a:pt x="565" y="2558"/>
                  </a:lnTo>
                  <a:lnTo>
                    <a:pt x="579" y="2561"/>
                  </a:lnTo>
                  <a:lnTo>
                    <a:pt x="594" y="2563"/>
                  </a:lnTo>
                  <a:lnTo>
                    <a:pt x="608" y="2566"/>
                  </a:lnTo>
                  <a:lnTo>
                    <a:pt x="624" y="2567"/>
                  </a:lnTo>
                  <a:lnTo>
                    <a:pt x="639" y="2568"/>
                  </a:lnTo>
                  <a:lnTo>
                    <a:pt x="655" y="2568"/>
                  </a:lnTo>
                  <a:lnTo>
                    <a:pt x="671" y="2568"/>
                  </a:lnTo>
                  <a:lnTo>
                    <a:pt x="686" y="2567"/>
                  </a:lnTo>
                  <a:lnTo>
                    <a:pt x="702" y="2565"/>
                  </a:lnTo>
                  <a:lnTo>
                    <a:pt x="718" y="2562"/>
                  </a:lnTo>
                  <a:lnTo>
                    <a:pt x="741" y="2558"/>
                  </a:lnTo>
                  <a:lnTo>
                    <a:pt x="764" y="2552"/>
                  </a:lnTo>
                  <a:lnTo>
                    <a:pt x="786" y="2545"/>
                  </a:lnTo>
                  <a:lnTo>
                    <a:pt x="808" y="2535"/>
                  </a:lnTo>
                  <a:lnTo>
                    <a:pt x="831" y="2526"/>
                  </a:lnTo>
                  <a:lnTo>
                    <a:pt x="852" y="2515"/>
                  </a:lnTo>
                  <a:lnTo>
                    <a:pt x="873" y="2505"/>
                  </a:lnTo>
                  <a:lnTo>
                    <a:pt x="894" y="2492"/>
                  </a:lnTo>
                  <a:lnTo>
                    <a:pt x="977" y="2440"/>
                  </a:lnTo>
                  <a:lnTo>
                    <a:pt x="1059" y="2387"/>
                  </a:lnTo>
                  <a:lnTo>
                    <a:pt x="1080" y="2374"/>
                  </a:lnTo>
                  <a:lnTo>
                    <a:pt x="1100" y="2362"/>
                  </a:lnTo>
                  <a:lnTo>
                    <a:pt x="1121" y="2350"/>
                  </a:lnTo>
                  <a:lnTo>
                    <a:pt x="1143" y="2340"/>
                  </a:lnTo>
                  <a:lnTo>
                    <a:pt x="1164" y="2330"/>
                  </a:lnTo>
                  <a:lnTo>
                    <a:pt x="1185" y="2322"/>
                  </a:lnTo>
                  <a:lnTo>
                    <a:pt x="1207" y="2314"/>
                  </a:lnTo>
                  <a:lnTo>
                    <a:pt x="1230" y="2308"/>
                  </a:lnTo>
                  <a:lnTo>
                    <a:pt x="1252" y="2303"/>
                  </a:lnTo>
                  <a:lnTo>
                    <a:pt x="1275" y="2300"/>
                  </a:lnTo>
                  <a:lnTo>
                    <a:pt x="1298" y="2299"/>
                  </a:lnTo>
                  <a:lnTo>
                    <a:pt x="1322" y="2299"/>
                  </a:lnTo>
                  <a:lnTo>
                    <a:pt x="1345" y="2301"/>
                  </a:lnTo>
                  <a:lnTo>
                    <a:pt x="1370" y="2305"/>
                  </a:lnTo>
                  <a:lnTo>
                    <a:pt x="1395" y="2312"/>
                  </a:lnTo>
                  <a:lnTo>
                    <a:pt x="1420" y="2320"/>
                  </a:lnTo>
                  <a:lnTo>
                    <a:pt x="1455" y="2334"/>
                  </a:lnTo>
                  <a:lnTo>
                    <a:pt x="1489" y="2350"/>
                  </a:lnTo>
                  <a:lnTo>
                    <a:pt x="1522" y="2368"/>
                  </a:lnTo>
                  <a:lnTo>
                    <a:pt x="1555" y="2388"/>
                  </a:lnTo>
                  <a:lnTo>
                    <a:pt x="1588" y="2407"/>
                  </a:lnTo>
                  <a:lnTo>
                    <a:pt x="1619" y="2427"/>
                  </a:lnTo>
                  <a:lnTo>
                    <a:pt x="1652" y="2446"/>
                  </a:lnTo>
                  <a:lnTo>
                    <a:pt x="1685" y="2463"/>
                  </a:lnTo>
                  <a:lnTo>
                    <a:pt x="1734" y="2486"/>
                  </a:lnTo>
                  <a:lnTo>
                    <a:pt x="1782" y="2507"/>
                  </a:lnTo>
                  <a:lnTo>
                    <a:pt x="1830" y="2527"/>
                  </a:lnTo>
                  <a:lnTo>
                    <a:pt x="1880" y="2545"/>
                  </a:lnTo>
                  <a:lnTo>
                    <a:pt x="1929" y="2560"/>
                  </a:lnTo>
                  <a:lnTo>
                    <a:pt x="1980" y="2575"/>
                  </a:lnTo>
                  <a:lnTo>
                    <a:pt x="2030" y="2588"/>
                  </a:lnTo>
                  <a:lnTo>
                    <a:pt x="2082" y="2599"/>
                  </a:lnTo>
                  <a:lnTo>
                    <a:pt x="2122" y="2606"/>
                  </a:lnTo>
                  <a:lnTo>
                    <a:pt x="2163" y="2613"/>
                  </a:lnTo>
                  <a:lnTo>
                    <a:pt x="2206" y="2618"/>
                  </a:lnTo>
                  <a:lnTo>
                    <a:pt x="2248" y="2622"/>
                  </a:lnTo>
                  <a:lnTo>
                    <a:pt x="2292" y="2625"/>
                  </a:lnTo>
                  <a:lnTo>
                    <a:pt x="2335" y="2626"/>
                  </a:lnTo>
                  <a:lnTo>
                    <a:pt x="2379" y="2626"/>
                  </a:lnTo>
                  <a:lnTo>
                    <a:pt x="2422" y="2624"/>
                  </a:lnTo>
                  <a:lnTo>
                    <a:pt x="2465" y="2620"/>
                  </a:lnTo>
                  <a:lnTo>
                    <a:pt x="2508" y="2614"/>
                  </a:lnTo>
                  <a:lnTo>
                    <a:pt x="2551" y="2606"/>
                  </a:lnTo>
                  <a:lnTo>
                    <a:pt x="2592" y="2596"/>
                  </a:lnTo>
                  <a:lnTo>
                    <a:pt x="2612" y="2591"/>
                  </a:lnTo>
                  <a:lnTo>
                    <a:pt x="2633" y="2585"/>
                  </a:lnTo>
                  <a:lnTo>
                    <a:pt x="2653" y="2578"/>
                  </a:lnTo>
                  <a:lnTo>
                    <a:pt x="2672" y="2569"/>
                  </a:lnTo>
                  <a:lnTo>
                    <a:pt x="2692" y="2561"/>
                  </a:lnTo>
                  <a:lnTo>
                    <a:pt x="2711" y="2553"/>
                  </a:lnTo>
                  <a:lnTo>
                    <a:pt x="2730" y="2543"/>
                  </a:lnTo>
                  <a:lnTo>
                    <a:pt x="2747" y="2533"/>
                  </a:lnTo>
                  <a:lnTo>
                    <a:pt x="2771" y="2519"/>
                  </a:lnTo>
                  <a:lnTo>
                    <a:pt x="2791" y="2503"/>
                  </a:lnTo>
                  <a:lnTo>
                    <a:pt x="2810" y="2488"/>
                  </a:lnTo>
                  <a:lnTo>
                    <a:pt x="2825" y="2472"/>
                  </a:lnTo>
                  <a:lnTo>
                    <a:pt x="2839" y="2454"/>
                  </a:lnTo>
                  <a:lnTo>
                    <a:pt x="2852" y="2436"/>
                  </a:lnTo>
                  <a:lnTo>
                    <a:pt x="2863" y="2419"/>
                  </a:lnTo>
                  <a:lnTo>
                    <a:pt x="2871" y="2400"/>
                  </a:lnTo>
                  <a:lnTo>
                    <a:pt x="2878" y="2381"/>
                  </a:lnTo>
                  <a:lnTo>
                    <a:pt x="2883" y="2361"/>
                  </a:lnTo>
                  <a:lnTo>
                    <a:pt x="2886" y="2342"/>
                  </a:lnTo>
                  <a:lnTo>
                    <a:pt x="2889" y="2321"/>
                  </a:lnTo>
                  <a:lnTo>
                    <a:pt x="2889" y="2301"/>
                  </a:lnTo>
                  <a:lnTo>
                    <a:pt x="2889" y="2281"/>
                  </a:lnTo>
                  <a:lnTo>
                    <a:pt x="2886" y="2260"/>
                  </a:lnTo>
                  <a:lnTo>
                    <a:pt x="2883" y="2239"/>
                  </a:lnTo>
                  <a:lnTo>
                    <a:pt x="2878" y="2217"/>
                  </a:lnTo>
                  <a:lnTo>
                    <a:pt x="2873" y="2196"/>
                  </a:lnTo>
                  <a:lnTo>
                    <a:pt x="2866" y="2176"/>
                  </a:lnTo>
                  <a:lnTo>
                    <a:pt x="2859" y="2155"/>
                  </a:lnTo>
                  <a:lnTo>
                    <a:pt x="2851" y="2134"/>
                  </a:lnTo>
                  <a:lnTo>
                    <a:pt x="2841" y="2113"/>
                  </a:lnTo>
                  <a:lnTo>
                    <a:pt x="2832" y="2093"/>
                  </a:lnTo>
                  <a:lnTo>
                    <a:pt x="2821" y="2073"/>
                  </a:lnTo>
                  <a:lnTo>
                    <a:pt x="2798" y="2033"/>
                  </a:lnTo>
                  <a:lnTo>
                    <a:pt x="2774" y="1995"/>
                  </a:lnTo>
                  <a:lnTo>
                    <a:pt x="2748" y="1958"/>
                  </a:lnTo>
                  <a:lnTo>
                    <a:pt x="2723" y="1924"/>
                  </a:lnTo>
                  <a:close/>
                </a:path>
              </a:pathLst>
            </a:custGeom>
            <a:solidFill>
              <a:srgbClr val="EEA52B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6653" tIns="58327" rIns="116653" bIns="58327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434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137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15" name="Freeform 85"/>
            <p:cNvSpPr>
              <a:spLocks/>
            </p:cNvSpPr>
            <p:nvPr/>
          </p:nvSpPr>
          <p:spPr bwMode="auto">
            <a:xfrm>
              <a:off x="2257" y="2131"/>
              <a:ext cx="139" cy="139"/>
            </a:xfrm>
            <a:custGeom>
              <a:avLst/>
              <a:gdLst>
                <a:gd name="T0" fmla="*/ 549 w 554"/>
                <a:gd name="T1" fmla="*/ 329 h 555"/>
                <a:gd name="T2" fmla="*/ 538 w 554"/>
                <a:gd name="T3" fmla="*/ 369 h 555"/>
                <a:gd name="T4" fmla="*/ 523 w 554"/>
                <a:gd name="T5" fmla="*/ 406 h 555"/>
                <a:gd name="T6" fmla="*/ 502 w 554"/>
                <a:gd name="T7" fmla="*/ 440 h 555"/>
                <a:gd name="T8" fmla="*/ 476 w 554"/>
                <a:gd name="T9" fmla="*/ 471 h 555"/>
                <a:gd name="T10" fmla="*/ 446 w 554"/>
                <a:gd name="T11" fmla="*/ 497 h 555"/>
                <a:gd name="T12" fmla="*/ 412 w 554"/>
                <a:gd name="T13" fmla="*/ 519 h 555"/>
                <a:gd name="T14" fmla="*/ 376 w 554"/>
                <a:gd name="T15" fmla="*/ 536 h 555"/>
                <a:gd name="T16" fmla="*/ 337 w 554"/>
                <a:gd name="T17" fmla="*/ 547 h 555"/>
                <a:gd name="T18" fmla="*/ 297 w 554"/>
                <a:gd name="T19" fmla="*/ 553 h 555"/>
                <a:gd name="T20" fmla="*/ 254 w 554"/>
                <a:gd name="T21" fmla="*/ 553 h 555"/>
                <a:gd name="T22" fmla="*/ 212 w 554"/>
                <a:gd name="T23" fmla="*/ 547 h 555"/>
                <a:gd name="T24" fmla="*/ 173 w 554"/>
                <a:gd name="T25" fmla="*/ 535 h 555"/>
                <a:gd name="T26" fmla="*/ 137 w 554"/>
                <a:gd name="T27" fmla="*/ 517 h 555"/>
                <a:gd name="T28" fmla="*/ 104 w 554"/>
                <a:gd name="T29" fmla="*/ 494 h 555"/>
                <a:gd name="T30" fmla="*/ 74 w 554"/>
                <a:gd name="T31" fmla="*/ 466 h 555"/>
                <a:gd name="T32" fmla="*/ 50 w 554"/>
                <a:gd name="T33" fmla="*/ 436 h 555"/>
                <a:gd name="T34" fmla="*/ 28 w 554"/>
                <a:gd name="T35" fmla="*/ 401 h 555"/>
                <a:gd name="T36" fmla="*/ 13 w 554"/>
                <a:gd name="T37" fmla="*/ 364 h 555"/>
                <a:gd name="T38" fmla="*/ 4 w 554"/>
                <a:gd name="T39" fmla="*/ 325 h 555"/>
                <a:gd name="T40" fmla="*/ 0 w 554"/>
                <a:gd name="T41" fmla="*/ 284 h 555"/>
                <a:gd name="T42" fmla="*/ 3 w 554"/>
                <a:gd name="T43" fmla="*/ 241 h 555"/>
                <a:gd name="T44" fmla="*/ 11 w 554"/>
                <a:gd name="T45" fmla="*/ 200 h 555"/>
                <a:gd name="T46" fmla="*/ 25 w 554"/>
                <a:gd name="T47" fmla="*/ 161 h 555"/>
                <a:gd name="T48" fmla="*/ 45 w 554"/>
                <a:gd name="T49" fmla="*/ 126 h 555"/>
                <a:gd name="T50" fmla="*/ 70 w 554"/>
                <a:gd name="T51" fmla="*/ 94 h 555"/>
                <a:gd name="T52" fmla="*/ 98 w 554"/>
                <a:gd name="T53" fmla="*/ 66 h 555"/>
                <a:gd name="T54" fmla="*/ 130 w 554"/>
                <a:gd name="T55" fmla="*/ 42 h 555"/>
                <a:gd name="T56" fmla="*/ 165 w 554"/>
                <a:gd name="T57" fmla="*/ 24 h 555"/>
                <a:gd name="T58" fmla="*/ 203 w 554"/>
                <a:gd name="T59" fmla="*/ 11 h 555"/>
                <a:gd name="T60" fmla="*/ 244 w 554"/>
                <a:gd name="T61" fmla="*/ 2 h 555"/>
                <a:gd name="T62" fmla="*/ 285 w 554"/>
                <a:gd name="T63" fmla="*/ 0 h 555"/>
                <a:gd name="T64" fmla="*/ 327 w 554"/>
                <a:gd name="T65" fmla="*/ 5 h 555"/>
                <a:gd name="T66" fmla="*/ 368 w 554"/>
                <a:gd name="T67" fmla="*/ 15 h 555"/>
                <a:gd name="T68" fmla="*/ 405 w 554"/>
                <a:gd name="T69" fmla="*/ 32 h 555"/>
                <a:gd name="T70" fmla="*/ 439 w 554"/>
                <a:gd name="T71" fmla="*/ 53 h 555"/>
                <a:gd name="T72" fmla="*/ 470 w 554"/>
                <a:gd name="T73" fmla="*/ 79 h 555"/>
                <a:gd name="T74" fmla="*/ 497 w 554"/>
                <a:gd name="T75" fmla="*/ 108 h 555"/>
                <a:gd name="T76" fmla="*/ 518 w 554"/>
                <a:gd name="T77" fmla="*/ 143 h 555"/>
                <a:gd name="T78" fmla="*/ 536 w 554"/>
                <a:gd name="T79" fmla="*/ 178 h 555"/>
                <a:gd name="T80" fmla="*/ 548 w 554"/>
                <a:gd name="T81" fmla="*/ 217 h 555"/>
                <a:gd name="T82" fmla="*/ 554 w 554"/>
                <a:gd name="T83" fmla="*/ 258 h 555"/>
                <a:gd name="T84" fmla="*/ 554 w 554"/>
                <a:gd name="T85" fmla="*/ 300 h 5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554" h="555">
                  <a:moveTo>
                    <a:pt x="554" y="300"/>
                  </a:moveTo>
                  <a:lnTo>
                    <a:pt x="551" y="314"/>
                  </a:lnTo>
                  <a:lnTo>
                    <a:pt x="549" y="329"/>
                  </a:lnTo>
                  <a:lnTo>
                    <a:pt x="546" y="343"/>
                  </a:lnTo>
                  <a:lnTo>
                    <a:pt x="543" y="356"/>
                  </a:lnTo>
                  <a:lnTo>
                    <a:pt x="538" y="369"/>
                  </a:lnTo>
                  <a:lnTo>
                    <a:pt x="533" y="381"/>
                  </a:lnTo>
                  <a:lnTo>
                    <a:pt x="529" y="394"/>
                  </a:lnTo>
                  <a:lnTo>
                    <a:pt x="523" y="406"/>
                  </a:lnTo>
                  <a:lnTo>
                    <a:pt x="516" y="418"/>
                  </a:lnTo>
                  <a:lnTo>
                    <a:pt x="509" y="430"/>
                  </a:lnTo>
                  <a:lnTo>
                    <a:pt x="502" y="440"/>
                  </a:lnTo>
                  <a:lnTo>
                    <a:pt x="493" y="451"/>
                  </a:lnTo>
                  <a:lnTo>
                    <a:pt x="484" y="462"/>
                  </a:lnTo>
                  <a:lnTo>
                    <a:pt x="476" y="471"/>
                  </a:lnTo>
                  <a:lnTo>
                    <a:pt x="466" y="480"/>
                  </a:lnTo>
                  <a:lnTo>
                    <a:pt x="456" y="489"/>
                  </a:lnTo>
                  <a:lnTo>
                    <a:pt x="446" y="497"/>
                  </a:lnTo>
                  <a:lnTo>
                    <a:pt x="435" y="505"/>
                  </a:lnTo>
                  <a:lnTo>
                    <a:pt x="424" y="512"/>
                  </a:lnTo>
                  <a:lnTo>
                    <a:pt x="412" y="519"/>
                  </a:lnTo>
                  <a:lnTo>
                    <a:pt x="400" y="525"/>
                  </a:lnTo>
                  <a:lnTo>
                    <a:pt x="389" y="531"/>
                  </a:lnTo>
                  <a:lnTo>
                    <a:pt x="376" y="536"/>
                  </a:lnTo>
                  <a:lnTo>
                    <a:pt x="364" y="540"/>
                  </a:lnTo>
                  <a:lnTo>
                    <a:pt x="351" y="545"/>
                  </a:lnTo>
                  <a:lnTo>
                    <a:pt x="337" y="547"/>
                  </a:lnTo>
                  <a:lnTo>
                    <a:pt x="324" y="551"/>
                  </a:lnTo>
                  <a:lnTo>
                    <a:pt x="310" y="552"/>
                  </a:lnTo>
                  <a:lnTo>
                    <a:pt x="297" y="553"/>
                  </a:lnTo>
                  <a:lnTo>
                    <a:pt x="283" y="555"/>
                  </a:lnTo>
                  <a:lnTo>
                    <a:pt x="269" y="555"/>
                  </a:lnTo>
                  <a:lnTo>
                    <a:pt x="254" y="553"/>
                  </a:lnTo>
                  <a:lnTo>
                    <a:pt x="240" y="552"/>
                  </a:lnTo>
                  <a:lnTo>
                    <a:pt x="226" y="550"/>
                  </a:lnTo>
                  <a:lnTo>
                    <a:pt x="212" y="547"/>
                  </a:lnTo>
                  <a:lnTo>
                    <a:pt x="199" y="544"/>
                  </a:lnTo>
                  <a:lnTo>
                    <a:pt x="186" y="539"/>
                  </a:lnTo>
                  <a:lnTo>
                    <a:pt x="173" y="535"/>
                  </a:lnTo>
                  <a:lnTo>
                    <a:pt x="160" y="529"/>
                  </a:lnTo>
                  <a:lnTo>
                    <a:pt x="149" y="523"/>
                  </a:lnTo>
                  <a:lnTo>
                    <a:pt x="137" y="517"/>
                  </a:lnTo>
                  <a:lnTo>
                    <a:pt x="125" y="510"/>
                  </a:lnTo>
                  <a:lnTo>
                    <a:pt x="114" y="502"/>
                  </a:lnTo>
                  <a:lnTo>
                    <a:pt x="104" y="494"/>
                  </a:lnTo>
                  <a:lnTo>
                    <a:pt x="93" y="485"/>
                  </a:lnTo>
                  <a:lnTo>
                    <a:pt x="84" y="477"/>
                  </a:lnTo>
                  <a:lnTo>
                    <a:pt x="74" y="466"/>
                  </a:lnTo>
                  <a:lnTo>
                    <a:pt x="66" y="457"/>
                  </a:lnTo>
                  <a:lnTo>
                    <a:pt x="57" y="446"/>
                  </a:lnTo>
                  <a:lnTo>
                    <a:pt x="50" y="436"/>
                  </a:lnTo>
                  <a:lnTo>
                    <a:pt x="43" y="425"/>
                  </a:lnTo>
                  <a:lnTo>
                    <a:pt x="36" y="413"/>
                  </a:lnTo>
                  <a:lnTo>
                    <a:pt x="28" y="401"/>
                  </a:lnTo>
                  <a:lnTo>
                    <a:pt x="24" y="390"/>
                  </a:lnTo>
                  <a:lnTo>
                    <a:pt x="18" y="377"/>
                  </a:lnTo>
                  <a:lnTo>
                    <a:pt x="13" y="364"/>
                  </a:lnTo>
                  <a:lnTo>
                    <a:pt x="10" y="351"/>
                  </a:lnTo>
                  <a:lnTo>
                    <a:pt x="6" y="338"/>
                  </a:lnTo>
                  <a:lnTo>
                    <a:pt x="4" y="325"/>
                  </a:lnTo>
                  <a:lnTo>
                    <a:pt x="1" y="311"/>
                  </a:lnTo>
                  <a:lnTo>
                    <a:pt x="0" y="298"/>
                  </a:lnTo>
                  <a:lnTo>
                    <a:pt x="0" y="284"/>
                  </a:lnTo>
                  <a:lnTo>
                    <a:pt x="0" y="270"/>
                  </a:lnTo>
                  <a:lnTo>
                    <a:pt x="1" y="256"/>
                  </a:lnTo>
                  <a:lnTo>
                    <a:pt x="3" y="241"/>
                  </a:lnTo>
                  <a:lnTo>
                    <a:pt x="5" y="227"/>
                  </a:lnTo>
                  <a:lnTo>
                    <a:pt x="7" y="213"/>
                  </a:lnTo>
                  <a:lnTo>
                    <a:pt x="11" y="200"/>
                  </a:lnTo>
                  <a:lnTo>
                    <a:pt x="16" y="187"/>
                  </a:lnTo>
                  <a:lnTo>
                    <a:pt x="20" y="174"/>
                  </a:lnTo>
                  <a:lnTo>
                    <a:pt x="25" y="161"/>
                  </a:lnTo>
                  <a:lnTo>
                    <a:pt x="31" y="150"/>
                  </a:lnTo>
                  <a:lnTo>
                    <a:pt x="38" y="138"/>
                  </a:lnTo>
                  <a:lnTo>
                    <a:pt x="45" y="126"/>
                  </a:lnTo>
                  <a:lnTo>
                    <a:pt x="52" y="115"/>
                  </a:lnTo>
                  <a:lnTo>
                    <a:pt x="60" y="105"/>
                  </a:lnTo>
                  <a:lnTo>
                    <a:pt x="70" y="94"/>
                  </a:lnTo>
                  <a:lnTo>
                    <a:pt x="78" y="85"/>
                  </a:lnTo>
                  <a:lnTo>
                    <a:pt x="87" y="75"/>
                  </a:lnTo>
                  <a:lnTo>
                    <a:pt x="98" y="66"/>
                  </a:lnTo>
                  <a:lnTo>
                    <a:pt x="109" y="58"/>
                  </a:lnTo>
                  <a:lnTo>
                    <a:pt x="119" y="50"/>
                  </a:lnTo>
                  <a:lnTo>
                    <a:pt x="130" y="42"/>
                  </a:lnTo>
                  <a:lnTo>
                    <a:pt x="141" y="35"/>
                  </a:lnTo>
                  <a:lnTo>
                    <a:pt x="153" y="30"/>
                  </a:lnTo>
                  <a:lnTo>
                    <a:pt x="165" y="24"/>
                  </a:lnTo>
                  <a:lnTo>
                    <a:pt x="178" y="19"/>
                  </a:lnTo>
                  <a:lnTo>
                    <a:pt x="190" y="14"/>
                  </a:lnTo>
                  <a:lnTo>
                    <a:pt x="203" y="11"/>
                  </a:lnTo>
                  <a:lnTo>
                    <a:pt x="217" y="7"/>
                  </a:lnTo>
                  <a:lnTo>
                    <a:pt x="230" y="5"/>
                  </a:lnTo>
                  <a:lnTo>
                    <a:pt x="244" y="2"/>
                  </a:lnTo>
                  <a:lnTo>
                    <a:pt x="257" y="1"/>
                  </a:lnTo>
                  <a:lnTo>
                    <a:pt x="271" y="0"/>
                  </a:lnTo>
                  <a:lnTo>
                    <a:pt x="285" y="0"/>
                  </a:lnTo>
                  <a:lnTo>
                    <a:pt x="299" y="1"/>
                  </a:lnTo>
                  <a:lnTo>
                    <a:pt x="313" y="2"/>
                  </a:lnTo>
                  <a:lnTo>
                    <a:pt x="327" y="5"/>
                  </a:lnTo>
                  <a:lnTo>
                    <a:pt x="342" y="8"/>
                  </a:lnTo>
                  <a:lnTo>
                    <a:pt x="355" y="12"/>
                  </a:lnTo>
                  <a:lnTo>
                    <a:pt x="368" y="15"/>
                  </a:lnTo>
                  <a:lnTo>
                    <a:pt x="380" y="20"/>
                  </a:lnTo>
                  <a:lnTo>
                    <a:pt x="393" y="26"/>
                  </a:lnTo>
                  <a:lnTo>
                    <a:pt x="405" y="32"/>
                  </a:lnTo>
                  <a:lnTo>
                    <a:pt x="417" y="39"/>
                  </a:lnTo>
                  <a:lnTo>
                    <a:pt x="429" y="46"/>
                  </a:lnTo>
                  <a:lnTo>
                    <a:pt x="439" y="53"/>
                  </a:lnTo>
                  <a:lnTo>
                    <a:pt x="450" y="61"/>
                  </a:lnTo>
                  <a:lnTo>
                    <a:pt x="461" y="70"/>
                  </a:lnTo>
                  <a:lnTo>
                    <a:pt x="470" y="79"/>
                  </a:lnTo>
                  <a:lnTo>
                    <a:pt x="479" y="88"/>
                  </a:lnTo>
                  <a:lnTo>
                    <a:pt x="489" y="99"/>
                  </a:lnTo>
                  <a:lnTo>
                    <a:pt x="497" y="108"/>
                  </a:lnTo>
                  <a:lnTo>
                    <a:pt x="504" y="119"/>
                  </a:lnTo>
                  <a:lnTo>
                    <a:pt x="512" y="131"/>
                  </a:lnTo>
                  <a:lnTo>
                    <a:pt x="518" y="143"/>
                  </a:lnTo>
                  <a:lnTo>
                    <a:pt x="525" y="154"/>
                  </a:lnTo>
                  <a:lnTo>
                    <a:pt x="530" y="166"/>
                  </a:lnTo>
                  <a:lnTo>
                    <a:pt x="536" y="178"/>
                  </a:lnTo>
                  <a:lnTo>
                    <a:pt x="541" y="191"/>
                  </a:lnTo>
                  <a:lnTo>
                    <a:pt x="544" y="204"/>
                  </a:lnTo>
                  <a:lnTo>
                    <a:pt x="548" y="217"/>
                  </a:lnTo>
                  <a:lnTo>
                    <a:pt x="550" y="231"/>
                  </a:lnTo>
                  <a:lnTo>
                    <a:pt x="552" y="244"/>
                  </a:lnTo>
                  <a:lnTo>
                    <a:pt x="554" y="258"/>
                  </a:lnTo>
                  <a:lnTo>
                    <a:pt x="554" y="272"/>
                  </a:lnTo>
                  <a:lnTo>
                    <a:pt x="554" y="286"/>
                  </a:lnTo>
                  <a:lnTo>
                    <a:pt x="554" y="300"/>
                  </a:lnTo>
                  <a:close/>
                </a:path>
              </a:pathLst>
            </a:cu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6653" tIns="58327" rIns="116653" bIns="58327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434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137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16" name="Freeform 86"/>
            <p:cNvSpPr>
              <a:spLocks noEditPoints="1"/>
            </p:cNvSpPr>
            <p:nvPr/>
          </p:nvSpPr>
          <p:spPr bwMode="auto">
            <a:xfrm>
              <a:off x="2250" y="2125"/>
              <a:ext cx="153" cy="152"/>
            </a:xfrm>
            <a:custGeom>
              <a:avLst/>
              <a:gdLst>
                <a:gd name="T0" fmla="*/ 287 w 610"/>
                <a:gd name="T1" fmla="*/ 55 h 610"/>
                <a:gd name="T2" fmla="*/ 239 w 610"/>
                <a:gd name="T3" fmla="*/ 65 h 610"/>
                <a:gd name="T4" fmla="*/ 162 w 610"/>
                <a:gd name="T5" fmla="*/ 100 h 610"/>
                <a:gd name="T6" fmla="*/ 96 w 610"/>
                <a:gd name="T7" fmla="*/ 168 h 610"/>
                <a:gd name="T8" fmla="*/ 69 w 610"/>
                <a:gd name="T9" fmla="*/ 222 h 610"/>
                <a:gd name="T10" fmla="*/ 58 w 610"/>
                <a:gd name="T11" fmla="*/ 272 h 610"/>
                <a:gd name="T12" fmla="*/ 56 w 610"/>
                <a:gd name="T13" fmla="*/ 323 h 610"/>
                <a:gd name="T14" fmla="*/ 65 w 610"/>
                <a:gd name="T15" fmla="*/ 371 h 610"/>
                <a:gd name="T16" fmla="*/ 100 w 610"/>
                <a:gd name="T17" fmla="*/ 447 h 610"/>
                <a:gd name="T18" fmla="*/ 168 w 610"/>
                <a:gd name="T19" fmla="*/ 513 h 610"/>
                <a:gd name="T20" fmla="*/ 224 w 610"/>
                <a:gd name="T21" fmla="*/ 540 h 610"/>
                <a:gd name="T22" fmla="*/ 272 w 610"/>
                <a:gd name="T23" fmla="*/ 552 h 610"/>
                <a:gd name="T24" fmla="*/ 323 w 610"/>
                <a:gd name="T25" fmla="*/ 553 h 610"/>
                <a:gd name="T26" fmla="*/ 371 w 610"/>
                <a:gd name="T27" fmla="*/ 545 h 610"/>
                <a:gd name="T28" fmla="*/ 447 w 610"/>
                <a:gd name="T29" fmla="*/ 510 h 610"/>
                <a:gd name="T30" fmla="*/ 513 w 610"/>
                <a:gd name="T31" fmla="*/ 441 h 610"/>
                <a:gd name="T32" fmla="*/ 540 w 610"/>
                <a:gd name="T33" fmla="*/ 386 h 610"/>
                <a:gd name="T34" fmla="*/ 552 w 610"/>
                <a:gd name="T35" fmla="*/ 338 h 610"/>
                <a:gd name="T36" fmla="*/ 553 w 610"/>
                <a:gd name="T37" fmla="*/ 287 h 610"/>
                <a:gd name="T38" fmla="*/ 545 w 610"/>
                <a:gd name="T39" fmla="*/ 239 h 610"/>
                <a:gd name="T40" fmla="*/ 510 w 610"/>
                <a:gd name="T41" fmla="*/ 162 h 610"/>
                <a:gd name="T42" fmla="*/ 441 w 610"/>
                <a:gd name="T43" fmla="*/ 95 h 610"/>
                <a:gd name="T44" fmla="*/ 387 w 610"/>
                <a:gd name="T45" fmla="*/ 69 h 610"/>
                <a:gd name="T46" fmla="*/ 338 w 610"/>
                <a:gd name="T47" fmla="*/ 58 h 610"/>
                <a:gd name="T48" fmla="*/ 250 w 610"/>
                <a:gd name="T49" fmla="*/ 604 h 610"/>
                <a:gd name="T50" fmla="*/ 191 w 610"/>
                <a:gd name="T51" fmla="*/ 587 h 610"/>
                <a:gd name="T52" fmla="*/ 139 w 610"/>
                <a:gd name="T53" fmla="*/ 560 h 610"/>
                <a:gd name="T54" fmla="*/ 93 w 610"/>
                <a:gd name="T55" fmla="*/ 523 h 610"/>
                <a:gd name="T56" fmla="*/ 55 w 610"/>
                <a:gd name="T57" fmla="*/ 479 h 610"/>
                <a:gd name="T58" fmla="*/ 26 w 610"/>
                <a:gd name="T59" fmla="*/ 427 h 610"/>
                <a:gd name="T60" fmla="*/ 7 w 610"/>
                <a:gd name="T61" fmla="*/ 371 h 610"/>
                <a:gd name="T62" fmla="*/ 0 w 610"/>
                <a:gd name="T63" fmla="*/ 311 h 610"/>
                <a:gd name="T64" fmla="*/ 5 w 610"/>
                <a:gd name="T65" fmla="*/ 248 h 610"/>
                <a:gd name="T66" fmla="*/ 22 w 610"/>
                <a:gd name="T67" fmla="*/ 191 h 610"/>
                <a:gd name="T68" fmla="*/ 49 w 610"/>
                <a:gd name="T69" fmla="*/ 138 h 610"/>
                <a:gd name="T70" fmla="*/ 87 w 610"/>
                <a:gd name="T71" fmla="*/ 92 h 610"/>
                <a:gd name="T72" fmla="*/ 131 w 610"/>
                <a:gd name="T73" fmla="*/ 54 h 610"/>
                <a:gd name="T74" fmla="*/ 182 w 610"/>
                <a:gd name="T75" fmla="*/ 26 h 610"/>
                <a:gd name="T76" fmla="*/ 239 w 610"/>
                <a:gd name="T77" fmla="*/ 7 h 610"/>
                <a:gd name="T78" fmla="*/ 299 w 610"/>
                <a:gd name="T79" fmla="*/ 0 h 610"/>
                <a:gd name="T80" fmla="*/ 361 w 610"/>
                <a:gd name="T81" fmla="*/ 5 h 610"/>
                <a:gd name="T82" fmla="*/ 419 w 610"/>
                <a:gd name="T83" fmla="*/ 22 h 610"/>
                <a:gd name="T84" fmla="*/ 472 w 610"/>
                <a:gd name="T85" fmla="*/ 49 h 610"/>
                <a:gd name="T86" fmla="*/ 517 w 610"/>
                <a:gd name="T87" fmla="*/ 86 h 610"/>
                <a:gd name="T88" fmla="*/ 556 w 610"/>
                <a:gd name="T89" fmla="*/ 131 h 610"/>
                <a:gd name="T90" fmla="*/ 584 w 610"/>
                <a:gd name="T91" fmla="*/ 182 h 610"/>
                <a:gd name="T92" fmla="*/ 603 w 610"/>
                <a:gd name="T93" fmla="*/ 238 h 610"/>
                <a:gd name="T94" fmla="*/ 610 w 610"/>
                <a:gd name="T95" fmla="*/ 299 h 610"/>
                <a:gd name="T96" fmla="*/ 604 w 610"/>
                <a:gd name="T97" fmla="*/ 360 h 610"/>
                <a:gd name="T98" fmla="*/ 587 w 610"/>
                <a:gd name="T99" fmla="*/ 419 h 610"/>
                <a:gd name="T100" fmla="*/ 560 w 610"/>
                <a:gd name="T101" fmla="*/ 471 h 610"/>
                <a:gd name="T102" fmla="*/ 524 w 610"/>
                <a:gd name="T103" fmla="*/ 517 h 610"/>
                <a:gd name="T104" fmla="*/ 479 w 610"/>
                <a:gd name="T105" fmla="*/ 554 h 610"/>
                <a:gd name="T106" fmla="*/ 427 w 610"/>
                <a:gd name="T107" fmla="*/ 584 h 610"/>
                <a:gd name="T108" fmla="*/ 371 w 610"/>
                <a:gd name="T109" fmla="*/ 603 h 610"/>
                <a:gd name="T110" fmla="*/ 311 w 610"/>
                <a:gd name="T111" fmla="*/ 610 h 6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610" h="610">
                  <a:moveTo>
                    <a:pt x="325" y="57"/>
                  </a:moveTo>
                  <a:lnTo>
                    <a:pt x="313" y="55"/>
                  </a:lnTo>
                  <a:lnTo>
                    <a:pt x="300" y="55"/>
                  </a:lnTo>
                  <a:lnTo>
                    <a:pt x="287" y="55"/>
                  </a:lnTo>
                  <a:lnTo>
                    <a:pt x="275" y="57"/>
                  </a:lnTo>
                  <a:lnTo>
                    <a:pt x="262" y="59"/>
                  </a:lnTo>
                  <a:lnTo>
                    <a:pt x="251" y="61"/>
                  </a:lnTo>
                  <a:lnTo>
                    <a:pt x="239" y="65"/>
                  </a:lnTo>
                  <a:lnTo>
                    <a:pt x="227" y="68"/>
                  </a:lnTo>
                  <a:lnTo>
                    <a:pt x="205" y="77"/>
                  </a:lnTo>
                  <a:lnTo>
                    <a:pt x="182" y="87"/>
                  </a:lnTo>
                  <a:lnTo>
                    <a:pt x="162" y="100"/>
                  </a:lnTo>
                  <a:lnTo>
                    <a:pt x="144" y="114"/>
                  </a:lnTo>
                  <a:lnTo>
                    <a:pt x="126" y="131"/>
                  </a:lnTo>
                  <a:lnTo>
                    <a:pt x="111" y="148"/>
                  </a:lnTo>
                  <a:lnTo>
                    <a:pt x="96" y="168"/>
                  </a:lnTo>
                  <a:lnTo>
                    <a:pt x="84" y="190"/>
                  </a:lnTo>
                  <a:lnTo>
                    <a:pt x="79" y="200"/>
                  </a:lnTo>
                  <a:lnTo>
                    <a:pt x="74" y="212"/>
                  </a:lnTo>
                  <a:lnTo>
                    <a:pt x="69" y="222"/>
                  </a:lnTo>
                  <a:lnTo>
                    <a:pt x="66" y="234"/>
                  </a:lnTo>
                  <a:lnTo>
                    <a:pt x="62" y="247"/>
                  </a:lnTo>
                  <a:lnTo>
                    <a:pt x="60" y="259"/>
                  </a:lnTo>
                  <a:lnTo>
                    <a:pt x="58" y="272"/>
                  </a:lnTo>
                  <a:lnTo>
                    <a:pt x="56" y="285"/>
                  </a:lnTo>
                  <a:lnTo>
                    <a:pt x="55" y="297"/>
                  </a:lnTo>
                  <a:lnTo>
                    <a:pt x="55" y="310"/>
                  </a:lnTo>
                  <a:lnTo>
                    <a:pt x="56" y="323"/>
                  </a:lnTo>
                  <a:lnTo>
                    <a:pt x="58" y="334"/>
                  </a:lnTo>
                  <a:lnTo>
                    <a:pt x="59" y="347"/>
                  </a:lnTo>
                  <a:lnTo>
                    <a:pt x="61" y="359"/>
                  </a:lnTo>
                  <a:lnTo>
                    <a:pt x="65" y="371"/>
                  </a:lnTo>
                  <a:lnTo>
                    <a:pt x="68" y="383"/>
                  </a:lnTo>
                  <a:lnTo>
                    <a:pt x="76" y="405"/>
                  </a:lnTo>
                  <a:lnTo>
                    <a:pt x="87" y="426"/>
                  </a:lnTo>
                  <a:lnTo>
                    <a:pt x="100" y="447"/>
                  </a:lnTo>
                  <a:lnTo>
                    <a:pt x="115" y="466"/>
                  </a:lnTo>
                  <a:lnTo>
                    <a:pt x="131" y="484"/>
                  </a:lnTo>
                  <a:lnTo>
                    <a:pt x="149" y="499"/>
                  </a:lnTo>
                  <a:lnTo>
                    <a:pt x="168" y="513"/>
                  </a:lnTo>
                  <a:lnTo>
                    <a:pt x="189" y="526"/>
                  </a:lnTo>
                  <a:lnTo>
                    <a:pt x="200" y="531"/>
                  </a:lnTo>
                  <a:lnTo>
                    <a:pt x="212" y="536"/>
                  </a:lnTo>
                  <a:lnTo>
                    <a:pt x="224" y="540"/>
                  </a:lnTo>
                  <a:lnTo>
                    <a:pt x="235" y="544"/>
                  </a:lnTo>
                  <a:lnTo>
                    <a:pt x="247" y="547"/>
                  </a:lnTo>
                  <a:lnTo>
                    <a:pt x="259" y="550"/>
                  </a:lnTo>
                  <a:lnTo>
                    <a:pt x="272" y="552"/>
                  </a:lnTo>
                  <a:lnTo>
                    <a:pt x="285" y="553"/>
                  </a:lnTo>
                  <a:lnTo>
                    <a:pt x="298" y="553"/>
                  </a:lnTo>
                  <a:lnTo>
                    <a:pt x="310" y="554"/>
                  </a:lnTo>
                  <a:lnTo>
                    <a:pt x="323" y="553"/>
                  </a:lnTo>
                  <a:lnTo>
                    <a:pt x="335" y="552"/>
                  </a:lnTo>
                  <a:lnTo>
                    <a:pt x="347" y="551"/>
                  </a:lnTo>
                  <a:lnTo>
                    <a:pt x="359" y="549"/>
                  </a:lnTo>
                  <a:lnTo>
                    <a:pt x="371" y="545"/>
                  </a:lnTo>
                  <a:lnTo>
                    <a:pt x="383" y="542"/>
                  </a:lnTo>
                  <a:lnTo>
                    <a:pt x="405" y="533"/>
                  </a:lnTo>
                  <a:lnTo>
                    <a:pt x="427" y="521"/>
                  </a:lnTo>
                  <a:lnTo>
                    <a:pt x="447" y="510"/>
                  </a:lnTo>
                  <a:lnTo>
                    <a:pt x="466" y="494"/>
                  </a:lnTo>
                  <a:lnTo>
                    <a:pt x="484" y="478"/>
                  </a:lnTo>
                  <a:lnTo>
                    <a:pt x="499" y="460"/>
                  </a:lnTo>
                  <a:lnTo>
                    <a:pt x="513" y="441"/>
                  </a:lnTo>
                  <a:lnTo>
                    <a:pt x="526" y="420"/>
                  </a:lnTo>
                  <a:lnTo>
                    <a:pt x="531" y="410"/>
                  </a:lnTo>
                  <a:lnTo>
                    <a:pt x="536" y="398"/>
                  </a:lnTo>
                  <a:lnTo>
                    <a:pt x="540" y="386"/>
                  </a:lnTo>
                  <a:lnTo>
                    <a:pt x="544" y="374"/>
                  </a:lnTo>
                  <a:lnTo>
                    <a:pt x="547" y="363"/>
                  </a:lnTo>
                  <a:lnTo>
                    <a:pt x="550" y="351"/>
                  </a:lnTo>
                  <a:lnTo>
                    <a:pt x="552" y="338"/>
                  </a:lnTo>
                  <a:lnTo>
                    <a:pt x="553" y="325"/>
                  </a:lnTo>
                  <a:lnTo>
                    <a:pt x="554" y="312"/>
                  </a:lnTo>
                  <a:lnTo>
                    <a:pt x="554" y="300"/>
                  </a:lnTo>
                  <a:lnTo>
                    <a:pt x="553" y="287"/>
                  </a:lnTo>
                  <a:lnTo>
                    <a:pt x="552" y="274"/>
                  </a:lnTo>
                  <a:lnTo>
                    <a:pt x="551" y="263"/>
                  </a:lnTo>
                  <a:lnTo>
                    <a:pt x="549" y="251"/>
                  </a:lnTo>
                  <a:lnTo>
                    <a:pt x="545" y="239"/>
                  </a:lnTo>
                  <a:lnTo>
                    <a:pt x="541" y="227"/>
                  </a:lnTo>
                  <a:lnTo>
                    <a:pt x="533" y="205"/>
                  </a:lnTo>
                  <a:lnTo>
                    <a:pt x="523" y="182"/>
                  </a:lnTo>
                  <a:lnTo>
                    <a:pt x="510" y="162"/>
                  </a:lnTo>
                  <a:lnTo>
                    <a:pt x="494" y="144"/>
                  </a:lnTo>
                  <a:lnTo>
                    <a:pt x="479" y="126"/>
                  </a:lnTo>
                  <a:lnTo>
                    <a:pt x="460" y="111"/>
                  </a:lnTo>
                  <a:lnTo>
                    <a:pt x="441" y="95"/>
                  </a:lnTo>
                  <a:lnTo>
                    <a:pt x="420" y="84"/>
                  </a:lnTo>
                  <a:lnTo>
                    <a:pt x="410" y="78"/>
                  </a:lnTo>
                  <a:lnTo>
                    <a:pt x="398" y="73"/>
                  </a:lnTo>
                  <a:lnTo>
                    <a:pt x="387" y="69"/>
                  </a:lnTo>
                  <a:lnTo>
                    <a:pt x="375" y="65"/>
                  </a:lnTo>
                  <a:lnTo>
                    <a:pt x="363" y="62"/>
                  </a:lnTo>
                  <a:lnTo>
                    <a:pt x="351" y="60"/>
                  </a:lnTo>
                  <a:lnTo>
                    <a:pt x="338" y="58"/>
                  </a:lnTo>
                  <a:lnTo>
                    <a:pt x="325" y="57"/>
                  </a:lnTo>
                  <a:close/>
                  <a:moveTo>
                    <a:pt x="280" y="609"/>
                  </a:moveTo>
                  <a:lnTo>
                    <a:pt x="265" y="607"/>
                  </a:lnTo>
                  <a:lnTo>
                    <a:pt x="250" y="604"/>
                  </a:lnTo>
                  <a:lnTo>
                    <a:pt x="234" y="602"/>
                  </a:lnTo>
                  <a:lnTo>
                    <a:pt x="219" y="597"/>
                  </a:lnTo>
                  <a:lnTo>
                    <a:pt x="205" y="593"/>
                  </a:lnTo>
                  <a:lnTo>
                    <a:pt x="191" y="587"/>
                  </a:lnTo>
                  <a:lnTo>
                    <a:pt x="178" y="582"/>
                  </a:lnTo>
                  <a:lnTo>
                    <a:pt x="164" y="574"/>
                  </a:lnTo>
                  <a:lnTo>
                    <a:pt x="151" y="567"/>
                  </a:lnTo>
                  <a:lnTo>
                    <a:pt x="139" y="560"/>
                  </a:lnTo>
                  <a:lnTo>
                    <a:pt x="126" y="552"/>
                  </a:lnTo>
                  <a:lnTo>
                    <a:pt x="114" y="543"/>
                  </a:lnTo>
                  <a:lnTo>
                    <a:pt x="104" y="533"/>
                  </a:lnTo>
                  <a:lnTo>
                    <a:pt x="93" y="523"/>
                  </a:lnTo>
                  <a:lnTo>
                    <a:pt x="82" y="513"/>
                  </a:lnTo>
                  <a:lnTo>
                    <a:pt x="73" y="501"/>
                  </a:lnTo>
                  <a:lnTo>
                    <a:pt x="64" y="491"/>
                  </a:lnTo>
                  <a:lnTo>
                    <a:pt x="55" y="479"/>
                  </a:lnTo>
                  <a:lnTo>
                    <a:pt x="47" y="466"/>
                  </a:lnTo>
                  <a:lnTo>
                    <a:pt x="39" y="453"/>
                  </a:lnTo>
                  <a:lnTo>
                    <a:pt x="32" y="440"/>
                  </a:lnTo>
                  <a:lnTo>
                    <a:pt x="26" y="427"/>
                  </a:lnTo>
                  <a:lnTo>
                    <a:pt x="20" y="414"/>
                  </a:lnTo>
                  <a:lnTo>
                    <a:pt x="15" y="400"/>
                  </a:lnTo>
                  <a:lnTo>
                    <a:pt x="11" y="386"/>
                  </a:lnTo>
                  <a:lnTo>
                    <a:pt x="7" y="371"/>
                  </a:lnTo>
                  <a:lnTo>
                    <a:pt x="5" y="357"/>
                  </a:lnTo>
                  <a:lnTo>
                    <a:pt x="2" y="341"/>
                  </a:lnTo>
                  <a:lnTo>
                    <a:pt x="1" y="326"/>
                  </a:lnTo>
                  <a:lnTo>
                    <a:pt x="0" y="311"/>
                  </a:lnTo>
                  <a:lnTo>
                    <a:pt x="0" y="295"/>
                  </a:lnTo>
                  <a:lnTo>
                    <a:pt x="1" y="280"/>
                  </a:lnTo>
                  <a:lnTo>
                    <a:pt x="2" y="264"/>
                  </a:lnTo>
                  <a:lnTo>
                    <a:pt x="5" y="248"/>
                  </a:lnTo>
                  <a:lnTo>
                    <a:pt x="8" y="234"/>
                  </a:lnTo>
                  <a:lnTo>
                    <a:pt x="13" y="219"/>
                  </a:lnTo>
                  <a:lnTo>
                    <a:pt x="16" y="205"/>
                  </a:lnTo>
                  <a:lnTo>
                    <a:pt x="22" y="191"/>
                  </a:lnTo>
                  <a:lnTo>
                    <a:pt x="28" y="177"/>
                  </a:lnTo>
                  <a:lnTo>
                    <a:pt x="35" y="164"/>
                  </a:lnTo>
                  <a:lnTo>
                    <a:pt x="42" y="151"/>
                  </a:lnTo>
                  <a:lnTo>
                    <a:pt x="49" y="138"/>
                  </a:lnTo>
                  <a:lnTo>
                    <a:pt x="58" y="126"/>
                  </a:lnTo>
                  <a:lnTo>
                    <a:pt x="67" y="114"/>
                  </a:lnTo>
                  <a:lnTo>
                    <a:pt x="76" y="102"/>
                  </a:lnTo>
                  <a:lnTo>
                    <a:pt x="87" y="92"/>
                  </a:lnTo>
                  <a:lnTo>
                    <a:pt x="96" y="82"/>
                  </a:lnTo>
                  <a:lnTo>
                    <a:pt x="108" y="72"/>
                  </a:lnTo>
                  <a:lnTo>
                    <a:pt x="119" y="64"/>
                  </a:lnTo>
                  <a:lnTo>
                    <a:pt x="131" y="54"/>
                  </a:lnTo>
                  <a:lnTo>
                    <a:pt x="144" y="46"/>
                  </a:lnTo>
                  <a:lnTo>
                    <a:pt x="155" y="39"/>
                  </a:lnTo>
                  <a:lnTo>
                    <a:pt x="169" y="32"/>
                  </a:lnTo>
                  <a:lnTo>
                    <a:pt x="182" y="26"/>
                  </a:lnTo>
                  <a:lnTo>
                    <a:pt x="195" y="20"/>
                  </a:lnTo>
                  <a:lnTo>
                    <a:pt x="209" y="15"/>
                  </a:lnTo>
                  <a:lnTo>
                    <a:pt x="224" y="11"/>
                  </a:lnTo>
                  <a:lnTo>
                    <a:pt x="239" y="7"/>
                  </a:lnTo>
                  <a:lnTo>
                    <a:pt x="253" y="5"/>
                  </a:lnTo>
                  <a:lnTo>
                    <a:pt x="268" y="2"/>
                  </a:lnTo>
                  <a:lnTo>
                    <a:pt x="284" y="0"/>
                  </a:lnTo>
                  <a:lnTo>
                    <a:pt x="299" y="0"/>
                  </a:lnTo>
                  <a:lnTo>
                    <a:pt x="314" y="0"/>
                  </a:lnTo>
                  <a:lnTo>
                    <a:pt x="330" y="1"/>
                  </a:lnTo>
                  <a:lnTo>
                    <a:pt x="346" y="2"/>
                  </a:lnTo>
                  <a:lnTo>
                    <a:pt x="361" y="5"/>
                  </a:lnTo>
                  <a:lnTo>
                    <a:pt x="375" y="8"/>
                  </a:lnTo>
                  <a:lnTo>
                    <a:pt x="391" y="12"/>
                  </a:lnTo>
                  <a:lnTo>
                    <a:pt x="405" y="16"/>
                  </a:lnTo>
                  <a:lnTo>
                    <a:pt x="419" y="22"/>
                  </a:lnTo>
                  <a:lnTo>
                    <a:pt x="433" y="28"/>
                  </a:lnTo>
                  <a:lnTo>
                    <a:pt x="446" y="34"/>
                  </a:lnTo>
                  <a:lnTo>
                    <a:pt x="459" y="41"/>
                  </a:lnTo>
                  <a:lnTo>
                    <a:pt x="472" y="49"/>
                  </a:lnTo>
                  <a:lnTo>
                    <a:pt x="484" y="58"/>
                  </a:lnTo>
                  <a:lnTo>
                    <a:pt x="496" y="67"/>
                  </a:lnTo>
                  <a:lnTo>
                    <a:pt x="506" y="77"/>
                  </a:lnTo>
                  <a:lnTo>
                    <a:pt x="517" y="86"/>
                  </a:lnTo>
                  <a:lnTo>
                    <a:pt x="527" y="97"/>
                  </a:lnTo>
                  <a:lnTo>
                    <a:pt x="537" y="107"/>
                  </a:lnTo>
                  <a:lnTo>
                    <a:pt x="546" y="119"/>
                  </a:lnTo>
                  <a:lnTo>
                    <a:pt x="556" y="131"/>
                  </a:lnTo>
                  <a:lnTo>
                    <a:pt x="563" y="144"/>
                  </a:lnTo>
                  <a:lnTo>
                    <a:pt x="571" y="155"/>
                  </a:lnTo>
                  <a:lnTo>
                    <a:pt x="578" y="168"/>
                  </a:lnTo>
                  <a:lnTo>
                    <a:pt x="584" y="182"/>
                  </a:lnTo>
                  <a:lnTo>
                    <a:pt x="590" y="195"/>
                  </a:lnTo>
                  <a:lnTo>
                    <a:pt x="594" y="210"/>
                  </a:lnTo>
                  <a:lnTo>
                    <a:pt x="599" y="224"/>
                  </a:lnTo>
                  <a:lnTo>
                    <a:pt x="603" y="238"/>
                  </a:lnTo>
                  <a:lnTo>
                    <a:pt x="605" y="253"/>
                  </a:lnTo>
                  <a:lnTo>
                    <a:pt x="607" y="268"/>
                  </a:lnTo>
                  <a:lnTo>
                    <a:pt x="609" y="284"/>
                  </a:lnTo>
                  <a:lnTo>
                    <a:pt x="610" y="299"/>
                  </a:lnTo>
                  <a:lnTo>
                    <a:pt x="610" y="314"/>
                  </a:lnTo>
                  <a:lnTo>
                    <a:pt x="609" y="330"/>
                  </a:lnTo>
                  <a:lnTo>
                    <a:pt x="607" y="345"/>
                  </a:lnTo>
                  <a:lnTo>
                    <a:pt x="604" y="360"/>
                  </a:lnTo>
                  <a:lnTo>
                    <a:pt x="602" y="376"/>
                  </a:lnTo>
                  <a:lnTo>
                    <a:pt x="597" y="391"/>
                  </a:lnTo>
                  <a:lnTo>
                    <a:pt x="593" y="405"/>
                  </a:lnTo>
                  <a:lnTo>
                    <a:pt x="587" y="419"/>
                  </a:lnTo>
                  <a:lnTo>
                    <a:pt x="582" y="432"/>
                  </a:lnTo>
                  <a:lnTo>
                    <a:pt x="574" y="446"/>
                  </a:lnTo>
                  <a:lnTo>
                    <a:pt x="567" y="459"/>
                  </a:lnTo>
                  <a:lnTo>
                    <a:pt x="560" y="471"/>
                  </a:lnTo>
                  <a:lnTo>
                    <a:pt x="552" y="484"/>
                  </a:lnTo>
                  <a:lnTo>
                    <a:pt x="543" y="496"/>
                  </a:lnTo>
                  <a:lnTo>
                    <a:pt x="533" y="506"/>
                  </a:lnTo>
                  <a:lnTo>
                    <a:pt x="524" y="517"/>
                  </a:lnTo>
                  <a:lnTo>
                    <a:pt x="513" y="527"/>
                  </a:lnTo>
                  <a:lnTo>
                    <a:pt x="501" y="537"/>
                  </a:lnTo>
                  <a:lnTo>
                    <a:pt x="491" y="546"/>
                  </a:lnTo>
                  <a:lnTo>
                    <a:pt x="479" y="554"/>
                  </a:lnTo>
                  <a:lnTo>
                    <a:pt x="466" y="563"/>
                  </a:lnTo>
                  <a:lnTo>
                    <a:pt x="454" y="571"/>
                  </a:lnTo>
                  <a:lnTo>
                    <a:pt x="441" y="577"/>
                  </a:lnTo>
                  <a:lnTo>
                    <a:pt x="427" y="584"/>
                  </a:lnTo>
                  <a:lnTo>
                    <a:pt x="414" y="590"/>
                  </a:lnTo>
                  <a:lnTo>
                    <a:pt x="400" y="594"/>
                  </a:lnTo>
                  <a:lnTo>
                    <a:pt x="386" y="598"/>
                  </a:lnTo>
                  <a:lnTo>
                    <a:pt x="371" y="603"/>
                  </a:lnTo>
                  <a:lnTo>
                    <a:pt x="357" y="605"/>
                  </a:lnTo>
                  <a:lnTo>
                    <a:pt x="341" y="607"/>
                  </a:lnTo>
                  <a:lnTo>
                    <a:pt x="326" y="609"/>
                  </a:lnTo>
                  <a:lnTo>
                    <a:pt x="311" y="610"/>
                  </a:lnTo>
                  <a:lnTo>
                    <a:pt x="295" y="610"/>
                  </a:lnTo>
                  <a:lnTo>
                    <a:pt x="280" y="609"/>
                  </a:lnTo>
                  <a:close/>
                </a:path>
              </a:pathLst>
            </a:custGeom>
            <a:solidFill>
              <a:srgbClr val="EEA52B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6653" tIns="58327" rIns="116653" bIns="58327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434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137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17" name="Freeform 87"/>
            <p:cNvSpPr>
              <a:spLocks/>
            </p:cNvSpPr>
            <p:nvPr/>
          </p:nvSpPr>
          <p:spPr bwMode="auto">
            <a:xfrm>
              <a:off x="2286" y="2161"/>
              <a:ext cx="80" cy="80"/>
            </a:xfrm>
            <a:custGeom>
              <a:avLst/>
              <a:gdLst>
                <a:gd name="T0" fmla="*/ 255 w 320"/>
                <a:gd name="T1" fmla="*/ 168 h 320"/>
                <a:gd name="T2" fmla="*/ 234 w 320"/>
                <a:gd name="T3" fmla="*/ 162 h 320"/>
                <a:gd name="T4" fmla="*/ 215 w 320"/>
                <a:gd name="T5" fmla="*/ 153 h 320"/>
                <a:gd name="T6" fmla="*/ 200 w 320"/>
                <a:gd name="T7" fmla="*/ 140 h 320"/>
                <a:gd name="T8" fmla="*/ 186 w 320"/>
                <a:gd name="T9" fmla="*/ 123 h 320"/>
                <a:gd name="T10" fmla="*/ 176 w 320"/>
                <a:gd name="T11" fmla="*/ 106 h 320"/>
                <a:gd name="T12" fmla="*/ 169 w 320"/>
                <a:gd name="T13" fmla="*/ 86 h 320"/>
                <a:gd name="T14" fmla="*/ 167 w 320"/>
                <a:gd name="T15" fmla="*/ 65 h 320"/>
                <a:gd name="T16" fmla="*/ 169 w 320"/>
                <a:gd name="T17" fmla="*/ 40 h 320"/>
                <a:gd name="T18" fmla="*/ 180 w 320"/>
                <a:gd name="T19" fmla="*/ 14 h 320"/>
                <a:gd name="T20" fmla="*/ 180 w 320"/>
                <a:gd name="T21" fmla="*/ 1 h 320"/>
                <a:gd name="T22" fmla="*/ 156 w 320"/>
                <a:gd name="T23" fmla="*/ 0 h 320"/>
                <a:gd name="T24" fmla="*/ 125 w 320"/>
                <a:gd name="T25" fmla="*/ 3 h 320"/>
                <a:gd name="T26" fmla="*/ 95 w 320"/>
                <a:gd name="T27" fmla="*/ 13 h 320"/>
                <a:gd name="T28" fmla="*/ 68 w 320"/>
                <a:gd name="T29" fmla="*/ 28 h 320"/>
                <a:gd name="T30" fmla="*/ 44 w 320"/>
                <a:gd name="T31" fmla="*/ 48 h 320"/>
                <a:gd name="T32" fmla="*/ 26 w 320"/>
                <a:gd name="T33" fmla="*/ 72 h 320"/>
                <a:gd name="T34" fmla="*/ 12 w 320"/>
                <a:gd name="T35" fmla="*/ 100 h 320"/>
                <a:gd name="T36" fmla="*/ 2 w 320"/>
                <a:gd name="T37" fmla="*/ 130 h 320"/>
                <a:gd name="T38" fmla="*/ 0 w 320"/>
                <a:gd name="T39" fmla="*/ 163 h 320"/>
                <a:gd name="T40" fmla="*/ 3 w 320"/>
                <a:gd name="T41" fmla="*/ 195 h 320"/>
                <a:gd name="T42" fmla="*/ 13 w 320"/>
                <a:gd name="T43" fmla="*/ 225 h 320"/>
                <a:gd name="T44" fmla="*/ 28 w 320"/>
                <a:gd name="T45" fmla="*/ 252 h 320"/>
                <a:gd name="T46" fmla="*/ 48 w 320"/>
                <a:gd name="T47" fmla="*/ 274 h 320"/>
                <a:gd name="T48" fmla="*/ 73 w 320"/>
                <a:gd name="T49" fmla="*/ 294 h 320"/>
                <a:gd name="T50" fmla="*/ 100 w 320"/>
                <a:gd name="T51" fmla="*/ 308 h 320"/>
                <a:gd name="T52" fmla="*/ 130 w 320"/>
                <a:gd name="T53" fmla="*/ 318 h 320"/>
                <a:gd name="T54" fmla="*/ 163 w 320"/>
                <a:gd name="T55" fmla="*/ 320 h 320"/>
                <a:gd name="T56" fmla="*/ 195 w 320"/>
                <a:gd name="T57" fmla="*/ 316 h 320"/>
                <a:gd name="T58" fmla="*/ 225 w 320"/>
                <a:gd name="T59" fmla="*/ 306 h 320"/>
                <a:gd name="T60" fmla="*/ 252 w 320"/>
                <a:gd name="T61" fmla="*/ 292 h 320"/>
                <a:gd name="T62" fmla="*/ 275 w 320"/>
                <a:gd name="T63" fmla="*/ 272 h 320"/>
                <a:gd name="T64" fmla="*/ 294 w 320"/>
                <a:gd name="T65" fmla="*/ 247 h 320"/>
                <a:gd name="T66" fmla="*/ 308 w 320"/>
                <a:gd name="T67" fmla="*/ 220 h 320"/>
                <a:gd name="T68" fmla="*/ 318 w 320"/>
                <a:gd name="T69" fmla="*/ 189 h 320"/>
                <a:gd name="T70" fmla="*/ 320 w 320"/>
                <a:gd name="T71" fmla="*/ 166 h 320"/>
                <a:gd name="T72" fmla="*/ 307 w 320"/>
                <a:gd name="T73" fmla="*/ 165 h 320"/>
                <a:gd name="T74" fmla="*/ 280 w 320"/>
                <a:gd name="T75" fmla="*/ 169 h 3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320" h="320">
                  <a:moveTo>
                    <a:pt x="266" y="169"/>
                  </a:moveTo>
                  <a:lnTo>
                    <a:pt x="255" y="168"/>
                  </a:lnTo>
                  <a:lnTo>
                    <a:pt x="245" y="166"/>
                  </a:lnTo>
                  <a:lnTo>
                    <a:pt x="234" y="162"/>
                  </a:lnTo>
                  <a:lnTo>
                    <a:pt x="225" y="158"/>
                  </a:lnTo>
                  <a:lnTo>
                    <a:pt x="215" y="153"/>
                  </a:lnTo>
                  <a:lnTo>
                    <a:pt x="207" y="146"/>
                  </a:lnTo>
                  <a:lnTo>
                    <a:pt x="200" y="140"/>
                  </a:lnTo>
                  <a:lnTo>
                    <a:pt x="193" y="132"/>
                  </a:lnTo>
                  <a:lnTo>
                    <a:pt x="186" y="123"/>
                  </a:lnTo>
                  <a:lnTo>
                    <a:pt x="181" y="115"/>
                  </a:lnTo>
                  <a:lnTo>
                    <a:pt x="176" y="106"/>
                  </a:lnTo>
                  <a:lnTo>
                    <a:pt x="173" y="96"/>
                  </a:lnTo>
                  <a:lnTo>
                    <a:pt x="169" y="86"/>
                  </a:lnTo>
                  <a:lnTo>
                    <a:pt x="168" y="75"/>
                  </a:lnTo>
                  <a:lnTo>
                    <a:pt x="167" y="65"/>
                  </a:lnTo>
                  <a:lnTo>
                    <a:pt x="168" y="54"/>
                  </a:lnTo>
                  <a:lnTo>
                    <a:pt x="169" y="40"/>
                  </a:lnTo>
                  <a:lnTo>
                    <a:pt x="174" y="26"/>
                  </a:lnTo>
                  <a:lnTo>
                    <a:pt x="180" y="14"/>
                  </a:lnTo>
                  <a:lnTo>
                    <a:pt x="187" y="2"/>
                  </a:lnTo>
                  <a:lnTo>
                    <a:pt x="180" y="1"/>
                  </a:lnTo>
                  <a:lnTo>
                    <a:pt x="173" y="0"/>
                  </a:lnTo>
                  <a:lnTo>
                    <a:pt x="156" y="0"/>
                  </a:lnTo>
                  <a:lnTo>
                    <a:pt x="141" y="1"/>
                  </a:lnTo>
                  <a:lnTo>
                    <a:pt x="125" y="3"/>
                  </a:lnTo>
                  <a:lnTo>
                    <a:pt x="110" y="7"/>
                  </a:lnTo>
                  <a:lnTo>
                    <a:pt x="95" y="13"/>
                  </a:lnTo>
                  <a:lnTo>
                    <a:pt x="81" y="20"/>
                  </a:lnTo>
                  <a:lnTo>
                    <a:pt x="68" y="28"/>
                  </a:lnTo>
                  <a:lnTo>
                    <a:pt x="56" y="37"/>
                  </a:lnTo>
                  <a:lnTo>
                    <a:pt x="44" y="48"/>
                  </a:lnTo>
                  <a:lnTo>
                    <a:pt x="35" y="60"/>
                  </a:lnTo>
                  <a:lnTo>
                    <a:pt x="26" y="72"/>
                  </a:lnTo>
                  <a:lnTo>
                    <a:pt x="17" y="86"/>
                  </a:lnTo>
                  <a:lnTo>
                    <a:pt x="12" y="100"/>
                  </a:lnTo>
                  <a:lnTo>
                    <a:pt x="6" y="114"/>
                  </a:lnTo>
                  <a:lnTo>
                    <a:pt x="2" y="130"/>
                  </a:lnTo>
                  <a:lnTo>
                    <a:pt x="0" y="147"/>
                  </a:lnTo>
                  <a:lnTo>
                    <a:pt x="0" y="163"/>
                  </a:lnTo>
                  <a:lnTo>
                    <a:pt x="1" y="179"/>
                  </a:lnTo>
                  <a:lnTo>
                    <a:pt x="3" y="195"/>
                  </a:lnTo>
                  <a:lnTo>
                    <a:pt x="8" y="209"/>
                  </a:lnTo>
                  <a:lnTo>
                    <a:pt x="13" y="225"/>
                  </a:lnTo>
                  <a:lnTo>
                    <a:pt x="20" y="238"/>
                  </a:lnTo>
                  <a:lnTo>
                    <a:pt x="28" y="252"/>
                  </a:lnTo>
                  <a:lnTo>
                    <a:pt x="37" y="263"/>
                  </a:lnTo>
                  <a:lnTo>
                    <a:pt x="48" y="274"/>
                  </a:lnTo>
                  <a:lnTo>
                    <a:pt x="60" y="285"/>
                  </a:lnTo>
                  <a:lnTo>
                    <a:pt x="73" y="294"/>
                  </a:lnTo>
                  <a:lnTo>
                    <a:pt x="86" y="302"/>
                  </a:lnTo>
                  <a:lnTo>
                    <a:pt x="100" y="308"/>
                  </a:lnTo>
                  <a:lnTo>
                    <a:pt x="115" y="313"/>
                  </a:lnTo>
                  <a:lnTo>
                    <a:pt x="130" y="318"/>
                  </a:lnTo>
                  <a:lnTo>
                    <a:pt x="147" y="319"/>
                  </a:lnTo>
                  <a:lnTo>
                    <a:pt x="163" y="320"/>
                  </a:lnTo>
                  <a:lnTo>
                    <a:pt x="179" y="319"/>
                  </a:lnTo>
                  <a:lnTo>
                    <a:pt x="195" y="316"/>
                  </a:lnTo>
                  <a:lnTo>
                    <a:pt x="210" y="312"/>
                  </a:lnTo>
                  <a:lnTo>
                    <a:pt x="225" y="306"/>
                  </a:lnTo>
                  <a:lnTo>
                    <a:pt x="239" y="300"/>
                  </a:lnTo>
                  <a:lnTo>
                    <a:pt x="252" y="292"/>
                  </a:lnTo>
                  <a:lnTo>
                    <a:pt x="263" y="282"/>
                  </a:lnTo>
                  <a:lnTo>
                    <a:pt x="275" y="272"/>
                  </a:lnTo>
                  <a:lnTo>
                    <a:pt x="285" y="260"/>
                  </a:lnTo>
                  <a:lnTo>
                    <a:pt x="294" y="247"/>
                  </a:lnTo>
                  <a:lnTo>
                    <a:pt x="302" y="234"/>
                  </a:lnTo>
                  <a:lnTo>
                    <a:pt x="308" y="220"/>
                  </a:lnTo>
                  <a:lnTo>
                    <a:pt x="314" y="205"/>
                  </a:lnTo>
                  <a:lnTo>
                    <a:pt x="318" y="189"/>
                  </a:lnTo>
                  <a:lnTo>
                    <a:pt x="320" y="173"/>
                  </a:lnTo>
                  <a:lnTo>
                    <a:pt x="320" y="166"/>
                  </a:lnTo>
                  <a:lnTo>
                    <a:pt x="320" y="159"/>
                  </a:lnTo>
                  <a:lnTo>
                    <a:pt x="307" y="165"/>
                  </a:lnTo>
                  <a:lnTo>
                    <a:pt x="294" y="168"/>
                  </a:lnTo>
                  <a:lnTo>
                    <a:pt x="280" y="169"/>
                  </a:lnTo>
                  <a:lnTo>
                    <a:pt x="266" y="169"/>
                  </a:lnTo>
                  <a:close/>
                </a:path>
              </a:pathLst>
            </a:custGeom>
            <a:solidFill>
              <a:srgbClr val="655349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6653" tIns="58327" rIns="116653" bIns="58327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434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137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18" name="Freeform 88"/>
            <p:cNvSpPr>
              <a:spLocks/>
            </p:cNvSpPr>
            <p:nvPr/>
          </p:nvSpPr>
          <p:spPr bwMode="auto">
            <a:xfrm>
              <a:off x="2073" y="2116"/>
              <a:ext cx="139" cy="139"/>
            </a:xfrm>
            <a:custGeom>
              <a:avLst/>
              <a:gdLst>
                <a:gd name="T0" fmla="*/ 550 w 555"/>
                <a:gd name="T1" fmla="*/ 328 h 554"/>
                <a:gd name="T2" fmla="*/ 539 w 555"/>
                <a:gd name="T3" fmla="*/ 368 h 554"/>
                <a:gd name="T4" fmla="*/ 523 w 555"/>
                <a:gd name="T5" fmla="*/ 405 h 554"/>
                <a:gd name="T6" fmla="*/ 502 w 555"/>
                <a:gd name="T7" fmla="*/ 440 h 554"/>
                <a:gd name="T8" fmla="*/ 476 w 555"/>
                <a:gd name="T9" fmla="*/ 470 h 554"/>
                <a:gd name="T10" fmla="*/ 446 w 555"/>
                <a:gd name="T11" fmla="*/ 497 h 554"/>
                <a:gd name="T12" fmla="*/ 413 w 555"/>
                <a:gd name="T13" fmla="*/ 519 h 554"/>
                <a:gd name="T14" fmla="*/ 377 w 555"/>
                <a:gd name="T15" fmla="*/ 536 h 554"/>
                <a:gd name="T16" fmla="*/ 338 w 555"/>
                <a:gd name="T17" fmla="*/ 547 h 554"/>
                <a:gd name="T18" fmla="*/ 297 w 555"/>
                <a:gd name="T19" fmla="*/ 553 h 554"/>
                <a:gd name="T20" fmla="*/ 255 w 555"/>
                <a:gd name="T21" fmla="*/ 553 h 554"/>
                <a:gd name="T22" fmla="*/ 213 w 555"/>
                <a:gd name="T23" fmla="*/ 546 h 554"/>
                <a:gd name="T24" fmla="*/ 173 w 555"/>
                <a:gd name="T25" fmla="*/ 534 h 554"/>
                <a:gd name="T26" fmla="*/ 137 w 555"/>
                <a:gd name="T27" fmla="*/ 517 h 554"/>
                <a:gd name="T28" fmla="*/ 104 w 555"/>
                <a:gd name="T29" fmla="*/ 493 h 554"/>
                <a:gd name="T30" fmla="*/ 76 w 555"/>
                <a:gd name="T31" fmla="*/ 466 h 554"/>
                <a:gd name="T32" fmla="*/ 50 w 555"/>
                <a:gd name="T33" fmla="*/ 436 h 554"/>
                <a:gd name="T34" fmla="*/ 30 w 555"/>
                <a:gd name="T35" fmla="*/ 401 h 554"/>
                <a:gd name="T36" fmla="*/ 14 w 555"/>
                <a:gd name="T37" fmla="*/ 364 h 554"/>
                <a:gd name="T38" fmla="*/ 5 w 555"/>
                <a:gd name="T39" fmla="*/ 324 h 554"/>
                <a:gd name="T40" fmla="*/ 0 w 555"/>
                <a:gd name="T41" fmla="*/ 283 h 554"/>
                <a:gd name="T42" fmla="*/ 3 w 555"/>
                <a:gd name="T43" fmla="*/ 240 h 554"/>
                <a:gd name="T44" fmla="*/ 12 w 555"/>
                <a:gd name="T45" fmla="*/ 199 h 554"/>
                <a:gd name="T46" fmla="*/ 26 w 555"/>
                <a:gd name="T47" fmla="*/ 161 h 554"/>
                <a:gd name="T48" fmla="*/ 46 w 555"/>
                <a:gd name="T49" fmla="*/ 126 h 554"/>
                <a:gd name="T50" fmla="*/ 70 w 555"/>
                <a:gd name="T51" fmla="*/ 94 h 554"/>
                <a:gd name="T52" fmla="*/ 98 w 555"/>
                <a:gd name="T53" fmla="*/ 66 h 554"/>
                <a:gd name="T54" fmla="*/ 131 w 555"/>
                <a:gd name="T55" fmla="*/ 42 h 554"/>
                <a:gd name="T56" fmla="*/ 166 w 555"/>
                <a:gd name="T57" fmla="*/ 24 h 554"/>
                <a:gd name="T58" fmla="*/ 204 w 555"/>
                <a:gd name="T59" fmla="*/ 9 h 554"/>
                <a:gd name="T60" fmla="*/ 244 w 555"/>
                <a:gd name="T61" fmla="*/ 2 h 554"/>
                <a:gd name="T62" fmla="*/ 286 w 555"/>
                <a:gd name="T63" fmla="*/ 0 h 554"/>
                <a:gd name="T64" fmla="*/ 329 w 555"/>
                <a:gd name="T65" fmla="*/ 5 h 554"/>
                <a:gd name="T66" fmla="*/ 369 w 555"/>
                <a:gd name="T67" fmla="*/ 15 h 554"/>
                <a:gd name="T68" fmla="*/ 406 w 555"/>
                <a:gd name="T69" fmla="*/ 32 h 554"/>
                <a:gd name="T70" fmla="*/ 441 w 555"/>
                <a:gd name="T71" fmla="*/ 53 h 554"/>
                <a:gd name="T72" fmla="*/ 471 w 555"/>
                <a:gd name="T73" fmla="*/ 79 h 554"/>
                <a:gd name="T74" fmla="*/ 497 w 555"/>
                <a:gd name="T75" fmla="*/ 108 h 554"/>
                <a:gd name="T76" fmla="*/ 519 w 555"/>
                <a:gd name="T77" fmla="*/ 141 h 554"/>
                <a:gd name="T78" fmla="*/ 536 w 555"/>
                <a:gd name="T79" fmla="*/ 178 h 554"/>
                <a:gd name="T80" fmla="*/ 548 w 555"/>
                <a:gd name="T81" fmla="*/ 217 h 554"/>
                <a:gd name="T82" fmla="*/ 554 w 555"/>
                <a:gd name="T83" fmla="*/ 258 h 554"/>
                <a:gd name="T84" fmla="*/ 554 w 555"/>
                <a:gd name="T85" fmla="*/ 300 h 5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555" h="554">
                  <a:moveTo>
                    <a:pt x="554" y="300"/>
                  </a:moveTo>
                  <a:lnTo>
                    <a:pt x="552" y="314"/>
                  </a:lnTo>
                  <a:lnTo>
                    <a:pt x="550" y="328"/>
                  </a:lnTo>
                  <a:lnTo>
                    <a:pt x="546" y="341"/>
                  </a:lnTo>
                  <a:lnTo>
                    <a:pt x="543" y="356"/>
                  </a:lnTo>
                  <a:lnTo>
                    <a:pt x="539" y="368"/>
                  </a:lnTo>
                  <a:lnTo>
                    <a:pt x="535" y="381"/>
                  </a:lnTo>
                  <a:lnTo>
                    <a:pt x="529" y="393"/>
                  </a:lnTo>
                  <a:lnTo>
                    <a:pt x="523" y="405"/>
                  </a:lnTo>
                  <a:lnTo>
                    <a:pt x="517" y="417"/>
                  </a:lnTo>
                  <a:lnTo>
                    <a:pt x="510" y="429"/>
                  </a:lnTo>
                  <a:lnTo>
                    <a:pt x="502" y="440"/>
                  </a:lnTo>
                  <a:lnTo>
                    <a:pt x="494" y="451"/>
                  </a:lnTo>
                  <a:lnTo>
                    <a:pt x="485" y="460"/>
                  </a:lnTo>
                  <a:lnTo>
                    <a:pt x="476" y="470"/>
                  </a:lnTo>
                  <a:lnTo>
                    <a:pt x="466" y="479"/>
                  </a:lnTo>
                  <a:lnTo>
                    <a:pt x="457" y="489"/>
                  </a:lnTo>
                  <a:lnTo>
                    <a:pt x="446" y="497"/>
                  </a:lnTo>
                  <a:lnTo>
                    <a:pt x="436" y="505"/>
                  </a:lnTo>
                  <a:lnTo>
                    <a:pt x="424" y="512"/>
                  </a:lnTo>
                  <a:lnTo>
                    <a:pt x="413" y="519"/>
                  </a:lnTo>
                  <a:lnTo>
                    <a:pt x="402" y="525"/>
                  </a:lnTo>
                  <a:lnTo>
                    <a:pt x="389" y="531"/>
                  </a:lnTo>
                  <a:lnTo>
                    <a:pt x="377" y="536"/>
                  </a:lnTo>
                  <a:lnTo>
                    <a:pt x="364" y="540"/>
                  </a:lnTo>
                  <a:lnTo>
                    <a:pt x="351" y="544"/>
                  </a:lnTo>
                  <a:lnTo>
                    <a:pt x="338" y="547"/>
                  </a:lnTo>
                  <a:lnTo>
                    <a:pt x="324" y="550"/>
                  </a:lnTo>
                  <a:lnTo>
                    <a:pt x="311" y="552"/>
                  </a:lnTo>
                  <a:lnTo>
                    <a:pt x="297" y="553"/>
                  </a:lnTo>
                  <a:lnTo>
                    <a:pt x="283" y="554"/>
                  </a:lnTo>
                  <a:lnTo>
                    <a:pt x="269" y="554"/>
                  </a:lnTo>
                  <a:lnTo>
                    <a:pt x="255" y="553"/>
                  </a:lnTo>
                  <a:lnTo>
                    <a:pt x="240" y="552"/>
                  </a:lnTo>
                  <a:lnTo>
                    <a:pt x="226" y="550"/>
                  </a:lnTo>
                  <a:lnTo>
                    <a:pt x="213" y="546"/>
                  </a:lnTo>
                  <a:lnTo>
                    <a:pt x="199" y="543"/>
                  </a:lnTo>
                  <a:lnTo>
                    <a:pt x="186" y="539"/>
                  </a:lnTo>
                  <a:lnTo>
                    <a:pt x="173" y="534"/>
                  </a:lnTo>
                  <a:lnTo>
                    <a:pt x="162" y="529"/>
                  </a:lnTo>
                  <a:lnTo>
                    <a:pt x="149" y="523"/>
                  </a:lnTo>
                  <a:lnTo>
                    <a:pt x="137" y="517"/>
                  </a:lnTo>
                  <a:lnTo>
                    <a:pt x="126" y="510"/>
                  </a:lnTo>
                  <a:lnTo>
                    <a:pt x="114" y="502"/>
                  </a:lnTo>
                  <a:lnTo>
                    <a:pt x="104" y="493"/>
                  </a:lnTo>
                  <a:lnTo>
                    <a:pt x="94" y="485"/>
                  </a:lnTo>
                  <a:lnTo>
                    <a:pt x="84" y="476"/>
                  </a:lnTo>
                  <a:lnTo>
                    <a:pt x="76" y="466"/>
                  </a:lnTo>
                  <a:lnTo>
                    <a:pt x="66" y="457"/>
                  </a:lnTo>
                  <a:lnTo>
                    <a:pt x="58" y="446"/>
                  </a:lnTo>
                  <a:lnTo>
                    <a:pt x="50" y="436"/>
                  </a:lnTo>
                  <a:lnTo>
                    <a:pt x="43" y="424"/>
                  </a:lnTo>
                  <a:lnTo>
                    <a:pt x="36" y="413"/>
                  </a:lnTo>
                  <a:lnTo>
                    <a:pt x="30" y="401"/>
                  </a:lnTo>
                  <a:lnTo>
                    <a:pt x="24" y="389"/>
                  </a:lnTo>
                  <a:lnTo>
                    <a:pt x="19" y="377"/>
                  </a:lnTo>
                  <a:lnTo>
                    <a:pt x="14" y="364"/>
                  </a:lnTo>
                  <a:lnTo>
                    <a:pt x="11" y="351"/>
                  </a:lnTo>
                  <a:lnTo>
                    <a:pt x="7" y="338"/>
                  </a:lnTo>
                  <a:lnTo>
                    <a:pt x="5" y="324"/>
                  </a:lnTo>
                  <a:lnTo>
                    <a:pt x="3" y="311"/>
                  </a:lnTo>
                  <a:lnTo>
                    <a:pt x="1" y="297"/>
                  </a:lnTo>
                  <a:lnTo>
                    <a:pt x="0" y="283"/>
                  </a:lnTo>
                  <a:lnTo>
                    <a:pt x="0" y="268"/>
                  </a:lnTo>
                  <a:lnTo>
                    <a:pt x="1" y="254"/>
                  </a:lnTo>
                  <a:lnTo>
                    <a:pt x="3" y="240"/>
                  </a:lnTo>
                  <a:lnTo>
                    <a:pt x="5" y="226"/>
                  </a:lnTo>
                  <a:lnTo>
                    <a:pt x="8" y="213"/>
                  </a:lnTo>
                  <a:lnTo>
                    <a:pt x="12" y="199"/>
                  </a:lnTo>
                  <a:lnTo>
                    <a:pt x="16" y="186"/>
                  </a:lnTo>
                  <a:lnTo>
                    <a:pt x="20" y="173"/>
                  </a:lnTo>
                  <a:lnTo>
                    <a:pt x="26" y="161"/>
                  </a:lnTo>
                  <a:lnTo>
                    <a:pt x="32" y="148"/>
                  </a:lnTo>
                  <a:lnTo>
                    <a:pt x="39" y="137"/>
                  </a:lnTo>
                  <a:lnTo>
                    <a:pt x="46" y="126"/>
                  </a:lnTo>
                  <a:lnTo>
                    <a:pt x="53" y="114"/>
                  </a:lnTo>
                  <a:lnTo>
                    <a:pt x="61" y="104"/>
                  </a:lnTo>
                  <a:lnTo>
                    <a:pt x="70" y="94"/>
                  </a:lnTo>
                  <a:lnTo>
                    <a:pt x="79" y="84"/>
                  </a:lnTo>
                  <a:lnTo>
                    <a:pt x="89" y="74"/>
                  </a:lnTo>
                  <a:lnTo>
                    <a:pt x="98" y="66"/>
                  </a:lnTo>
                  <a:lnTo>
                    <a:pt x="109" y="58"/>
                  </a:lnTo>
                  <a:lnTo>
                    <a:pt x="119" y="49"/>
                  </a:lnTo>
                  <a:lnTo>
                    <a:pt x="131" y="42"/>
                  </a:lnTo>
                  <a:lnTo>
                    <a:pt x="142" y="35"/>
                  </a:lnTo>
                  <a:lnTo>
                    <a:pt x="153" y="29"/>
                  </a:lnTo>
                  <a:lnTo>
                    <a:pt x="166" y="24"/>
                  </a:lnTo>
                  <a:lnTo>
                    <a:pt x="178" y="19"/>
                  </a:lnTo>
                  <a:lnTo>
                    <a:pt x="191" y="14"/>
                  </a:lnTo>
                  <a:lnTo>
                    <a:pt x="204" y="9"/>
                  </a:lnTo>
                  <a:lnTo>
                    <a:pt x="217" y="7"/>
                  </a:lnTo>
                  <a:lnTo>
                    <a:pt x="231" y="4"/>
                  </a:lnTo>
                  <a:lnTo>
                    <a:pt x="244" y="2"/>
                  </a:lnTo>
                  <a:lnTo>
                    <a:pt x="258" y="1"/>
                  </a:lnTo>
                  <a:lnTo>
                    <a:pt x="272" y="0"/>
                  </a:lnTo>
                  <a:lnTo>
                    <a:pt x="286" y="0"/>
                  </a:lnTo>
                  <a:lnTo>
                    <a:pt x="300" y="1"/>
                  </a:lnTo>
                  <a:lnTo>
                    <a:pt x="315" y="2"/>
                  </a:lnTo>
                  <a:lnTo>
                    <a:pt x="329" y="5"/>
                  </a:lnTo>
                  <a:lnTo>
                    <a:pt x="342" y="7"/>
                  </a:lnTo>
                  <a:lnTo>
                    <a:pt x="356" y="11"/>
                  </a:lnTo>
                  <a:lnTo>
                    <a:pt x="369" y="15"/>
                  </a:lnTo>
                  <a:lnTo>
                    <a:pt x="382" y="20"/>
                  </a:lnTo>
                  <a:lnTo>
                    <a:pt x="393" y="26"/>
                  </a:lnTo>
                  <a:lnTo>
                    <a:pt x="406" y="32"/>
                  </a:lnTo>
                  <a:lnTo>
                    <a:pt x="418" y="38"/>
                  </a:lnTo>
                  <a:lnTo>
                    <a:pt x="429" y="45"/>
                  </a:lnTo>
                  <a:lnTo>
                    <a:pt x="441" y="53"/>
                  </a:lnTo>
                  <a:lnTo>
                    <a:pt x="451" y="61"/>
                  </a:lnTo>
                  <a:lnTo>
                    <a:pt x="461" y="69"/>
                  </a:lnTo>
                  <a:lnTo>
                    <a:pt x="471" y="79"/>
                  </a:lnTo>
                  <a:lnTo>
                    <a:pt x="481" y="88"/>
                  </a:lnTo>
                  <a:lnTo>
                    <a:pt x="489" y="98"/>
                  </a:lnTo>
                  <a:lnTo>
                    <a:pt x="497" y="108"/>
                  </a:lnTo>
                  <a:lnTo>
                    <a:pt x="505" y="119"/>
                  </a:lnTo>
                  <a:lnTo>
                    <a:pt x="512" y="130"/>
                  </a:lnTo>
                  <a:lnTo>
                    <a:pt x="519" y="141"/>
                  </a:lnTo>
                  <a:lnTo>
                    <a:pt x="525" y="153"/>
                  </a:lnTo>
                  <a:lnTo>
                    <a:pt x="531" y="165"/>
                  </a:lnTo>
                  <a:lnTo>
                    <a:pt x="536" y="178"/>
                  </a:lnTo>
                  <a:lnTo>
                    <a:pt x="541" y="191"/>
                  </a:lnTo>
                  <a:lnTo>
                    <a:pt x="545" y="204"/>
                  </a:lnTo>
                  <a:lnTo>
                    <a:pt x="548" y="217"/>
                  </a:lnTo>
                  <a:lnTo>
                    <a:pt x="551" y="230"/>
                  </a:lnTo>
                  <a:lnTo>
                    <a:pt x="552" y="244"/>
                  </a:lnTo>
                  <a:lnTo>
                    <a:pt x="554" y="258"/>
                  </a:lnTo>
                  <a:lnTo>
                    <a:pt x="555" y="272"/>
                  </a:lnTo>
                  <a:lnTo>
                    <a:pt x="555" y="286"/>
                  </a:lnTo>
                  <a:lnTo>
                    <a:pt x="554" y="300"/>
                  </a:lnTo>
                  <a:close/>
                </a:path>
              </a:pathLst>
            </a:cu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6653" tIns="58327" rIns="116653" bIns="58327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434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137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19" name="Freeform 89"/>
            <p:cNvSpPr>
              <a:spLocks noEditPoints="1"/>
            </p:cNvSpPr>
            <p:nvPr/>
          </p:nvSpPr>
          <p:spPr bwMode="auto">
            <a:xfrm>
              <a:off x="2066" y="2109"/>
              <a:ext cx="152" cy="153"/>
            </a:xfrm>
            <a:custGeom>
              <a:avLst/>
              <a:gdLst>
                <a:gd name="T0" fmla="*/ 287 w 609"/>
                <a:gd name="T1" fmla="*/ 56 h 610"/>
                <a:gd name="T2" fmla="*/ 238 w 609"/>
                <a:gd name="T3" fmla="*/ 65 h 610"/>
                <a:gd name="T4" fmla="*/ 163 w 609"/>
                <a:gd name="T5" fmla="*/ 100 h 610"/>
                <a:gd name="T6" fmla="*/ 96 w 609"/>
                <a:gd name="T7" fmla="*/ 169 h 610"/>
                <a:gd name="T8" fmla="*/ 68 w 609"/>
                <a:gd name="T9" fmla="*/ 223 h 610"/>
                <a:gd name="T10" fmla="*/ 58 w 609"/>
                <a:gd name="T11" fmla="*/ 272 h 610"/>
                <a:gd name="T12" fmla="*/ 55 w 609"/>
                <a:gd name="T13" fmla="*/ 324 h 610"/>
                <a:gd name="T14" fmla="*/ 64 w 609"/>
                <a:gd name="T15" fmla="*/ 372 h 610"/>
                <a:gd name="T16" fmla="*/ 100 w 609"/>
                <a:gd name="T17" fmla="*/ 447 h 610"/>
                <a:gd name="T18" fmla="*/ 169 w 609"/>
                <a:gd name="T19" fmla="*/ 514 h 610"/>
                <a:gd name="T20" fmla="*/ 223 w 609"/>
                <a:gd name="T21" fmla="*/ 541 h 610"/>
                <a:gd name="T22" fmla="*/ 271 w 609"/>
                <a:gd name="T23" fmla="*/ 552 h 610"/>
                <a:gd name="T24" fmla="*/ 322 w 609"/>
                <a:gd name="T25" fmla="*/ 554 h 610"/>
                <a:gd name="T26" fmla="*/ 371 w 609"/>
                <a:gd name="T27" fmla="*/ 546 h 610"/>
                <a:gd name="T28" fmla="*/ 446 w 609"/>
                <a:gd name="T29" fmla="*/ 510 h 610"/>
                <a:gd name="T30" fmla="*/ 513 w 609"/>
                <a:gd name="T31" fmla="*/ 441 h 610"/>
                <a:gd name="T32" fmla="*/ 541 w 609"/>
                <a:gd name="T33" fmla="*/ 387 h 610"/>
                <a:gd name="T34" fmla="*/ 551 w 609"/>
                <a:gd name="T35" fmla="*/ 339 h 610"/>
                <a:gd name="T36" fmla="*/ 553 w 609"/>
                <a:gd name="T37" fmla="*/ 287 h 610"/>
                <a:gd name="T38" fmla="*/ 545 w 609"/>
                <a:gd name="T39" fmla="*/ 239 h 610"/>
                <a:gd name="T40" fmla="*/ 509 w 609"/>
                <a:gd name="T41" fmla="*/ 163 h 610"/>
                <a:gd name="T42" fmla="*/ 440 w 609"/>
                <a:gd name="T43" fmla="*/ 96 h 610"/>
                <a:gd name="T44" fmla="*/ 386 w 609"/>
                <a:gd name="T45" fmla="*/ 69 h 610"/>
                <a:gd name="T46" fmla="*/ 338 w 609"/>
                <a:gd name="T47" fmla="*/ 57 h 610"/>
                <a:gd name="T48" fmla="*/ 249 w 609"/>
                <a:gd name="T49" fmla="*/ 605 h 610"/>
                <a:gd name="T50" fmla="*/ 191 w 609"/>
                <a:gd name="T51" fmla="*/ 587 h 610"/>
                <a:gd name="T52" fmla="*/ 138 w 609"/>
                <a:gd name="T53" fmla="*/ 560 h 610"/>
                <a:gd name="T54" fmla="*/ 92 w 609"/>
                <a:gd name="T55" fmla="*/ 524 h 610"/>
                <a:gd name="T56" fmla="*/ 54 w 609"/>
                <a:gd name="T57" fmla="*/ 479 h 610"/>
                <a:gd name="T58" fmla="*/ 26 w 609"/>
                <a:gd name="T59" fmla="*/ 428 h 610"/>
                <a:gd name="T60" fmla="*/ 7 w 609"/>
                <a:gd name="T61" fmla="*/ 372 h 610"/>
                <a:gd name="T62" fmla="*/ 0 w 609"/>
                <a:gd name="T63" fmla="*/ 312 h 610"/>
                <a:gd name="T64" fmla="*/ 5 w 609"/>
                <a:gd name="T65" fmla="*/ 249 h 610"/>
                <a:gd name="T66" fmla="*/ 21 w 609"/>
                <a:gd name="T67" fmla="*/ 192 h 610"/>
                <a:gd name="T68" fmla="*/ 50 w 609"/>
                <a:gd name="T69" fmla="*/ 139 h 610"/>
                <a:gd name="T70" fmla="*/ 86 w 609"/>
                <a:gd name="T71" fmla="*/ 93 h 610"/>
                <a:gd name="T72" fmla="*/ 131 w 609"/>
                <a:gd name="T73" fmla="*/ 55 h 610"/>
                <a:gd name="T74" fmla="*/ 181 w 609"/>
                <a:gd name="T75" fmla="*/ 26 h 610"/>
                <a:gd name="T76" fmla="*/ 238 w 609"/>
                <a:gd name="T77" fmla="*/ 8 h 610"/>
                <a:gd name="T78" fmla="*/ 298 w 609"/>
                <a:gd name="T79" fmla="*/ 0 h 610"/>
                <a:gd name="T80" fmla="*/ 360 w 609"/>
                <a:gd name="T81" fmla="*/ 6 h 610"/>
                <a:gd name="T82" fmla="*/ 418 w 609"/>
                <a:gd name="T83" fmla="*/ 22 h 610"/>
                <a:gd name="T84" fmla="*/ 471 w 609"/>
                <a:gd name="T85" fmla="*/ 50 h 610"/>
                <a:gd name="T86" fmla="*/ 517 w 609"/>
                <a:gd name="T87" fmla="*/ 87 h 610"/>
                <a:gd name="T88" fmla="*/ 555 w 609"/>
                <a:gd name="T89" fmla="*/ 132 h 610"/>
                <a:gd name="T90" fmla="*/ 583 w 609"/>
                <a:gd name="T91" fmla="*/ 182 h 610"/>
                <a:gd name="T92" fmla="*/ 602 w 609"/>
                <a:gd name="T93" fmla="*/ 239 h 610"/>
                <a:gd name="T94" fmla="*/ 609 w 609"/>
                <a:gd name="T95" fmla="*/ 299 h 610"/>
                <a:gd name="T96" fmla="*/ 604 w 609"/>
                <a:gd name="T97" fmla="*/ 361 h 610"/>
                <a:gd name="T98" fmla="*/ 588 w 609"/>
                <a:gd name="T99" fmla="*/ 419 h 610"/>
                <a:gd name="T100" fmla="*/ 559 w 609"/>
                <a:gd name="T101" fmla="*/ 472 h 610"/>
                <a:gd name="T102" fmla="*/ 523 w 609"/>
                <a:gd name="T103" fmla="*/ 518 h 610"/>
                <a:gd name="T104" fmla="*/ 478 w 609"/>
                <a:gd name="T105" fmla="*/ 555 h 610"/>
                <a:gd name="T106" fmla="*/ 428 w 609"/>
                <a:gd name="T107" fmla="*/ 584 h 610"/>
                <a:gd name="T108" fmla="*/ 371 w 609"/>
                <a:gd name="T109" fmla="*/ 603 h 610"/>
                <a:gd name="T110" fmla="*/ 311 w 609"/>
                <a:gd name="T111" fmla="*/ 610 h 6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609" h="610">
                  <a:moveTo>
                    <a:pt x="325" y="56"/>
                  </a:moveTo>
                  <a:lnTo>
                    <a:pt x="312" y="56"/>
                  </a:lnTo>
                  <a:lnTo>
                    <a:pt x="299" y="56"/>
                  </a:lnTo>
                  <a:lnTo>
                    <a:pt x="287" y="56"/>
                  </a:lnTo>
                  <a:lnTo>
                    <a:pt x="274" y="57"/>
                  </a:lnTo>
                  <a:lnTo>
                    <a:pt x="263" y="60"/>
                  </a:lnTo>
                  <a:lnTo>
                    <a:pt x="250" y="62"/>
                  </a:lnTo>
                  <a:lnTo>
                    <a:pt x="238" y="65"/>
                  </a:lnTo>
                  <a:lnTo>
                    <a:pt x="226" y="68"/>
                  </a:lnTo>
                  <a:lnTo>
                    <a:pt x="204" y="77"/>
                  </a:lnTo>
                  <a:lnTo>
                    <a:pt x="183" y="88"/>
                  </a:lnTo>
                  <a:lnTo>
                    <a:pt x="163" y="100"/>
                  </a:lnTo>
                  <a:lnTo>
                    <a:pt x="144" y="115"/>
                  </a:lnTo>
                  <a:lnTo>
                    <a:pt x="126" y="132"/>
                  </a:lnTo>
                  <a:lnTo>
                    <a:pt x="110" y="149"/>
                  </a:lnTo>
                  <a:lnTo>
                    <a:pt x="96" y="169"/>
                  </a:lnTo>
                  <a:lnTo>
                    <a:pt x="84" y="189"/>
                  </a:lnTo>
                  <a:lnTo>
                    <a:pt x="78" y="201"/>
                  </a:lnTo>
                  <a:lnTo>
                    <a:pt x="73" y="212"/>
                  </a:lnTo>
                  <a:lnTo>
                    <a:pt x="68" y="223"/>
                  </a:lnTo>
                  <a:lnTo>
                    <a:pt x="65" y="235"/>
                  </a:lnTo>
                  <a:lnTo>
                    <a:pt x="63" y="247"/>
                  </a:lnTo>
                  <a:lnTo>
                    <a:pt x="59" y="260"/>
                  </a:lnTo>
                  <a:lnTo>
                    <a:pt x="58" y="272"/>
                  </a:lnTo>
                  <a:lnTo>
                    <a:pt x="57" y="285"/>
                  </a:lnTo>
                  <a:lnTo>
                    <a:pt x="55" y="298"/>
                  </a:lnTo>
                  <a:lnTo>
                    <a:pt x="55" y="311"/>
                  </a:lnTo>
                  <a:lnTo>
                    <a:pt x="55" y="324"/>
                  </a:lnTo>
                  <a:lnTo>
                    <a:pt x="57" y="335"/>
                  </a:lnTo>
                  <a:lnTo>
                    <a:pt x="59" y="347"/>
                  </a:lnTo>
                  <a:lnTo>
                    <a:pt x="61" y="360"/>
                  </a:lnTo>
                  <a:lnTo>
                    <a:pt x="64" y="372"/>
                  </a:lnTo>
                  <a:lnTo>
                    <a:pt x="67" y="384"/>
                  </a:lnTo>
                  <a:lnTo>
                    <a:pt x="77" y="406"/>
                  </a:lnTo>
                  <a:lnTo>
                    <a:pt x="87" y="427"/>
                  </a:lnTo>
                  <a:lnTo>
                    <a:pt x="100" y="447"/>
                  </a:lnTo>
                  <a:lnTo>
                    <a:pt x="114" y="466"/>
                  </a:lnTo>
                  <a:lnTo>
                    <a:pt x="131" y="484"/>
                  </a:lnTo>
                  <a:lnTo>
                    <a:pt x="148" y="500"/>
                  </a:lnTo>
                  <a:lnTo>
                    <a:pt x="169" y="514"/>
                  </a:lnTo>
                  <a:lnTo>
                    <a:pt x="189" y="526"/>
                  </a:lnTo>
                  <a:lnTo>
                    <a:pt x="200" y="532"/>
                  </a:lnTo>
                  <a:lnTo>
                    <a:pt x="211" y="537"/>
                  </a:lnTo>
                  <a:lnTo>
                    <a:pt x="223" y="541"/>
                  </a:lnTo>
                  <a:lnTo>
                    <a:pt x="234" y="545"/>
                  </a:lnTo>
                  <a:lnTo>
                    <a:pt x="246" y="547"/>
                  </a:lnTo>
                  <a:lnTo>
                    <a:pt x="259" y="551"/>
                  </a:lnTo>
                  <a:lnTo>
                    <a:pt x="271" y="552"/>
                  </a:lnTo>
                  <a:lnTo>
                    <a:pt x="284" y="554"/>
                  </a:lnTo>
                  <a:lnTo>
                    <a:pt x="297" y="554"/>
                  </a:lnTo>
                  <a:lnTo>
                    <a:pt x="310" y="554"/>
                  </a:lnTo>
                  <a:lnTo>
                    <a:pt x="322" y="554"/>
                  </a:lnTo>
                  <a:lnTo>
                    <a:pt x="335" y="553"/>
                  </a:lnTo>
                  <a:lnTo>
                    <a:pt x="346" y="551"/>
                  </a:lnTo>
                  <a:lnTo>
                    <a:pt x="359" y="548"/>
                  </a:lnTo>
                  <a:lnTo>
                    <a:pt x="371" y="546"/>
                  </a:lnTo>
                  <a:lnTo>
                    <a:pt x="383" y="542"/>
                  </a:lnTo>
                  <a:lnTo>
                    <a:pt x="405" y="533"/>
                  </a:lnTo>
                  <a:lnTo>
                    <a:pt x="426" y="522"/>
                  </a:lnTo>
                  <a:lnTo>
                    <a:pt x="446" y="510"/>
                  </a:lnTo>
                  <a:lnTo>
                    <a:pt x="465" y="495"/>
                  </a:lnTo>
                  <a:lnTo>
                    <a:pt x="483" y="479"/>
                  </a:lnTo>
                  <a:lnTo>
                    <a:pt x="499" y="461"/>
                  </a:lnTo>
                  <a:lnTo>
                    <a:pt x="513" y="441"/>
                  </a:lnTo>
                  <a:lnTo>
                    <a:pt x="525" y="420"/>
                  </a:lnTo>
                  <a:lnTo>
                    <a:pt x="531" y="409"/>
                  </a:lnTo>
                  <a:lnTo>
                    <a:pt x="536" y="399"/>
                  </a:lnTo>
                  <a:lnTo>
                    <a:pt x="541" y="387"/>
                  </a:lnTo>
                  <a:lnTo>
                    <a:pt x="544" y="375"/>
                  </a:lnTo>
                  <a:lnTo>
                    <a:pt x="548" y="364"/>
                  </a:lnTo>
                  <a:lnTo>
                    <a:pt x="550" y="351"/>
                  </a:lnTo>
                  <a:lnTo>
                    <a:pt x="551" y="339"/>
                  </a:lnTo>
                  <a:lnTo>
                    <a:pt x="553" y="326"/>
                  </a:lnTo>
                  <a:lnTo>
                    <a:pt x="553" y="313"/>
                  </a:lnTo>
                  <a:lnTo>
                    <a:pt x="553" y="300"/>
                  </a:lnTo>
                  <a:lnTo>
                    <a:pt x="553" y="287"/>
                  </a:lnTo>
                  <a:lnTo>
                    <a:pt x="552" y="275"/>
                  </a:lnTo>
                  <a:lnTo>
                    <a:pt x="550" y="263"/>
                  </a:lnTo>
                  <a:lnTo>
                    <a:pt x="548" y="251"/>
                  </a:lnTo>
                  <a:lnTo>
                    <a:pt x="545" y="239"/>
                  </a:lnTo>
                  <a:lnTo>
                    <a:pt x="542" y="227"/>
                  </a:lnTo>
                  <a:lnTo>
                    <a:pt x="532" y="205"/>
                  </a:lnTo>
                  <a:lnTo>
                    <a:pt x="522" y="183"/>
                  </a:lnTo>
                  <a:lnTo>
                    <a:pt x="509" y="163"/>
                  </a:lnTo>
                  <a:lnTo>
                    <a:pt x="495" y="143"/>
                  </a:lnTo>
                  <a:lnTo>
                    <a:pt x="478" y="127"/>
                  </a:lnTo>
                  <a:lnTo>
                    <a:pt x="460" y="110"/>
                  </a:lnTo>
                  <a:lnTo>
                    <a:pt x="440" y="96"/>
                  </a:lnTo>
                  <a:lnTo>
                    <a:pt x="420" y="85"/>
                  </a:lnTo>
                  <a:lnTo>
                    <a:pt x="409" y="79"/>
                  </a:lnTo>
                  <a:lnTo>
                    <a:pt x="398" y="74"/>
                  </a:lnTo>
                  <a:lnTo>
                    <a:pt x="386" y="69"/>
                  </a:lnTo>
                  <a:lnTo>
                    <a:pt x="375" y="66"/>
                  </a:lnTo>
                  <a:lnTo>
                    <a:pt x="363" y="62"/>
                  </a:lnTo>
                  <a:lnTo>
                    <a:pt x="350" y="60"/>
                  </a:lnTo>
                  <a:lnTo>
                    <a:pt x="338" y="57"/>
                  </a:lnTo>
                  <a:lnTo>
                    <a:pt x="325" y="56"/>
                  </a:lnTo>
                  <a:close/>
                  <a:moveTo>
                    <a:pt x="279" y="608"/>
                  </a:moveTo>
                  <a:lnTo>
                    <a:pt x="264" y="607"/>
                  </a:lnTo>
                  <a:lnTo>
                    <a:pt x="249" y="605"/>
                  </a:lnTo>
                  <a:lnTo>
                    <a:pt x="233" y="601"/>
                  </a:lnTo>
                  <a:lnTo>
                    <a:pt x="219" y="598"/>
                  </a:lnTo>
                  <a:lnTo>
                    <a:pt x="205" y="593"/>
                  </a:lnTo>
                  <a:lnTo>
                    <a:pt x="191" y="587"/>
                  </a:lnTo>
                  <a:lnTo>
                    <a:pt x="177" y="581"/>
                  </a:lnTo>
                  <a:lnTo>
                    <a:pt x="164" y="575"/>
                  </a:lnTo>
                  <a:lnTo>
                    <a:pt x="151" y="568"/>
                  </a:lnTo>
                  <a:lnTo>
                    <a:pt x="138" y="560"/>
                  </a:lnTo>
                  <a:lnTo>
                    <a:pt x="126" y="552"/>
                  </a:lnTo>
                  <a:lnTo>
                    <a:pt x="114" y="542"/>
                  </a:lnTo>
                  <a:lnTo>
                    <a:pt x="103" y="533"/>
                  </a:lnTo>
                  <a:lnTo>
                    <a:pt x="92" y="524"/>
                  </a:lnTo>
                  <a:lnTo>
                    <a:pt x="81" y="513"/>
                  </a:lnTo>
                  <a:lnTo>
                    <a:pt x="72" y="502"/>
                  </a:lnTo>
                  <a:lnTo>
                    <a:pt x="63" y="491"/>
                  </a:lnTo>
                  <a:lnTo>
                    <a:pt x="54" y="479"/>
                  </a:lnTo>
                  <a:lnTo>
                    <a:pt x="46" y="467"/>
                  </a:lnTo>
                  <a:lnTo>
                    <a:pt x="39" y="454"/>
                  </a:lnTo>
                  <a:lnTo>
                    <a:pt x="32" y="441"/>
                  </a:lnTo>
                  <a:lnTo>
                    <a:pt x="26" y="428"/>
                  </a:lnTo>
                  <a:lnTo>
                    <a:pt x="20" y="414"/>
                  </a:lnTo>
                  <a:lnTo>
                    <a:pt x="15" y="400"/>
                  </a:lnTo>
                  <a:lnTo>
                    <a:pt x="11" y="386"/>
                  </a:lnTo>
                  <a:lnTo>
                    <a:pt x="7" y="372"/>
                  </a:lnTo>
                  <a:lnTo>
                    <a:pt x="4" y="356"/>
                  </a:lnTo>
                  <a:lnTo>
                    <a:pt x="1" y="342"/>
                  </a:lnTo>
                  <a:lnTo>
                    <a:pt x="0" y="327"/>
                  </a:lnTo>
                  <a:lnTo>
                    <a:pt x="0" y="312"/>
                  </a:lnTo>
                  <a:lnTo>
                    <a:pt x="0" y="296"/>
                  </a:lnTo>
                  <a:lnTo>
                    <a:pt x="0" y="280"/>
                  </a:lnTo>
                  <a:lnTo>
                    <a:pt x="3" y="265"/>
                  </a:lnTo>
                  <a:lnTo>
                    <a:pt x="5" y="249"/>
                  </a:lnTo>
                  <a:lnTo>
                    <a:pt x="8" y="234"/>
                  </a:lnTo>
                  <a:lnTo>
                    <a:pt x="12" y="220"/>
                  </a:lnTo>
                  <a:lnTo>
                    <a:pt x="17" y="206"/>
                  </a:lnTo>
                  <a:lnTo>
                    <a:pt x="21" y="192"/>
                  </a:lnTo>
                  <a:lnTo>
                    <a:pt x="27" y="178"/>
                  </a:lnTo>
                  <a:lnTo>
                    <a:pt x="34" y="165"/>
                  </a:lnTo>
                  <a:lnTo>
                    <a:pt x="41" y="152"/>
                  </a:lnTo>
                  <a:lnTo>
                    <a:pt x="50" y="139"/>
                  </a:lnTo>
                  <a:lnTo>
                    <a:pt x="58" y="127"/>
                  </a:lnTo>
                  <a:lnTo>
                    <a:pt x="66" y="115"/>
                  </a:lnTo>
                  <a:lnTo>
                    <a:pt x="77" y="103"/>
                  </a:lnTo>
                  <a:lnTo>
                    <a:pt x="86" y="93"/>
                  </a:lnTo>
                  <a:lnTo>
                    <a:pt x="97" y="82"/>
                  </a:lnTo>
                  <a:lnTo>
                    <a:pt x="107" y="73"/>
                  </a:lnTo>
                  <a:lnTo>
                    <a:pt x="119" y="63"/>
                  </a:lnTo>
                  <a:lnTo>
                    <a:pt x="131" y="55"/>
                  </a:lnTo>
                  <a:lnTo>
                    <a:pt x="143" y="47"/>
                  </a:lnTo>
                  <a:lnTo>
                    <a:pt x="156" y="40"/>
                  </a:lnTo>
                  <a:lnTo>
                    <a:pt x="169" y="33"/>
                  </a:lnTo>
                  <a:lnTo>
                    <a:pt x="181" y="26"/>
                  </a:lnTo>
                  <a:lnTo>
                    <a:pt x="196" y="21"/>
                  </a:lnTo>
                  <a:lnTo>
                    <a:pt x="210" y="15"/>
                  </a:lnTo>
                  <a:lnTo>
                    <a:pt x="224" y="12"/>
                  </a:lnTo>
                  <a:lnTo>
                    <a:pt x="238" y="8"/>
                  </a:lnTo>
                  <a:lnTo>
                    <a:pt x="253" y="4"/>
                  </a:lnTo>
                  <a:lnTo>
                    <a:pt x="267" y="2"/>
                  </a:lnTo>
                  <a:lnTo>
                    <a:pt x="283" y="1"/>
                  </a:lnTo>
                  <a:lnTo>
                    <a:pt x="298" y="0"/>
                  </a:lnTo>
                  <a:lnTo>
                    <a:pt x="313" y="1"/>
                  </a:lnTo>
                  <a:lnTo>
                    <a:pt x="330" y="1"/>
                  </a:lnTo>
                  <a:lnTo>
                    <a:pt x="345" y="3"/>
                  </a:lnTo>
                  <a:lnTo>
                    <a:pt x="360" y="6"/>
                  </a:lnTo>
                  <a:lnTo>
                    <a:pt x="376" y="9"/>
                  </a:lnTo>
                  <a:lnTo>
                    <a:pt x="390" y="13"/>
                  </a:lnTo>
                  <a:lnTo>
                    <a:pt x="404" y="17"/>
                  </a:lnTo>
                  <a:lnTo>
                    <a:pt x="418" y="22"/>
                  </a:lnTo>
                  <a:lnTo>
                    <a:pt x="432" y="28"/>
                  </a:lnTo>
                  <a:lnTo>
                    <a:pt x="445" y="35"/>
                  </a:lnTo>
                  <a:lnTo>
                    <a:pt x="458" y="42"/>
                  </a:lnTo>
                  <a:lnTo>
                    <a:pt x="471" y="50"/>
                  </a:lnTo>
                  <a:lnTo>
                    <a:pt x="483" y="59"/>
                  </a:lnTo>
                  <a:lnTo>
                    <a:pt x="495" y="67"/>
                  </a:lnTo>
                  <a:lnTo>
                    <a:pt x="506" y="76"/>
                  </a:lnTo>
                  <a:lnTo>
                    <a:pt x="517" y="87"/>
                  </a:lnTo>
                  <a:lnTo>
                    <a:pt x="528" y="97"/>
                  </a:lnTo>
                  <a:lnTo>
                    <a:pt x="537" y="108"/>
                  </a:lnTo>
                  <a:lnTo>
                    <a:pt x="546" y="120"/>
                  </a:lnTo>
                  <a:lnTo>
                    <a:pt x="555" y="132"/>
                  </a:lnTo>
                  <a:lnTo>
                    <a:pt x="563" y="143"/>
                  </a:lnTo>
                  <a:lnTo>
                    <a:pt x="570" y="156"/>
                  </a:lnTo>
                  <a:lnTo>
                    <a:pt x="577" y="169"/>
                  </a:lnTo>
                  <a:lnTo>
                    <a:pt x="583" y="182"/>
                  </a:lnTo>
                  <a:lnTo>
                    <a:pt x="589" y="196"/>
                  </a:lnTo>
                  <a:lnTo>
                    <a:pt x="593" y="211"/>
                  </a:lnTo>
                  <a:lnTo>
                    <a:pt x="598" y="225"/>
                  </a:lnTo>
                  <a:lnTo>
                    <a:pt x="602" y="239"/>
                  </a:lnTo>
                  <a:lnTo>
                    <a:pt x="605" y="254"/>
                  </a:lnTo>
                  <a:lnTo>
                    <a:pt x="608" y="268"/>
                  </a:lnTo>
                  <a:lnTo>
                    <a:pt x="609" y="283"/>
                  </a:lnTo>
                  <a:lnTo>
                    <a:pt x="609" y="299"/>
                  </a:lnTo>
                  <a:lnTo>
                    <a:pt x="609" y="314"/>
                  </a:lnTo>
                  <a:lnTo>
                    <a:pt x="608" y="331"/>
                  </a:lnTo>
                  <a:lnTo>
                    <a:pt x="606" y="346"/>
                  </a:lnTo>
                  <a:lnTo>
                    <a:pt x="604" y="361"/>
                  </a:lnTo>
                  <a:lnTo>
                    <a:pt x="601" y="376"/>
                  </a:lnTo>
                  <a:lnTo>
                    <a:pt x="597" y="391"/>
                  </a:lnTo>
                  <a:lnTo>
                    <a:pt x="592" y="405"/>
                  </a:lnTo>
                  <a:lnTo>
                    <a:pt x="588" y="419"/>
                  </a:lnTo>
                  <a:lnTo>
                    <a:pt x="582" y="433"/>
                  </a:lnTo>
                  <a:lnTo>
                    <a:pt x="575" y="446"/>
                  </a:lnTo>
                  <a:lnTo>
                    <a:pt x="568" y="459"/>
                  </a:lnTo>
                  <a:lnTo>
                    <a:pt x="559" y="472"/>
                  </a:lnTo>
                  <a:lnTo>
                    <a:pt x="551" y="484"/>
                  </a:lnTo>
                  <a:lnTo>
                    <a:pt x="543" y="495"/>
                  </a:lnTo>
                  <a:lnTo>
                    <a:pt x="533" y="507"/>
                  </a:lnTo>
                  <a:lnTo>
                    <a:pt x="523" y="518"/>
                  </a:lnTo>
                  <a:lnTo>
                    <a:pt x="512" y="528"/>
                  </a:lnTo>
                  <a:lnTo>
                    <a:pt x="502" y="538"/>
                  </a:lnTo>
                  <a:lnTo>
                    <a:pt x="490" y="547"/>
                  </a:lnTo>
                  <a:lnTo>
                    <a:pt x="478" y="555"/>
                  </a:lnTo>
                  <a:lnTo>
                    <a:pt x="466" y="564"/>
                  </a:lnTo>
                  <a:lnTo>
                    <a:pt x="453" y="571"/>
                  </a:lnTo>
                  <a:lnTo>
                    <a:pt x="440" y="578"/>
                  </a:lnTo>
                  <a:lnTo>
                    <a:pt x="428" y="584"/>
                  </a:lnTo>
                  <a:lnTo>
                    <a:pt x="413" y="590"/>
                  </a:lnTo>
                  <a:lnTo>
                    <a:pt x="399" y="594"/>
                  </a:lnTo>
                  <a:lnTo>
                    <a:pt x="385" y="599"/>
                  </a:lnTo>
                  <a:lnTo>
                    <a:pt x="371" y="603"/>
                  </a:lnTo>
                  <a:lnTo>
                    <a:pt x="356" y="606"/>
                  </a:lnTo>
                  <a:lnTo>
                    <a:pt x="342" y="607"/>
                  </a:lnTo>
                  <a:lnTo>
                    <a:pt x="326" y="610"/>
                  </a:lnTo>
                  <a:lnTo>
                    <a:pt x="311" y="610"/>
                  </a:lnTo>
                  <a:lnTo>
                    <a:pt x="296" y="610"/>
                  </a:lnTo>
                  <a:lnTo>
                    <a:pt x="279" y="608"/>
                  </a:lnTo>
                  <a:close/>
                </a:path>
              </a:pathLst>
            </a:custGeom>
            <a:solidFill>
              <a:srgbClr val="EEA52B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6653" tIns="58327" rIns="116653" bIns="58327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434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137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20" name="Freeform 90"/>
            <p:cNvSpPr>
              <a:spLocks/>
            </p:cNvSpPr>
            <p:nvPr/>
          </p:nvSpPr>
          <p:spPr bwMode="auto">
            <a:xfrm>
              <a:off x="2102" y="2145"/>
              <a:ext cx="81" cy="81"/>
            </a:xfrm>
            <a:custGeom>
              <a:avLst/>
              <a:gdLst>
                <a:gd name="T0" fmla="*/ 255 w 321"/>
                <a:gd name="T1" fmla="*/ 168 h 321"/>
                <a:gd name="T2" fmla="*/ 235 w 321"/>
                <a:gd name="T3" fmla="*/ 162 h 321"/>
                <a:gd name="T4" fmla="*/ 216 w 321"/>
                <a:gd name="T5" fmla="*/ 153 h 321"/>
                <a:gd name="T6" fmla="*/ 200 w 321"/>
                <a:gd name="T7" fmla="*/ 140 h 321"/>
                <a:gd name="T8" fmla="*/ 187 w 321"/>
                <a:gd name="T9" fmla="*/ 124 h 321"/>
                <a:gd name="T10" fmla="*/ 176 w 321"/>
                <a:gd name="T11" fmla="*/ 107 h 321"/>
                <a:gd name="T12" fmla="*/ 170 w 321"/>
                <a:gd name="T13" fmla="*/ 87 h 321"/>
                <a:gd name="T14" fmla="*/ 168 w 321"/>
                <a:gd name="T15" fmla="*/ 66 h 321"/>
                <a:gd name="T16" fmla="*/ 170 w 321"/>
                <a:gd name="T17" fmla="*/ 40 h 321"/>
                <a:gd name="T18" fmla="*/ 180 w 321"/>
                <a:gd name="T19" fmla="*/ 14 h 321"/>
                <a:gd name="T20" fmla="*/ 181 w 321"/>
                <a:gd name="T21" fmla="*/ 1 h 321"/>
                <a:gd name="T22" fmla="*/ 158 w 321"/>
                <a:gd name="T23" fmla="*/ 0 h 321"/>
                <a:gd name="T24" fmla="*/ 126 w 321"/>
                <a:gd name="T25" fmla="*/ 3 h 321"/>
                <a:gd name="T26" fmla="*/ 96 w 321"/>
                <a:gd name="T27" fmla="*/ 14 h 321"/>
                <a:gd name="T28" fmla="*/ 69 w 321"/>
                <a:gd name="T29" fmla="*/ 29 h 321"/>
                <a:gd name="T30" fmla="*/ 46 w 321"/>
                <a:gd name="T31" fmla="*/ 48 h 321"/>
                <a:gd name="T32" fmla="*/ 27 w 321"/>
                <a:gd name="T33" fmla="*/ 73 h 321"/>
                <a:gd name="T34" fmla="*/ 12 w 321"/>
                <a:gd name="T35" fmla="*/ 100 h 321"/>
                <a:gd name="T36" fmla="*/ 3 w 321"/>
                <a:gd name="T37" fmla="*/ 130 h 321"/>
                <a:gd name="T38" fmla="*/ 0 w 321"/>
                <a:gd name="T39" fmla="*/ 163 h 321"/>
                <a:gd name="T40" fmla="*/ 4 w 321"/>
                <a:gd name="T41" fmla="*/ 195 h 321"/>
                <a:gd name="T42" fmla="*/ 14 w 321"/>
                <a:gd name="T43" fmla="*/ 224 h 321"/>
                <a:gd name="T44" fmla="*/ 29 w 321"/>
                <a:gd name="T45" fmla="*/ 251 h 321"/>
                <a:gd name="T46" fmla="*/ 49 w 321"/>
                <a:gd name="T47" fmla="*/ 275 h 321"/>
                <a:gd name="T48" fmla="*/ 73 w 321"/>
                <a:gd name="T49" fmla="*/ 294 h 321"/>
                <a:gd name="T50" fmla="*/ 101 w 321"/>
                <a:gd name="T51" fmla="*/ 309 h 321"/>
                <a:gd name="T52" fmla="*/ 132 w 321"/>
                <a:gd name="T53" fmla="*/ 317 h 321"/>
                <a:gd name="T54" fmla="*/ 163 w 321"/>
                <a:gd name="T55" fmla="*/ 321 h 321"/>
                <a:gd name="T56" fmla="*/ 195 w 321"/>
                <a:gd name="T57" fmla="*/ 316 h 321"/>
                <a:gd name="T58" fmla="*/ 225 w 321"/>
                <a:gd name="T59" fmla="*/ 307 h 321"/>
                <a:gd name="T60" fmla="*/ 252 w 321"/>
                <a:gd name="T61" fmla="*/ 292 h 321"/>
                <a:gd name="T62" fmla="*/ 275 w 321"/>
                <a:gd name="T63" fmla="*/ 272 h 321"/>
                <a:gd name="T64" fmla="*/ 295 w 321"/>
                <a:gd name="T65" fmla="*/ 248 h 321"/>
                <a:gd name="T66" fmla="*/ 309 w 321"/>
                <a:gd name="T67" fmla="*/ 220 h 321"/>
                <a:gd name="T68" fmla="*/ 318 w 321"/>
                <a:gd name="T69" fmla="*/ 189 h 321"/>
                <a:gd name="T70" fmla="*/ 321 w 321"/>
                <a:gd name="T71" fmla="*/ 167 h 321"/>
                <a:gd name="T72" fmla="*/ 308 w 321"/>
                <a:gd name="T73" fmla="*/ 164 h 321"/>
                <a:gd name="T74" fmla="*/ 281 w 321"/>
                <a:gd name="T75" fmla="*/ 170 h 3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321" h="321">
                  <a:moveTo>
                    <a:pt x="266" y="170"/>
                  </a:moveTo>
                  <a:lnTo>
                    <a:pt x="255" y="168"/>
                  </a:lnTo>
                  <a:lnTo>
                    <a:pt x="245" y="166"/>
                  </a:lnTo>
                  <a:lnTo>
                    <a:pt x="235" y="162"/>
                  </a:lnTo>
                  <a:lnTo>
                    <a:pt x="226" y="159"/>
                  </a:lnTo>
                  <a:lnTo>
                    <a:pt x="216" y="153"/>
                  </a:lnTo>
                  <a:lnTo>
                    <a:pt x="208" y="147"/>
                  </a:lnTo>
                  <a:lnTo>
                    <a:pt x="200" y="140"/>
                  </a:lnTo>
                  <a:lnTo>
                    <a:pt x="193" y="133"/>
                  </a:lnTo>
                  <a:lnTo>
                    <a:pt x="187" y="124"/>
                  </a:lnTo>
                  <a:lnTo>
                    <a:pt x="181" y="115"/>
                  </a:lnTo>
                  <a:lnTo>
                    <a:pt x="176" y="107"/>
                  </a:lnTo>
                  <a:lnTo>
                    <a:pt x="173" y="96"/>
                  </a:lnTo>
                  <a:lnTo>
                    <a:pt x="170" y="87"/>
                  </a:lnTo>
                  <a:lnTo>
                    <a:pt x="168" y="76"/>
                  </a:lnTo>
                  <a:lnTo>
                    <a:pt x="168" y="66"/>
                  </a:lnTo>
                  <a:lnTo>
                    <a:pt x="168" y="54"/>
                  </a:lnTo>
                  <a:lnTo>
                    <a:pt x="170" y="40"/>
                  </a:lnTo>
                  <a:lnTo>
                    <a:pt x="174" y="27"/>
                  </a:lnTo>
                  <a:lnTo>
                    <a:pt x="180" y="14"/>
                  </a:lnTo>
                  <a:lnTo>
                    <a:pt x="187" y="2"/>
                  </a:lnTo>
                  <a:lnTo>
                    <a:pt x="181" y="1"/>
                  </a:lnTo>
                  <a:lnTo>
                    <a:pt x="174" y="1"/>
                  </a:lnTo>
                  <a:lnTo>
                    <a:pt x="158" y="0"/>
                  </a:lnTo>
                  <a:lnTo>
                    <a:pt x="141" y="1"/>
                  </a:lnTo>
                  <a:lnTo>
                    <a:pt x="126" y="3"/>
                  </a:lnTo>
                  <a:lnTo>
                    <a:pt x="110" y="8"/>
                  </a:lnTo>
                  <a:lnTo>
                    <a:pt x="96" y="14"/>
                  </a:lnTo>
                  <a:lnTo>
                    <a:pt x="82" y="21"/>
                  </a:lnTo>
                  <a:lnTo>
                    <a:pt x="69" y="29"/>
                  </a:lnTo>
                  <a:lnTo>
                    <a:pt x="56" y="38"/>
                  </a:lnTo>
                  <a:lnTo>
                    <a:pt x="46" y="48"/>
                  </a:lnTo>
                  <a:lnTo>
                    <a:pt x="35" y="60"/>
                  </a:lnTo>
                  <a:lnTo>
                    <a:pt x="27" y="73"/>
                  </a:lnTo>
                  <a:lnTo>
                    <a:pt x="19" y="86"/>
                  </a:lnTo>
                  <a:lnTo>
                    <a:pt x="12" y="100"/>
                  </a:lnTo>
                  <a:lnTo>
                    <a:pt x="7" y="115"/>
                  </a:lnTo>
                  <a:lnTo>
                    <a:pt x="3" y="130"/>
                  </a:lnTo>
                  <a:lnTo>
                    <a:pt x="1" y="147"/>
                  </a:lnTo>
                  <a:lnTo>
                    <a:pt x="0" y="163"/>
                  </a:lnTo>
                  <a:lnTo>
                    <a:pt x="1" y="180"/>
                  </a:lnTo>
                  <a:lnTo>
                    <a:pt x="4" y="195"/>
                  </a:lnTo>
                  <a:lnTo>
                    <a:pt x="8" y="210"/>
                  </a:lnTo>
                  <a:lnTo>
                    <a:pt x="14" y="224"/>
                  </a:lnTo>
                  <a:lnTo>
                    <a:pt x="21" y="239"/>
                  </a:lnTo>
                  <a:lnTo>
                    <a:pt x="29" y="251"/>
                  </a:lnTo>
                  <a:lnTo>
                    <a:pt x="39" y="263"/>
                  </a:lnTo>
                  <a:lnTo>
                    <a:pt x="49" y="275"/>
                  </a:lnTo>
                  <a:lnTo>
                    <a:pt x="60" y="286"/>
                  </a:lnTo>
                  <a:lnTo>
                    <a:pt x="73" y="294"/>
                  </a:lnTo>
                  <a:lnTo>
                    <a:pt x="86" y="302"/>
                  </a:lnTo>
                  <a:lnTo>
                    <a:pt x="101" y="309"/>
                  </a:lnTo>
                  <a:lnTo>
                    <a:pt x="115" y="314"/>
                  </a:lnTo>
                  <a:lnTo>
                    <a:pt x="132" y="317"/>
                  </a:lnTo>
                  <a:lnTo>
                    <a:pt x="147" y="320"/>
                  </a:lnTo>
                  <a:lnTo>
                    <a:pt x="163" y="321"/>
                  </a:lnTo>
                  <a:lnTo>
                    <a:pt x="180" y="320"/>
                  </a:lnTo>
                  <a:lnTo>
                    <a:pt x="195" y="316"/>
                  </a:lnTo>
                  <a:lnTo>
                    <a:pt x="211" y="313"/>
                  </a:lnTo>
                  <a:lnTo>
                    <a:pt x="225" y="307"/>
                  </a:lnTo>
                  <a:lnTo>
                    <a:pt x="239" y="300"/>
                  </a:lnTo>
                  <a:lnTo>
                    <a:pt x="252" y="292"/>
                  </a:lnTo>
                  <a:lnTo>
                    <a:pt x="265" y="282"/>
                  </a:lnTo>
                  <a:lnTo>
                    <a:pt x="275" y="272"/>
                  </a:lnTo>
                  <a:lnTo>
                    <a:pt x="286" y="261"/>
                  </a:lnTo>
                  <a:lnTo>
                    <a:pt x="295" y="248"/>
                  </a:lnTo>
                  <a:lnTo>
                    <a:pt x="302" y="235"/>
                  </a:lnTo>
                  <a:lnTo>
                    <a:pt x="309" y="220"/>
                  </a:lnTo>
                  <a:lnTo>
                    <a:pt x="314" y="206"/>
                  </a:lnTo>
                  <a:lnTo>
                    <a:pt x="318" y="189"/>
                  </a:lnTo>
                  <a:lnTo>
                    <a:pt x="320" y="174"/>
                  </a:lnTo>
                  <a:lnTo>
                    <a:pt x="321" y="167"/>
                  </a:lnTo>
                  <a:lnTo>
                    <a:pt x="321" y="160"/>
                  </a:lnTo>
                  <a:lnTo>
                    <a:pt x="308" y="164"/>
                  </a:lnTo>
                  <a:lnTo>
                    <a:pt x="294" y="168"/>
                  </a:lnTo>
                  <a:lnTo>
                    <a:pt x="281" y="170"/>
                  </a:lnTo>
                  <a:lnTo>
                    <a:pt x="266" y="170"/>
                  </a:lnTo>
                  <a:close/>
                </a:path>
              </a:pathLst>
            </a:custGeom>
            <a:solidFill>
              <a:srgbClr val="655349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6653" tIns="58327" rIns="116653" bIns="58327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434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137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21" name="Freeform 91"/>
            <p:cNvSpPr>
              <a:spLocks/>
            </p:cNvSpPr>
            <p:nvPr/>
          </p:nvSpPr>
          <p:spPr bwMode="auto">
            <a:xfrm>
              <a:off x="2329" y="2471"/>
              <a:ext cx="46" cy="46"/>
            </a:xfrm>
            <a:custGeom>
              <a:avLst/>
              <a:gdLst>
                <a:gd name="T0" fmla="*/ 183 w 184"/>
                <a:gd name="T1" fmla="*/ 109 h 185"/>
                <a:gd name="T2" fmla="*/ 178 w 184"/>
                <a:gd name="T3" fmla="*/ 127 h 185"/>
                <a:gd name="T4" fmla="*/ 170 w 184"/>
                <a:gd name="T5" fmla="*/ 142 h 185"/>
                <a:gd name="T6" fmla="*/ 158 w 184"/>
                <a:gd name="T7" fmla="*/ 156 h 185"/>
                <a:gd name="T8" fmla="*/ 145 w 184"/>
                <a:gd name="T9" fmla="*/ 168 h 185"/>
                <a:gd name="T10" fmla="*/ 130 w 184"/>
                <a:gd name="T11" fmla="*/ 176 h 185"/>
                <a:gd name="T12" fmla="*/ 112 w 184"/>
                <a:gd name="T13" fmla="*/ 182 h 185"/>
                <a:gd name="T14" fmla="*/ 94 w 184"/>
                <a:gd name="T15" fmla="*/ 185 h 185"/>
                <a:gd name="T16" fmla="*/ 76 w 184"/>
                <a:gd name="T17" fmla="*/ 183 h 185"/>
                <a:gd name="T18" fmla="*/ 58 w 184"/>
                <a:gd name="T19" fmla="*/ 177 h 185"/>
                <a:gd name="T20" fmla="*/ 41 w 184"/>
                <a:gd name="T21" fmla="*/ 169 h 185"/>
                <a:gd name="T22" fmla="*/ 29 w 184"/>
                <a:gd name="T23" fmla="*/ 159 h 185"/>
                <a:gd name="T24" fmla="*/ 17 w 184"/>
                <a:gd name="T25" fmla="*/ 145 h 185"/>
                <a:gd name="T26" fmla="*/ 7 w 184"/>
                <a:gd name="T27" fmla="*/ 129 h 185"/>
                <a:gd name="T28" fmla="*/ 3 w 184"/>
                <a:gd name="T29" fmla="*/ 113 h 185"/>
                <a:gd name="T30" fmla="*/ 0 w 184"/>
                <a:gd name="T31" fmla="*/ 94 h 185"/>
                <a:gd name="T32" fmla="*/ 1 w 184"/>
                <a:gd name="T33" fmla="*/ 75 h 185"/>
                <a:gd name="T34" fmla="*/ 7 w 184"/>
                <a:gd name="T35" fmla="*/ 57 h 185"/>
                <a:gd name="T36" fmla="*/ 16 w 184"/>
                <a:gd name="T37" fmla="*/ 42 h 185"/>
                <a:gd name="T38" fmla="*/ 26 w 184"/>
                <a:gd name="T39" fmla="*/ 28 h 185"/>
                <a:gd name="T40" fmla="*/ 39 w 184"/>
                <a:gd name="T41" fmla="*/ 16 h 185"/>
                <a:gd name="T42" fmla="*/ 56 w 184"/>
                <a:gd name="T43" fmla="*/ 8 h 185"/>
                <a:gd name="T44" fmla="*/ 72 w 184"/>
                <a:gd name="T45" fmla="*/ 2 h 185"/>
                <a:gd name="T46" fmla="*/ 90 w 184"/>
                <a:gd name="T47" fmla="*/ 0 h 185"/>
                <a:gd name="T48" fmla="*/ 109 w 184"/>
                <a:gd name="T49" fmla="*/ 2 h 185"/>
                <a:gd name="T50" fmla="*/ 126 w 184"/>
                <a:gd name="T51" fmla="*/ 7 h 185"/>
                <a:gd name="T52" fmla="*/ 143 w 184"/>
                <a:gd name="T53" fmla="*/ 15 h 185"/>
                <a:gd name="T54" fmla="*/ 157 w 184"/>
                <a:gd name="T55" fmla="*/ 26 h 185"/>
                <a:gd name="T56" fmla="*/ 167 w 184"/>
                <a:gd name="T57" fmla="*/ 40 h 185"/>
                <a:gd name="T58" fmla="*/ 177 w 184"/>
                <a:gd name="T59" fmla="*/ 55 h 185"/>
                <a:gd name="T60" fmla="*/ 183 w 184"/>
                <a:gd name="T61" fmla="*/ 72 h 185"/>
                <a:gd name="T62" fmla="*/ 184 w 184"/>
                <a:gd name="T63" fmla="*/ 90 h 1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84" h="185">
                  <a:moveTo>
                    <a:pt x="184" y="100"/>
                  </a:moveTo>
                  <a:lnTo>
                    <a:pt x="183" y="109"/>
                  </a:lnTo>
                  <a:lnTo>
                    <a:pt x="180" y="119"/>
                  </a:lnTo>
                  <a:lnTo>
                    <a:pt x="178" y="127"/>
                  </a:lnTo>
                  <a:lnTo>
                    <a:pt x="175" y="135"/>
                  </a:lnTo>
                  <a:lnTo>
                    <a:pt x="170" y="142"/>
                  </a:lnTo>
                  <a:lnTo>
                    <a:pt x="164" y="149"/>
                  </a:lnTo>
                  <a:lnTo>
                    <a:pt x="158" y="156"/>
                  </a:lnTo>
                  <a:lnTo>
                    <a:pt x="152" y="162"/>
                  </a:lnTo>
                  <a:lnTo>
                    <a:pt x="145" y="168"/>
                  </a:lnTo>
                  <a:lnTo>
                    <a:pt x="137" y="173"/>
                  </a:lnTo>
                  <a:lnTo>
                    <a:pt x="130" y="176"/>
                  </a:lnTo>
                  <a:lnTo>
                    <a:pt x="122" y="180"/>
                  </a:lnTo>
                  <a:lnTo>
                    <a:pt x="112" y="182"/>
                  </a:lnTo>
                  <a:lnTo>
                    <a:pt x="104" y="183"/>
                  </a:lnTo>
                  <a:lnTo>
                    <a:pt x="94" y="185"/>
                  </a:lnTo>
                  <a:lnTo>
                    <a:pt x="85" y="185"/>
                  </a:lnTo>
                  <a:lnTo>
                    <a:pt x="76" y="183"/>
                  </a:lnTo>
                  <a:lnTo>
                    <a:pt x="66" y="181"/>
                  </a:lnTo>
                  <a:lnTo>
                    <a:pt x="58" y="177"/>
                  </a:lnTo>
                  <a:lnTo>
                    <a:pt x="50" y="174"/>
                  </a:lnTo>
                  <a:lnTo>
                    <a:pt x="41" y="169"/>
                  </a:lnTo>
                  <a:lnTo>
                    <a:pt x="34" y="165"/>
                  </a:lnTo>
                  <a:lnTo>
                    <a:pt x="29" y="159"/>
                  </a:lnTo>
                  <a:lnTo>
                    <a:pt x="21" y="152"/>
                  </a:lnTo>
                  <a:lnTo>
                    <a:pt x="17" y="145"/>
                  </a:lnTo>
                  <a:lnTo>
                    <a:pt x="12" y="137"/>
                  </a:lnTo>
                  <a:lnTo>
                    <a:pt x="7" y="129"/>
                  </a:lnTo>
                  <a:lnTo>
                    <a:pt x="5" y="121"/>
                  </a:lnTo>
                  <a:lnTo>
                    <a:pt x="3" y="113"/>
                  </a:lnTo>
                  <a:lnTo>
                    <a:pt x="0" y="103"/>
                  </a:lnTo>
                  <a:lnTo>
                    <a:pt x="0" y="94"/>
                  </a:lnTo>
                  <a:lnTo>
                    <a:pt x="0" y="84"/>
                  </a:lnTo>
                  <a:lnTo>
                    <a:pt x="1" y="75"/>
                  </a:lnTo>
                  <a:lnTo>
                    <a:pt x="4" y="67"/>
                  </a:lnTo>
                  <a:lnTo>
                    <a:pt x="7" y="57"/>
                  </a:lnTo>
                  <a:lnTo>
                    <a:pt x="11" y="49"/>
                  </a:lnTo>
                  <a:lnTo>
                    <a:pt x="16" y="42"/>
                  </a:lnTo>
                  <a:lnTo>
                    <a:pt x="20" y="35"/>
                  </a:lnTo>
                  <a:lnTo>
                    <a:pt x="26" y="28"/>
                  </a:lnTo>
                  <a:lnTo>
                    <a:pt x="32" y="22"/>
                  </a:lnTo>
                  <a:lnTo>
                    <a:pt x="39" y="16"/>
                  </a:lnTo>
                  <a:lnTo>
                    <a:pt x="47" y="11"/>
                  </a:lnTo>
                  <a:lnTo>
                    <a:pt x="56" y="8"/>
                  </a:lnTo>
                  <a:lnTo>
                    <a:pt x="64" y="4"/>
                  </a:lnTo>
                  <a:lnTo>
                    <a:pt x="72" y="2"/>
                  </a:lnTo>
                  <a:lnTo>
                    <a:pt x="82" y="1"/>
                  </a:lnTo>
                  <a:lnTo>
                    <a:pt x="90" y="0"/>
                  </a:lnTo>
                  <a:lnTo>
                    <a:pt x="100" y="1"/>
                  </a:lnTo>
                  <a:lnTo>
                    <a:pt x="109" y="2"/>
                  </a:lnTo>
                  <a:lnTo>
                    <a:pt x="118" y="3"/>
                  </a:lnTo>
                  <a:lnTo>
                    <a:pt x="126" y="7"/>
                  </a:lnTo>
                  <a:lnTo>
                    <a:pt x="134" y="10"/>
                  </a:lnTo>
                  <a:lnTo>
                    <a:pt x="143" y="15"/>
                  </a:lnTo>
                  <a:lnTo>
                    <a:pt x="150" y="20"/>
                  </a:lnTo>
                  <a:lnTo>
                    <a:pt x="157" y="26"/>
                  </a:lnTo>
                  <a:lnTo>
                    <a:pt x="163" y="33"/>
                  </a:lnTo>
                  <a:lnTo>
                    <a:pt x="167" y="40"/>
                  </a:lnTo>
                  <a:lnTo>
                    <a:pt x="172" y="47"/>
                  </a:lnTo>
                  <a:lnTo>
                    <a:pt x="177" y="55"/>
                  </a:lnTo>
                  <a:lnTo>
                    <a:pt x="180" y="63"/>
                  </a:lnTo>
                  <a:lnTo>
                    <a:pt x="183" y="72"/>
                  </a:lnTo>
                  <a:lnTo>
                    <a:pt x="184" y="81"/>
                  </a:lnTo>
                  <a:lnTo>
                    <a:pt x="184" y="90"/>
                  </a:lnTo>
                  <a:lnTo>
                    <a:pt x="184" y="100"/>
                  </a:lnTo>
                  <a:close/>
                </a:path>
              </a:pathLst>
            </a:custGeom>
            <a:solidFill>
              <a:srgbClr val="EEA52B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6653" tIns="58327" rIns="116653" bIns="58327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434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137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22" name="Freeform 92"/>
            <p:cNvSpPr>
              <a:spLocks/>
            </p:cNvSpPr>
            <p:nvPr/>
          </p:nvSpPr>
          <p:spPr bwMode="auto">
            <a:xfrm>
              <a:off x="2359" y="2441"/>
              <a:ext cx="31" cy="31"/>
            </a:xfrm>
            <a:custGeom>
              <a:avLst/>
              <a:gdLst>
                <a:gd name="T0" fmla="*/ 122 w 122"/>
                <a:gd name="T1" fmla="*/ 66 h 122"/>
                <a:gd name="T2" fmla="*/ 121 w 122"/>
                <a:gd name="T3" fmla="*/ 73 h 122"/>
                <a:gd name="T4" fmla="*/ 120 w 122"/>
                <a:gd name="T5" fmla="*/ 79 h 122"/>
                <a:gd name="T6" fmla="*/ 117 w 122"/>
                <a:gd name="T7" fmla="*/ 84 h 122"/>
                <a:gd name="T8" fmla="*/ 115 w 122"/>
                <a:gd name="T9" fmla="*/ 89 h 122"/>
                <a:gd name="T10" fmla="*/ 109 w 122"/>
                <a:gd name="T11" fmla="*/ 100 h 122"/>
                <a:gd name="T12" fmla="*/ 101 w 122"/>
                <a:gd name="T13" fmla="*/ 108 h 122"/>
                <a:gd name="T14" fmla="*/ 92 w 122"/>
                <a:gd name="T15" fmla="*/ 115 h 122"/>
                <a:gd name="T16" fmla="*/ 80 w 122"/>
                <a:gd name="T17" fmla="*/ 120 h 122"/>
                <a:gd name="T18" fmla="*/ 74 w 122"/>
                <a:gd name="T19" fmla="*/ 121 h 122"/>
                <a:gd name="T20" fmla="*/ 68 w 122"/>
                <a:gd name="T21" fmla="*/ 122 h 122"/>
                <a:gd name="T22" fmla="*/ 62 w 122"/>
                <a:gd name="T23" fmla="*/ 122 h 122"/>
                <a:gd name="T24" fmla="*/ 56 w 122"/>
                <a:gd name="T25" fmla="*/ 122 h 122"/>
                <a:gd name="T26" fmla="*/ 49 w 122"/>
                <a:gd name="T27" fmla="*/ 121 h 122"/>
                <a:gd name="T28" fmla="*/ 43 w 122"/>
                <a:gd name="T29" fmla="*/ 120 h 122"/>
                <a:gd name="T30" fmla="*/ 37 w 122"/>
                <a:gd name="T31" fmla="*/ 119 h 122"/>
                <a:gd name="T32" fmla="*/ 33 w 122"/>
                <a:gd name="T33" fmla="*/ 115 h 122"/>
                <a:gd name="T34" fmla="*/ 22 w 122"/>
                <a:gd name="T35" fmla="*/ 109 h 122"/>
                <a:gd name="T36" fmla="*/ 14 w 122"/>
                <a:gd name="T37" fmla="*/ 101 h 122"/>
                <a:gd name="T38" fmla="*/ 7 w 122"/>
                <a:gd name="T39" fmla="*/ 91 h 122"/>
                <a:gd name="T40" fmla="*/ 2 w 122"/>
                <a:gd name="T41" fmla="*/ 81 h 122"/>
                <a:gd name="T42" fmla="*/ 1 w 122"/>
                <a:gd name="T43" fmla="*/ 75 h 122"/>
                <a:gd name="T44" fmla="*/ 0 w 122"/>
                <a:gd name="T45" fmla="*/ 69 h 122"/>
                <a:gd name="T46" fmla="*/ 0 w 122"/>
                <a:gd name="T47" fmla="*/ 62 h 122"/>
                <a:gd name="T48" fmla="*/ 0 w 122"/>
                <a:gd name="T49" fmla="*/ 56 h 122"/>
                <a:gd name="T50" fmla="*/ 1 w 122"/>
                <a:gd name="T51" fmla="*/ 50 h 122"/>
                <a:gd name="T52" fmla="*/ 2 w 122"/>
                <a:gd name="T53" fmla="*/ 43 h 122"/>
                <a:gd name="T54" fmla="*/ 4 w 122"/>
                <a:gd name="T55" fmla="*/ 38 h 122"/>
                <a:gd name="T56" fmla="*/ 7 w 122"/>
                <a:gd name="T57" fmla="*/ 33 h 122"/>
                <a:gd name="T58" fmla="*/ 13 w 122"/>
                <a:gd name="T59" fmla="*/ 23 h 122"/>
                <a:gd name="T60" fmla="*/ 21 w 122"/>
                <a:gd name="T61" fmla="*/ 14 h 122"/>
                <a:gd name="T62" fmla="*/ 30 w 122"/>
                <a:gd name="T63" fmla="*/ 8 h 122"/>
                <a:gd name="T64" fmla="*/ 42 w 122"/>
                <a:gd name="T65" fmla="*/ 3 h 122"/>
                <a:gd name="T66" fmla="*/ 48 w 122"/>
                <a:gd name="T67" fmla="*/ 1 h 122"/>
                <a:gd name="T68" fmla="*/ 54 w 122"/>
                <a:gd name="T69" fmla="*/ 0 h 122"/>
                <a:gd name="T70" fmla="*/ 60 w 122"/>
                <a:gd name="T71" fmla="*/ 0 h 122"/>
                <a:gd name="T72" fmla="*/ 66 w 122"/>
                <a:gd name="T73" fmla="*/ 0 h 122"/>
                <a:gd name="T74" fmla="*/ 73 w 122"/>
                <a:gd name="T75" fmla="*/ 1 h 122"/>
                <a:gd name="T76" fmla="*/ 79 w 122"/>
                <a:gd name="T77" fmla="*/ 2 h 122"/>
                <a:gd name="T78" fmla="*/ 84 w 122"/>
                <a:gd name="T79" fmla="*/ 4 h 122"/>
                <a:gd name="T80" fmla="*/ 89 w 122"/>
                <a:gd name="T81" fmla="*/ 7 h 122"/>
                <a:gd name="T82" fmla="*/ 100 w 122"/>
                <a:gd name="T83" fmla="*/ 13 h 122"/>
                <a:gd name="T84" fmla="*/ 108 w 122"/>
                <a:gd name="T85" fmla="*/ 21 h 122"/>
                <a:gd name="T86" fmla="*/ 115 w 122"/>
                <a:gd name="T87" fmla="*/ 31 h 122"/>
                <a:gd name="T88" fmla="*/ 120 w 122"/>
                <a:gd name="T89" fmla="*/ 42 h 122"/>
                <a:gd name="T90" fmla="*/ 121 w 122"/>
                <a:gd name="T91" fmla="*/ 48 h 122"/>
                <a:gd name="T92" fmla="*/ 122 w 122"/>
                <a:gd name="T93" fmla="*/ 54 h 122"/>
                <a:gd name="T94" fmla="*/ 122 w 122"/>
                <a:gd name="T95" fmla="*/ 60 h 122"/>
                <a:gd name="T96" fmla="*/ 122 w 122"/>
                <a:gd name="T97" fmla="*/ 66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122" h="122">
                  <a:moveTo>
                    <a:pt x="122" y="66"/>
                  </a:moveTo>
                  <a:lnTo>
                    <a:pt x="121" y="73"/>
                  </a:lnTo>
                  <a:lnTo>
                    <a:pt x="120" y="79"/>
                  </a:lnTo>
                  <a:lnTo>
                    <a:pt x="117" y="84"/>
                  </a:lnTo>
                  <a:lnTo>
                    <a:pt x="115" y="89"/>
                  </a:lnTo>
                  <a:lnTo>
                    <a:pt x="109" y="100"/>
                  </a:lnTo>
                  <a:lnTo>
                    <a:pt x="101" y="108"/>
                  </a:lnTo>
                  <a:lnTo>
                    <a:pt x="92" y="115"/>
                  </a:lnTo>
                  <a:lnTo>
                    <a:pt x="80" y="120"/>
                  </a:lnTo>
                  <a:lnTo>
                    <a:pt x="74" y="121"/>
                  </a:lnTo>
                  <a:lnTo>
                    <a:pt x="68" y="122"/>
                  </a:lnTo>
                  <a:lnTo>
                    <a:pt x="62" y="122"/>
                  </a:lnTo>
                  <a:lnTo>
                    <a:pt x="56" y="122"/>
                  </a:lnTo>
                  <a:lnTo>
                    <a:pt x="49" y="121"/>
                  </a:lnTo>
                  <a:lnTo>
                    <a:pt x="43" y="120"/>
                  </a:lnTo>
                  <a:lnTo>
                    <a:pt x="37" y="119"/>
                  </a:lnTo>
                  <a:lnTo>
                    <a:pt x="33" y="115"/>
                  </a:lnTo>
                  <a:lnTo>
                    <a:pt x="22" y="109"/>
                  </a:lnTo>
                  <a:lnTo>
                    <a:pt x="14" y="101"/>
                  </a:lnTo>
                  <a:lnTo>
                    <a:pt x="7" y="91"/>
                  </a:lnTo>
                  <a:lnTo>
                    <a:pt x="2" y="81"/>
                  </a:lnTo>
                  <a:lnTo>
                    <a:pt x="1" y="75"/>
                  </a:lnTo>
                  <a:lnTo>
                    <a:pt x="0" y="69"/>
                  </a:lnTo>
                  <a:lnTo>
                    <a:pt x="0" y="62"/>
                  </a:lnTo>
                  <a:lnTo>
                    <a:pt x="0" y="56"/>
                  </a:lnTo>
                  <a:lnTo>
                    <a:pt x="1" y="50"/>
                  </a:lnTo>
                  <a:lnTo>
                    <a:pt x="2" y="43"/>
                  </a:lnTo>
                  <a:lnTo>
                    <a:pt x="4" y="38"/>
                  </a:lnTo>
                  <a:lnTo>
                    <a:pt x="7" y="33"/>
                  </a:lnTo>
                  <a:lnTo>
                    <a:pt x="13" y="23"/>
                  </a:lnTo>
                  <a:lnTo>
                    <a:pt x="21" y="14"/>
                  </a:lnTo>
                  <a:lnTo>
                    <a:pt x="30" y="8"/>
                  </a:lnTo>
                  <a:lnTo>
                    <a:pt x="42" y="3"/>
                  </a:lnTo>
                  <a:lnTo>
                    <a:pt x="48" y="1"/>
                  </a:lnTo>
                  <a:lnTo>
                    <a:pt x="54" y="0"/>
                  </a:lnTo>
                  <a:lnTo>
                    <a:pt x="60" y="0"/>
                  </a:lnTo>
                  <a:lnTo>
                    <a:pt x="66" y="0"/>
                  </a:lnTo>
                  <a:lnTo>
                    <a:pt x="73" y="1"/>
                  </a:lnTo>
                  <a:lnTo>
                    <a:pt x="79" y="2"/>
                  </a:lnTo>
                  <a:lnTo>
                    <a:pt x="84" y="4"/>
                  </a:lnTo>
                  <a:lnTo>
                    <a:pt x="89" y="7"/>
                  </a:lnTo>
                  <a:lnTo>
                    <a:pt x="100" y="13"/>
                  </a:lnTo>
                  <a:lnTo>
                    <a:pt x="108" y="21"/>
                  </a:lnTo>
                  <a:lnTo>
                    <a:pt x="115" y="31"/>
                  </a:lnTo>
                  <a:lnTo>
                    <a:pt x="120" y="42"/>
                  </a:lnTo>
                  <a:lnTo>
                    <a:pt x="121" y="48"/>
                  </a:lnTo>
                  <a:lnTo>
                    <a:pt x="122" y="54"/>
                  </a:lnTo>
                  <a:lnTo>
                    <a:pt x="122" y="60"/>
                  </a:lnTo>
                  <a:lnTo>
                    <a:pt x="122" y="66"/>
                  </a:lnTo>
                  <a:close/>
                </a:path>
              </a:pathLst>
            </a:custGeom>
            <a:solidFill>
              <a:srgbClr val="EEA52B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6653" tIns="58327" rIns="116653" bIns="58327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434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137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23" name="Freeform 93"/>
            <p:cNvSpPr>
              <a:spLocks/>
            </p:cNvSpPr>
            <p:nvPr/>
          </p:nvSpPr>
          <p:spPr bwMode="auto">
            <a:xfrm>
              <a:off x="2330" y="2442"/>
              <a:ext cx="24" cy="24"/>
            </a:xfrm>
            <a:custGeom>
              <a:avLst/>
              <a:gdLst>
                <a:gd name="T0" fmla="*/ 95 w 95"/>
                <a:gd name="T1" fmla="*/ 52 h 97"/>
                <a:gd name="T2" fmla="*/ 94 w 95"/>
                <a:gd name="T3" fmla="*/ 62 h 97"/>
                <a:gd name="T4" fmla="*/ 91 w 95"/>
                <a:gd name="T5" fmla="*/ 71 h 97"/>
                <a:gd name="T6" fmla="*/ 86 w 95"/>
                <a:gd name="T7" fmla="*/ 79 h 97"/>
                <a:gd name="T8" fmla="*/ 79 w 95"/>
                <a:gd name="T9" fmla="*/ 85 h 97"/>
                <a:gd name="T10" fmla="*/ 72 w 95"/>
                <a:gd name="T11" fmla="*/ 91 h 97"/>
                <a:gd name="T12" fmla="*/ 62 w 95"/>
                <a:gd name="T13" fmla="*/ 94 h 97"/>
                <a:gd name="T14" fmla="*/ 53 w 95"/>
                <a:gd name="T15" fmla="*/ 97 h 97"/>
                <a:gd name="T16" fmla="*/ 44 w 95"/>
                <a:gd name="T17" fmla="*/ 97 h 97"/>
                <a:gd name="T18" fmla="*/ 34 w 95"/>
                <a:gd name="T19" fmla="*/ 94 h 97"/>
                <a:gd name="T20" fmla="*/ 26 w 95"/>
                <a:gd name="T21" fmla="*/ 91 h 97"/>
                <a:gd name="T22" fmla="*/ 18 w 95"/>
                <a:gd name="T23" fmla="*/ 86 h 97"/>
                <a:gd name="T24" fmla="*/ 11 w 95"/>
                <a:gd name="T25" fmla="*/ 80 h 97"/>
                <a:gd name="T26" fmla="*/ 6 w 95"/>
                <a:gd name="T27" fmla="*/ 72 h 97"/>
                <a:gd name="T28" fmla="*/ 2 w 95"/>
                <a:gd name="T29" fmla="*/ 64 h 97"/>
                <a:gd name="T30" fmla="*/ 0 w 95"/>
                <a:gd name="T31" fmla="*/ 54 h 97"/>
                <a:gd name="T32" fmla="*/ 0 w 95"/>
                <a:gd name="T33" fmla="*/ 45 h 97"/>
                <a:gd name="T34" fmla="*/ 1 w 95"/>
                <a:gd name="T35" fmla="*/ 34 h 97"/>
                <a:gd name="T36" fmla="*/ 5 w 95"/>
                <a:gd name="T37" fmla="*/ 26 h 97"/>
                <a:gd name="T38" fmla="*/ 9 w 95"/>
                <a:gd name="T39" fmla="*/ 18 h 97"/>
                <a:gd name="T40" fmla="*/ 16 w 95"/>
                <a:gd name="T41" fmla="*/ 12 h 97"/>
                <a:gd name="T42" fmla="*/ 24 w 95"/>
                <a:gd name="T43" fmla="*/ 6 h 97"/>
                <a:gd name="T44" fmla="*/ 33 w 95"/>
                <a:gd name="T45" fmla="*/ 2 h 97"/>
                <a:gd name="T46" fmla="*/ 42 w 95"/>
                <a:gd name="T47" fmla="*/ 0 h 97"/>
                <a:gd name="T48" fmla="*/ 52 w 95"/>
                <a:gd name="T49" fmla="*/ 0 h 97"/>
                <a:gd name="T50" fmla="*/ 61 w 95"/>
                <a:gd name="T51" fmla="*/ 2 h 97"/>
                <a:gd name="T52" fmla="*/ 71 w 95"/>
                <a:gd name="T53" fmla="*/ 6 h 97"/>
                <a:gd name="T54" fmla="*/ 78 w 95"/>
                <a:gd name="T55" fmla="*/ 11 h 97"/>
                <a:gd name="T56" fmla="*/ 85 w 95"/>
                <a:gd name="T57" fmla="*/ 18 h 97"/>
                <a:gd name="T58" fmla="*/ 89 w 95"/>
                <a:gd name="T59" fmla="*/ 25 h 97"/>
                <a:gd name="T60" fmla="*/ 93 w 95"/>
                <a:gd name="T61" fmla="*/ 33 h 97"/>
                <a:gd name="T62" fmla="*/ 95 w 95"/>
                <a:gd name="T63" fmla="*/ 42 h 97"/>
                <a:gd name="T64" fmla="*/ 95 w 95"/>
                <a:gd name="T65" fmla="*/ 52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95" h="97">
                  <a:moveTo>
                    <a:pt x="95" y="52"/>
                  </a:moveTo>
                  <a:lnTo>
                    <a:pt x="94" y="62"/>
                  </a:lnTo>
                  <a:lnTo>
                    <a:pt x="91" y="71"/>
                  </a:lnTo>
                  <a:lnTo>
                    <a:pt x="86" y="79"/>
                  </a:lnTo>
                  <a:lnTo>
                    <a:pt x="79" y="85"/>
                  </a:lnTo>
                  <a:lnTo>
                    <a:pt x="72" y="91"/>
                  </a:lnTo>
                  <a:lnTo>
                    <a:pt x="62" y="94"/>
                  </a:lnTo>
                  <a:lnTo>
                    <a:pt x="53" y="97"/>
                  </a:lnTo>
                  <a:lnTo>
                    <a:pt x="44" y="97"/>
                  </a:lnTo>
                  <a:lnTo>
                    <a:pt x="34" y="94"/>
                  </a:lnTo>
                  <a:lnTo>
                    <a:pt x="26" y="91"/>
                  </a:lnTo>
                  <a:lnTo>
                    <a:pt x="18" y="86"/>
                  </a:lnTo>
                  <a:lnTo>
                    <a:pt x="11" y="80"/>
                  </a:lnTo>
                  <a:lnTo>
                    <a:pt x="6" y="72"/>
                  </a:lnTo>
                  <a:lnTo>
                    <a:pt x="2" y="64"/>
                  </a:lnTo>
                  <a:lnTo>
                    <a:pt x="0" y="54"/>
                  </a:lnTo>
                  <a:lnTo>
                    <a:pt x="0" y="45"/>
                  </a:lnTo>
                  <a:lnTo>
                    <a:pt x="1" y="34"/>
                  </a:lnTo>
                  <a:lnTo>
                    <a:pt x="5" y="26"/>
                  </a:lnTo>
                  <a:lnTo>
                    <a:pt x="9" y="18"/>
                  </a:lnTo>
                  <a:lnTo>
                    <a:pt x="16" y="12"/>
                  </a:lnTo>
                  <a:lnTo>
                    <a:pt x="24" y="6"/>
                  </a:lnTo>
                  <a:lnTo>
                    <a:pt x="33" y="2"/>
                  </a:lnTo>
                  <a:lnTo>
                    <a:pt x="42" y="0"/>
                  </a:lnTo>
                  <a:lnTo>
                    <a:pt x="52" y="0"/>
                  </a:lnTo>
                  <a:lnTo>
                    <a:pt x="61" y="2"/>
                  </a:lnTo>
                  <a:lnTo>
                    <a:pt x="71" y="6"/>
                  </a:lnTo>
                  <a:lnTo>
                    <a:pt x="78" y="11"/>
                  </a:lnTo>
                  <a:lnTo>
                    <a:pt x="85" y="18"/>
                  </a:lnTo>
                  <a:lnTo>
                    <a:pt x="89" y="25"/>
                  </a:lnTo>
                  <a:lnTo>
                    <a:pt x="93" y="33"/>
                  </a:lnTo>
                  <a:lnTo>
                    <a:pt x="95" y="42"/>
                  </a:lnTo>
                  <a:lnTo>
                    <a:pt x="95" y="52"/>
                  </a:lnTo>
                  <a:close/>
                </a:path>
              </a:pathLst>
            </a:custGeom>
            <a:solidFill>
              <a:srgbClr val="EEA52B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6653" tIns="58327" rIns="116653" bIns="58327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434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137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24" name="Freeform 94"/>
            <p:cNvSpPr>
              <a:spLocks/>
            </p:cNvSpPr>
            <p:nvPr/>
          </p:nvSpPr>
          <p:spPr bwMode="auto">
            <a:xfrm>
              <a:off x="2002" y="2283"/>
              <a:ext cx="48" cy="48"/>
            </a:xfrm>
            <a:custGeom>
              <a:avLst/>
              <a:gdLst>
                <a:gd name="T0" fmla="*/ 192 w 193"/>
                <a:gd name="T1" fmla="*/ 116 h 194"/>
                <a:gd name="T2" fmla="*/ 186 w 193"/>
                <a:gd name="T3" fmla="*/ 134 h 194"/>
                <a:gd name="T4" fmla="*/ 178 w 193"/>
                <a:gd name="T5" fmla="*/ 151 h 194"/>
                <a:gd name="T6" fmla="*/ 166 w 193"/>
                <a:gd name="T7" fmla="*/ 165 h 194"/>
                <a:gd name="T8" fmla="*/ 152 w 193"/>
                <a:gd name="T9" fmla="*/ 177 h 194"/>
                <a:gd name="T10" fmla="*/ 136 w 193"/>
                <a:gd name="T11" fmla="*/ 186 h 194"/>
                <a:gd name="T12" fmla="*/ 118 w 193"/>
                <a:gd name="T13" fmla="*/ 192 h 194"/>
                <a:gd name="T14" fmla="*/ 99 w 193"/>
                <a:gd name="T15" fmla="*/ 194 h 194"/>
                <a:gd name="T16" fmla="*/ 79 w 193"/>
                <a:gd name="T17" fmla="*/ 193 h 194"/>
                <a:gd name="T18" fmla="*/ 60 w 193"/>
                <a:gd name="T19" fmla="*/ 187 h 194"/>
                <a:gd name="T20" fmla="*/ 44 w 193"/>
                <a:gd name="T21" fmla="*/ 179 h 194"/>
                <a:gd name="T22" fmla="*/ 30 w 193"/>
                <a:gd name="T23" fmla="*/ 167 h 194"/>
                <a:gd name="T24" fmla="*/ 17 w 193"/>
                <a:gd name="T25" fmla="*/ 153 h 194"/>
                <a:gd name="T26" fmla="*/ 9 w 193"/>
                <a:gd name="T27" fmla="*/ 137 h 194"/>
                <a:gd name="T28" fmla="*/ 3 w 193"/>
                <a:gd name="T29" fmla="*/ 119 h 194"/>
                <a:gd name="T30" fmla="*/ 0 w 193"/>
                <a:gd name="T31" fmla="*/ 99 h 194"/>
                <a:gd name="T32" fmla="*/ 2 w 193"/>
                <a:gd name="T33" fmla="*/ 80 h 194"/>
                <a:gd name="T34" fmla="*/ 7 w 193"/>
                <a:gd name="T35" fmla="*/ 61 h 194"/>
                <a:gd name="T36" fmla="*/ 16 w 193"/>
                <a:gd name="T37" fmla="*/ 45 h 194"/>
                <a:gd name="T38" fmla="*/ 27 w 193"/>
                <a:gd name="T39" fmla="*/ 30 h 194"/>
                <a:gd name="T40" fmla="*/ 42 w 193"/>
                <a:gd name="T41" fmla="*/ 18 h 194"/>
                <a:gd name="T42" fmla="*/ 58 w 193"/>
                <a:gd name="T43" fmla="*/ 8 h 194"/>
                <a:gd name="T44" fmla="*/ 76 w 193"/>
                <a:gd name="T45" fmla="*/ 2 h 194"/>
                <a:gd name="T46" fmla="*/ 95 w 193"/>
                <a:gd name="T47" fmla="*/ 0 h 194"/>
                <a:gd name="T48" fmla="*/ 115 w 193"/>
                <a:gd name="T49" fmla="*/ 2 h 194"/>
                <a:gd name="T50" fmla="*/ 133 w 193"/>
                <a:gd name="T51" fmla="*/ 7 h 194"/>
                <a:gd name="T52" fmla="*/ 150 w 193"/>
                <a:gd name="T53" fmla="*/ 17 h 194"/>
                <a:gd name="T54" fmla="*/ 165 w 193"/>
                <a:gd name="T55" fmla="*/ 28 h 194"/>
                <a:gd name="T56" fmla="*/ 177 w 193"/>
                <a:gd name="T57" fmla="*/ 43 h 194"/>
                <a:gd name="T58" fmla="*/ 186 w 193"/>
                <a:gd name="T59" fmla="*/ 58 h 194"/>
                <a:gd name="T60" fmla="*/ 192 w 193"/>
                <a:gd name="T61" fmla="*/ 77 h 194"/>
                <a:gd name="T62" fmla="*/ 193 w 193"/>
                <a:gd name="T63" fmla="*/ 95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93" h="194">
                  <a:moveTo>
                    <a:pt x="193" y="106"/>
                  </a:moveTo>
                  <a:lnTo>
                    <a:pt x="192" y="116"/>
                  </a:lnTo>
                  <a:lnTo>
                    <a:pt x="190" y="125"/>
                  </a:lnTo>
                  <a:lnTo>
                    <a:pt x="186" y="134"/>
                  </a:lnTo>
                  <a:lnTo>
                    <a:pt x="183" y="143"/>
                  </a:lnTo>
                  <a:lnTo>
                    <a:pt x="178" y="151"/>
                  </a:lnTo>
                  <a:lnTo>
                    <a:pt x="172" y="158"/>
                  </a:lnTo>
                  <a:lnTo>
                    <a:pt x="166" y="165"/>
                  </a:lnTo>
                  <a:lnTo>
                    <a:pt x="159" y="171"/>
                  </a:lnTo>
                  <a:lnTo>
                    <a:pt x="152" y="177"/>
                  </a:lnTo>
                  <a:lnTo>
                    <a:pt x="144" y="181"/>
                  </a:lnTo>
                  <a:lnTo>
                    <a:pt x="136" y="186"/>
                  </a:lnTo>
                  <a:lnTo>
                    <a:pt x="127" y="190"/>
                  </a:lnTo>
                  <a:lnTo>
                    <a:pt x="118" y="192"/>
                  </a:lnTo>
                  <a:lnTo>
                    <a:pt x="109" y="193"/>
                  </a:lnTo>
                  <a:lnTo>
                    <a:pt x="99" y="194"/>
                  </a:lnTo>
                  <a:lnTo>
                    <a:pt x="89" y="194"/>
                  </a:lnTo>
                  <a:lnTo>
                    <a:pt x="79" y="193"/>
                  </a:lnTo>
                  <a:lnTo>
                    <a:pt x="70" y="191"/>
                  </a:lnTo>
                  <a:lnTo>
                    <a:pt x="60" y="187"/>
                  </a:lnTo>
                  <a:lnTo>
                    <a:pt x="52" y="184"/>
                  </a:lnTo>
                  <a:lnTo>
                    <a:pt x="44" y="179"/>
                  </a:lnTo>
                  <a:lnTo>
                    <a:pt x="36" y="173"/>
                  </a:lnTo>
                  <a:lnTo>
                    <a:pt x="30" y="167"/>
                  </a:lnTo>
                  <a:lnTo>
                    <a:pt x="23" y="160"/>
                  </a:lnTo>
                  <a:lnTo>
                    <a:pt x="17" y="153"/>
                  </a:lnTo>
                  <a:lnTo>
                    <a:pt x="12" y="145"/>
                  </a:lnTo>
                  <a:lnTo>
                    <a:pt x="9" y="137"/>
                  </a:lnTo>
                  <a:lnTo>
                    <a:pt x="5" y="127"/>
                  </a:lnTo>
                  <a:lnTo>
                    <a:pt x="3" y="119"/>
                  </a:lnTo>
                  <a:lnTo>
                    <a:pt x="0" y="110"/>
                  </a:lnTo>
                  <a:lnTo>
                    <a:pt x="0" y="99"/>
                  </a:lnTo>
                  <a:lnTo>
                    <a:pt x="0" y="90"/>
                  </a:lnTo>
                  <a:lnTo>
                    <a:pt x="2" y="80"/>
                  </a:lnTo>
                  <a:lnTo>
                    <a:pt x="4" y="71"/>
                  </a:lnTo>
                  <a:lnTo>
                    <a:pt x="7" y="61"/>
                  </a:lnTo>
                  <a:lnTo>
                    <a:pt x="11" y="53"/>
                  </a:lnTo>
                  <a:lnTo>
                    <a:pt x="16" y="45"/>
                  </a:lnTo>
                  <a:lnTo>
                    <a:pt x="22" y="37"/>
                  </a:lnTo>
                  <a:lnTo>
                    <a:pt x="27" y="30"/>
                  </a:lnTo>
                  <a:lnTo>
                    <a:pt x="34" y="24"/>
                  </a:lnTo>
                  <a:lnTo>
                    <a:pt x="42" y="18"/>
                  </a:lnTo>
                  <a:lnTo>
                    <a:pt x="50" y="13"/>
                  </a:lnTo>
                  <a:lnTo>
                    <a:pt x="58" y="8"/>
                  </a:lnTo>
                  <a:lnTo>
                    <a:pt x="66" y="5"/>
                  </a:lnTo>
                  <a:lnTo>
                    <a:pt x="76" y="2"/>
                  </a:lnTo>
                  <a:lnTo>
                    <a:pt x="85" y="1"/>
                  </a:lnTo>
                  <a:lnTo>
                    <a:pt x="95" y="0"/>
                  </a:lnTo>
                  <a:lnTo>
                    <a:pt x="105" y="1"/>
                  </a:lnTo>
                  <a:lnTo>
                    <a:pt x="115" y="2"/>
                  </a:lnTo>
                  <a:lnTo>
                    <a:pt x="124" y="5"/>
                  </a:lnTo>
                  <a:lnTo>
                    <a:pt x="133" y="7"/>
                  </a:lnTo>
                  <a:lnTo>
                    <a:pt x="142" y="12"/>
                  </a:lnTo>
                  <a:lnTo>
                    <a:pt x="150" y="17"/>
                  </a:lnTo>
                  <a:lnTo>
                    <a:pt x="158" y="21"/>
                  </a:lnTo>
                  <a:lnTo>
                    <a:pt x="165" y="28"/>
                  </a:lnTo>
                  <a:lnTo>
                    <a:pt x="171" y="34"/>
                  </a:lnTo>
                  <a:lnTo>
                    <a:pt x="177" y="43"/>
                  </a:lnTo>
                  <a:lnTo>
                    <a:pt x="182" y="50"/>
                  </a:lnTo>
                  <a:lnTo>
                    <a:pt x="186" y="58"/>
                  </a:lnTo>
                  <a:lnTo>
                    <a:pt x="189" y="67"/>
                  </a:lnTo>
                  <a:lnTo>
                    <a:pt x="192" y="77"/>
                  </a:lnTo>
                  <a:lnTo>
                    <a:pt x="193" y="86"/>
                  </a:lnTo>
                  <a:lnTo>
                    <a:pt x="193" y="95"/>
                  </a:lnTo>
                  <a:lnTo>
                    <a:pt x="193" y="106"/>
                  </a:lnTo>
                  <a:close/>
                </a:path>
              </a:pathLst>
            </a:custGeom>
            <a:solidFill>
              <a:srgbClr val="EEA52B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6653" tIns="58327" rIns="116653" bIns="58327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434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137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25" name="Freeform 95"/>
            <p:cNvSpPr>
              <a:spLocks/>
            </p:cNvSpPr>
            <p:nvPr/>
          </p:nvSpPr>
          <p:spPr bwMode="auto">
            <a:xfrm>
              <a:off x="2034" y="2251"/>
              <a:ext cx="32" cy="32"/>
            </a:xfrm>
            <a:custGeom>
              <a:avLst/>
              <a:gdLst>
                <a:gd name="T0" fmla="*/ 128 w 129"/>
                <a:gd name="T1" fmla="*/ 77 h 130"/>
                <a:gd name="T2" fmla="*/ 124 w 129"/>
                <a:gd name="T3" fmla="*/ 88 h 130"/>
                <a:gd name="T4" fmla="*/ 119 w 129"/>
                <a:gd name="T5" fmla="*/ 100 h 130"/>
                <a:gd name="T6" fmla="*/ 110 w 129"/>
                <a:gd name="T7" fmla="*/ 110 h 130"/>
                <a:gd name="T8" fmla="*/ 101 w 129"/>
                <a:gd name="T9" fmla="*/ 118 h 130"/>
                <a:gd name="T10" fmla="*/ 90 w 129"/>
                <a:gd name="T11" fmla="*/ 124 h 130"/>
                <a:gd name="T12" fmla="*/ 79 w 129"/>
                <a:gd name="T13" fmla="*/ 127 h 130"/>
                <a:gd name="T14" fmla="*/ 66 w 129"/>
                <a:gd name="T15" fmla="*/ 130 h 130"/>
                <a:gd name="T16" fmla="*/ 53 w 129"/>
                <a:gd name="T17" fmla="*/ 128 h 130"/>
                <a:gd name="T18" fmla="*/ 40 w 129"/>
                <a:gd name="T19" fmla="*/ 125 h 130"/>
                <a:gd name="T20" fmla="*/ 29 w 129"/>
                <a:gd name="T21" fmla="*/ 119 h 130"/>
                <a:gd name="T22" fmla="*/ 20 w 129"/>
                <a:gd name="T23" fmla="*/ 111 h 130"/>
                <a:gd name="T24" fmla="*/ 11 w 129"/>
                <a:gd name="T25" fmla="*/ 101 h 130"/>
                <a:gd name="T26" fmla="*/ 6 w 129"/>
                <a:gd name="T27" fmla="*/ 91 h 130"/>
                <a:gd name="T28" fmla="*/ 1 w 129"/>
                <a:gd name="T29" fmla="*/ 79 h 130"/>
                <a:gd name="T30" fmla="*/ 0 w 129"/>
                <a:gd name="T31" fmla="*/ 66 h 130"/>
                <a:gd name="T32" fmla="*/ 1 w 129"/>
                <a:gd name="T33" fmla="*/ 53 h 130"/>
                <a:gd name="T34" fmla="*/ 4 w 129"/>
                <a:gd name="T35" fmla="*/ 40 h 130"/>
                <a:gd name="T36" fmla="*/ 10 w 129"/>
                <a:gd name="T37" fmla="*/ 30 h 130"/>
                <a:gd name="T38" fmla="*/ 19 w 129"/>
                <a:gd name="T39" fmla="*/ 19 h 130"/>
                <a:gd name="T40" fmla="*/ 28 w 129"/>
                <a:gd name="T41" fmla="*/ 12 h 130"/>
                <a:gd name="T42" fmla="*/ 39 w 129"/>
                <a:gd name="T43" fmla="*/ 5 h 130"/>
                <a:gd name="T44" fmla="*/ 50 w 129"/>
                <a:gd name="T45" fmla="*/ 1 h 130"/>
                <a:gd name="T46" fmla="*/ 63 w 129"/>
                <a:gd name="T47" fmla="*/ 0 h 130"/>
                <a:gd name="T48" fmla="*/ 76 w 129"/>
                <a:gd name="T49" fmla="*/ 1 h 130"/>
                <a:gd name="T50" fmla="*/ 89 w 129"/>
                <a:gd name="T51" fmla="*/ 5 h 130"/>
                <a:gd name="T52" fmla="*/ 100 w 129"/>
                <a:gd name="T53" fmla="*/ 11 h 130"/>
                <a:gd name="T54" fmla="*/ 109 w 129"/>
                <a:gd name="T55" fmla="*/ 18 h 130"/>
                <a:gd name="T56" fmla="*/ 117 w 129"/>
                <a:gd name="T57" fmla="*/ 27 h 130"/>
                <a:gd name="T58" fmla="*/ 123 w 129"/>
                <a:gd name="T59" fmla="*/ 39 h 130"/>
                <a:gd name="T60" fmla="*/ 128 w 129"/>
                <a:gd name="T61" fmla="*/ 51 h 130"/>
                <a:gd name="T62" fmla="*/ 129 w 129"/>
                <a:gd name="T63" fmla="*/ 64 h 1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29" h="130">
                  <a:moveTo>
                    <a:pt x="129" y="70"/>
                  </a:moveTo>
                  <a:lnTo>
                    <a:pt x="128" y="77"/>
                  </a:lnTo>
                  <a:lnTo>
                    <a:pt x="127" y="83"/>
                  </a:lnTo>
                  <a:lnTo>
                    <a:pt x="124" y="88"/>
                  </a:lnTo>
                  <a:lnTo>
                    <a:pt x="122" y="94"/>
                  </a:lnTo>
                  <a:lnTo>
                    <a:pt x="119" y="100"/>
                  </a:lnTo>
                  <a:lnTo>
                    <a:pt x="115" y="105"/>
                  </a:lnTo>
                  <a:lnTo>
                    <a:pt x="110" y="110"/>
                  </a:lnTo>
                  <a:lnTo>
                    <a:pt x="106" y="114"/>
                  </a:lnTo>
                  <a:lnTo>
                    <a:pt x="101" y="118"/>
                  </a:lnTo>
                  <a:lnTo>
                    <a:pt x="96" y="121"/>
                  </a:lnTo>
                  <a:lnTo>
                    <a:pt x="90" y="124"/>
                  </a:lnTo>
                  <a:lnTo>
                    <a:pt x="84" y="126"/>
                  </a:lnTo>
                  <a:lnTo>
                    <a:pt x="79" y="127"/>
                  </a:lnTo>
                  <a:lnTo>
                    <a:pt x="73" y="128"/>
                  </a:lnTo>
                  <a:lnTo>
                    <a:pt x="66" y="130"/>
                  </a:lnTo>
                  <a:lnTo>
                    <a:pt x="60" y="128"/>
                  </a:lnTo>
                  <a:lnTo>
                    <a:pt x="53" y="128"/>
                  </a:lnTo>
                  <a:lnTo>
                    <a:pt x="47" y="126"/>
                  </a:lnTo>
                  <a:lnTo>
                    <a:pt x="40" y="125"/>
                  </a:lnTo>
                  <a:lnTo>
                    <a:pt x="35" y="121"/>
                  </a:lnTo>
                  <a:lnTo>
                    <a:pt x="29" y="119"/>
                  </a:lnTo>
                  <a:lnTo>
                    <a:pt x="24" y="116"/>
                  </a:lnTo>
                  <a:lnTo>
                    <a:pt x="20" y="111"/>
                  </a:lnTo>
                  <a:lnTo>
                    <a:pt x="15" y="106"/>
                  </a:lnTo>
                  <a:lnTo>
                    <a:pt x="11" y="101"/>
                  </a:lnTo>
                  <a:lnTo>
                    <a:pt x="8" y="96"/>
                  </a:lnTo>
                  <a:lnTo>
                    <a:pt x="6" y="91"/>
                  </a:lnTo>
                  <a:lnTo>
                    <a:pt x="3" y="85"/>
                  </a:lnTo>
                  <a:lnTo>
                    <a:pt x="1" y="79"/>
                  </a:lnTo>
                  <a:lnTo>
                    <a:pt x="0" y="72"/>
                  </a:lnTo>
                  <a:lnTo>
                    <a:pt x="0" y="66"/>
                  </a:lnTo>
                  <a:lnTo>
                    <a:pt x="0" y="59"/>
                  </a:lnTo>
                  <a:lnTo>
                    <a:pt x="1" y="53"/>
                  </a:lnTo>
                  <a:lnTo>
                    <a:pt x="2" y="46"/>
                  </a:lnTo>
                  <a:lnTo>
                    <a:pt x="4" y="40"/>
                  </a:lnTo>
                  <a:lnTo>
                    <a:pt x="7" y="34"/>
                  </a:lnTo>
                  <a:lnTo>
                    <a:pt x="10" y="30"/>
                  </a:lnTo>
                  <a:lnTo>
                    <a:pt x="14" y="24"/>
                  </a:lnTo>
                  <a:lnTo>
                    <a:pt x="19" y="19"/>
                  </a:lnTo>
                  <a:lnTo>
                    <a:pt x="22" y="15"/>
                  </a:lnTo>
                  <a:lnTo>
                    <a:pt x="28" y="12"/>
                  </a:lnTo>
                  <a:lnTo>
                    <a:pt x="33" y="8"/>
                  </a:lnTo>
                  <a:lnTo>
                    <a:pt x="39" y="5"/>
                  </a:lnTo>
                  <a:lnTo>
                    <a:pt x="44" y="3"/>
                  </a:lnTo>
                  <a:lnTo>
                    <a:pt x="50" y="1"/>
                  </a:lnTo>
                  <a:lnTo>
                    <a:pt x="56" y="0"/>
                  </a:lnTo>
                  <a:lnTo>
                    <a:pt x="63" y="0"/>
                  </a:lnTo>
                  <a:lnTo>
                    <a:pt x="69" y="0"/>
                  </a:lnTo>
                  <a:lnTo>
                    <a:pt x="76" y="1"/>
                  </a:lnTo>
                  <a:lnTo>
                    <a:pt x="82" y="3"/>
                  </a:lnTo>
                  <a:lnTo>
                    <a:pt x="89" y="5"/>
                  </a:lnTo>
                  <a:lnTo>
                    <a:pt x="94" y="7"/>
                  </a:lnTo>
                  <a:lnTo>
                    <a:pt x="100" y="11"/>
                  </a:lnTo>
                  <a:lnTo>
                    <a:pt x="104" y="14"/>
                  </a:lnTo>
                  <a:lnTo>
                    <a:pt x="109" y="18"/>
                  </a:lnTo>
                  <a:lnTo>
                    <a:pt x="114" y="23"/>
                  </a:lnTo>
                  <a:lnTo>
                    <a:pt x="117" y="27"/>
                  </a:lnTo>
                  <a:lnTo>
                    <a:pt x="121" y="33"/>
                  </a:lnTo>
                  <a:lnTo>
                    <a:pt x="123" y="39"/>
                  </a:lnTo>
                  <a:lnTo>
                    <a:pt x="126" y="45"/>
                  </a:lnTo>
                  <a:lnTo>
                    <a:pt x="128" y="51"/>
                  </a:lnTo>
                  <a:lnTo>
                    <a:pt x="129" y="57"/>
                  </a:lnTo>
                  <a:lnTo>
                    <a:pt x="129" y="64"/>
                  </a:lnTo>
                  <a:lnTo>
                    <a:pt x="129" y="70"/>
                  </a:lnTo>
                  <a:close/>
                </a:path>
              </a:pathLst>
            </a:custGeom>
            <a:solidFill>
              <a:srgbClr val="EEA52B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6653" tIns="58327" rIns="116653" bIns="58327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434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137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26" name="Freeform 96"/>
            <p:cNvSpPr>
              <a:spLocks/>
            </p:cNvSpPr>
            <p:nvPr/>
          </p:nvSpPr>
          <p:spPr bwMode="auto">
            <a:xfrm>
              <a:off x="2003" y="2252"/>
              <a:ext cx="25" cy="25"/>
            </a:xfrm>
            <a:custGeom>
              <a:avLst/>
              <a:gdLst>
                <a:gd name="T0" fmla="*/ 101 w 101"/>
                <a:gd name="T1" fmla="*/ 55 h 101"/>
                <a:gd name="T2" fmla="*/ 99 w 101"/>
                <a:gd name="T3" fmla="*/ 64 h 101"/>
                <a:gd name="T4" fmla="*/ 95 w 101"/>
                <a:gd name="T5" fmla="*/ 74 h 101"/>
                <a:gd name="T6" fmla="*/ 90 w 101"/>
                <a:gd name="T7" fmla="*/ 82 h 101"/>
                <a:gd name="T8" fmla="*/ 84 w 101"/>
                <a:gd name="T9" fmla="*/ 89 h 101"/>
                <a:gd name="T10" fmla="*/ 75 w 101"/>
                <a:gd name="T11" fmla="*/ 95 h 101"/>
                <a:gd name="T12" fmla="*/ 66 w 101"/>
                <a:gd name="T13" fmla="*/ 98 h 101"/>
                <a:gd name="T14" fmla="*/ 57 w 101"/>
                <a:gd name="T15" fmla="*/ 101 h 101"/>
                <a:gd name="T16" fmla="*/ 46 w 101"/>
                <a:gd name="T17" fmla="*/ 101 h 101"/>
                <a:gd name="T18" fmla="*/ 35 w 101"/>
                <a:gd name="T19" fmla="*/ 98 h 101"/>
                <a:gd name="T20" fmla="*/ 27 w 101"/>
                <a:gd name="T21" fmla="*/ 95 h 101"/>
                <a:gd name="T22" fmla="*/ 19 w 101"/>
                <a:gd name="T23" fmla="*/ 90 h 101"/>
                <a:gd name="T24" fmla="*/ 12 w 101"/>
                <a:gd name="T25" fmla="*/ 83 h 101"/>
                <a:gd name="T26" fmla="*/ 6 w 101"/>
                <a:gd name="T27" fmla="*/ 75 h 101"/>
                <a:gd name="T28" fmla="*/ 2 w 101"/>
                <a:gd name="T29" fmla="*/ 65 h 101"/>
                <a:gd name="T30" fmla="*/ 0 w 101"/>
                <a:gd name="T31" fmla="*/ 56 h 101"/>
                <a:gd name="T32" fmla="*/ 0 w 101"/>
                <a:gd name="T33" fmla="*/ 45 h 101"/>
                <a:gd name="T34" fmla="*/ 1 w 101"/>
                <a:gd name="T35" fmla="*/ 36 h 101"/>
                <a:gd name="T36" fmla="*/ 5 w 101"/>
                <a:gd name="T37" fmla="*/ 27 h 101"/>
                <a:gd name="T38" fmla="*/ 11 w 101"/>
                <a:gd name="T39" fmla="*/ 18 h 101"/>
                <a:gd name="T40" fmla="*/ 18 w 101"/>
                <a:gd name="T41" fmla="*/ 11 h 101"/>
                <a:gd name="T42" fmla="*/ 25 w 101"/>
                <a:gd name="T43" fmla="*/ 5 h 101"/>
                <a:gd name="T44" fmla="*/ 34 w 101"/>
                <a:gd name="T45" fmla="*/ 2 h 101"/>
                <a:gd name="T46" fmla="*/ 44 w 101"/>
                <a:gd name="T47" fmla="*/ 0 h 101"/>
                <a:gd name="T48" fmla="*/ 54 w 101"/>
                <a:gd name="T49" fmla="*/ 0 h 101"/>
                <a:gd name="T50" fmla="*/ 65 w 101"/>
                <a:gd name="T51" fmla="*/ 1 h 101"/>
                <a:gd name="T52" fmla="*/ 74 w 101"/>
                <a:gd name="T53" fmla="*/ 5 h 101"/>
                <a:gd name="T54" fmla="*/ 82 w 101"/>
                <a:gd name="T55" fmla="*/ 10 h 101"/>
                <a:gd name="T56" fmla="*/ 90 w 101"/>
                <a:gd name="T57" fmla="*/ 17 h 101"/>
                <a:gd name="T58" fmla="*/ 94 w 101"/>
                <a:gd name="T59" fmla="*/ 25 h 101"/>
                <a:gd name="T60" fmla="*/ 99 w 101"/>
                <a:gd name="T61" fmla="*/ 35 h 101"/>
                <a:gd name="T62" fmla="*/ 100 w 101"/>
                <a:gd name="T63" fmla="*/ 44 h 101"/>
                <a:gd name="T64" fmla="*/ 101 w 101"/>
                <a:gd name="T65" fmla="*/ 55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01" h="101">
                  <a:moveTo>
                    <a:pt x="101" y="55"/>
                  </a:moveTo>
                  <a:lnTo>
                    <a:pt x="99" y="64"/>
                  </a:lnTo>
                  <a:lnTo>
                    <a:pt x="95" y="74"/>
                  </a:lnTo>
                  <a:lnTo>
                    <a:pt x="90" y="82"/>
                  </a:lnTo>
                  <a:lnTo>
                    <a:pt x="84" y="89"/>
                  </a:lnTo>
                  <a:lnTo>
                    <a:pt x="75" y="95"/>
                  </a:lnTo>
                  <a:lnTo>
                    <a:pt x="66" y="98"/>
                  </a:lnTo>
                  <a:lnTo>
                    <a:pt x="57" y="101"/>
                  </a:lnTo>
                  <a:lnTo>
                    <a:pt x="46" y="101"/>
                  </a:lnTo>
                  <a:lnTo>
                    <a:pt x="35" y="98"/>
                  </a:lnTo>
                  <a:lnTo>
                    <a:pt x="27" y="95"/>
                  </a:lnTo>
                  <a:lnTo>
                    <a:pt x="19" y="90"/>
                  </a:lnTo>
                  <a:lnTo>
                    <a:pt x="12" y="83"/>
                  </a:lnTo>
                  <a:lnTo>
                    <a:pt x="6" y="75"/>
                  </a:lnTo>
                  <a:lnTo>
                    <a:pt x="2" y="65"/>
                  </a:lnTo>
                  <a:lnTo>
                    <a:pt x="0" y="56"/>
                  </a:lnTo>
                  <a:lnTo>
                    <a:pt x="0" y="45"/>
                  </a:lnTo>
                  <a:lnTo>
                    <a:pt x="1" y="36"/>
                  </a:lnTo>
                  <a:lnTo>
                    <a:pt x="5" y="27"/>
                  </a:lnTo>
                  <a:lnTo>
                    <a:pt x="11" y="18"/>
                  </a:lnTo>
                  <a:lnTo>
                    <a:pt x="18" y="11"/>
                  </a:lnTo>
                  <a:lnTo>
                    <a:pt x="25" y="5"/>
                  </a:lnTo>
                  <a:lnTo>
                    <a:pt x="34" y="2"/>
                  </a:lnTo>
                  <a:lnTo>
                    <a:pt x="44" y="0"/>
                  </a:lnTo>
                  <a:lnTo>
                    <a:pt x="54" y="0"/>
                  </a:lnTo>
                  <a:lnTo>
                    <a:pt x="65" y="1"/>
                  </a:lnTo>
                  <a:lnTo>
                    <a:pt x="74" y="5"/>
                  </a:lnTo>
                  <a:lnTo>
                    <a:pt x="82" y="10"/>
                  </a:lnTo>
                  <a:lnTo>
                    <a:pt x="90" y="17"/>
                  </a:lnTo>
                  <a:lnTo>
                    <a:pt x="94" y="25"/>
                  </a:lnTo>
                  <a:lnTo>
                    <a:pt x="99" y="35"/>
                  </a:lnTo>
                  <a:lnTo>
                    <a:pt x="100" y="44"/>
                  </a:lnTo>
                  <a:lnTo>
                    <a:pt x="101" y="55"/>
                  </a:lnTo>
                  <a:close/>
                </a:path>
              </a:pathLst>
            </a:custGeom>
            <a:solidFill>
              <a:srgbClr val="EEA52B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6653" tIns="58327" rIns="116653" bIns="58327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434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137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27" name="Freeform 97"/>
            <p:cNvSpPr>
              <a:spLocks/>
            </p:cNvSpPr>
            <p:nvPr/>
          </p:nvSpPr>
          <p:spPr bwMode="auto">
            <a:xfrm>
              <a:off x="2265" y="2066"/>
              <a:ext cx="46" cy="46"/>
            </a:xfrm>
            <a:custGeom>
              <a:avLst/>
              <a:gdLst>
                <a:gd name="T0" fmla="*/ 75 w 183"/>
                <a:gd name="T1" fmla="*/ 2 h 184"/>
                <a:gd name="T2" fmla="*/ 93 w 183"/>
                <a:gd name="T3" fmla="*/ 0 h 184"/>
                <a:gd name="T4" fmla="*/ 110 w 183"/>
                <a:gd name="T5" fmla="*/ 2 h 184"/>
                <a:gd name="T6" fmla="*/ 128 w 183"/>
                <a:gd name="T7" fmla="*/ 8 h 184"/>
                <a:gd name="T8" fmla="*/ 143 w 183"/>
                <a:gd name="T9" fmla="*/ 16 h 184"/>
                <a:gd name="T10" fmla="*/ 156 w 183"/>
                <a:gd name="T11" fmla="*/ 28 h 184"/>
                <a:gd name="T12" fmla="*/ 168 w 183"/>
                <a:gd name="T13" fmla="*/ 42 h 184"/>
                <a:gd name="T14" fmla="*/ 176 w 183"/>
                <a:gd name="T15" fmla="*/ 57 h 184"/>
                <a:gd name="T16" fmla="*/ 182 w 183"/>
                <a:gd name="T17" fmla="*/ 76 h 184"/>
                <a:gd name="T18" fmla="*/ 183 w 183"/>
                <a:gd name="T19" fmla="*/ 94 h 184"/>
                <a:gd name="T20" fmla="*/ 181 w 183"/>
                <a:gd name="T21" fmla="*/ 111 h 184"/>
                <a:gd name="T22" fmla="*/ 176 w 183"/>
                <a:gd name="T23" fmla="*/ 129 h 184"/>
                <a:gd name="T24" fmla="*/ 167 w 183"/>
                <a:gd name="T25" fmla="*/ 144 h 184"/>
                <a:gd name="T26" fmla="*/ 156 w 183"/>
                <a:gd name="T27" fmla="*/ 157 h 184"/>
                <a:gd name="T28" fmla="*/ 142 w 183"/>
                <a:gd name="T29" fmla="*/ 169 h 184"/>
                <a:gd name="T30" fmla="*/ 126 w 183"/>
                <a:gd name="T31" fmla="*/ 177 h 184"/>
                <a:gd name="T32" fmla="*/ 108 w 183"/>
                <a:gd name="T33" fmla="*/ 183 h 184"/>
                <a:gd name="T34" fmla="*/ 89 w 183"/>
                <a:gd name="T35" fmla="*/ 184 h 184"/>
                <a:gd name="T36" fmla="*/ 72 w 183"/>
                <a:gd name="T37" fmla="*/ 182 h 184"/>
                <a:gd name="T38" fmla="*/ 55 w 183"/>
                <a:gd name="T39" fmla="*/ 177 h 184"/>
                <a:gd name="T40" fmla="*/ 40 w 183"/>
                <a:gd name="T41" fmla="*/ 168 h 184"/>
                <a:gd name="T42" fmla="*/ 26 w 183"/>
                <a:gd name="T43" fmla="*/ 157 h 184"/>
                <a:gd name="T44" fmla="*/ 14 w 183"/>
                <a:gd name="T45" fmla="*/ 143 h 184"/>
                <a:gd name="T46" fmla="*/ 6 w 183"/>
                <a:gd name="T47" fmla="*/ 127 h 184"/>
                <a:gd name="T48" fmla="*/ 1 w 183"/>
                <a:gd name="T49" fmla="*/ 109 h 184"/>
                <a:gd name="T50" fmla="*/ 0 w 183"/>
                <a:gd name="T51" fmla="*/ 90 h 184"/>
                <a:gd name="T52" fmla="*/ 1 w 183"/>
                <a:gd name="T53" fmla="*/ 73 h 184"/>
                <a:gd name="T54" fmla="*/ 7 w 183"/>
                <a:gd name="T55" fmla="*/ 56 h 184"/>
                <a:gd name="T56" fmla="*/ 15 w 183"/>
                <a:gd name="T57" fmla="*/ 40 h 184"/>
                <a:gd name="T58" fmla="*/ 27 w 183"/>
                <a:gd name="T59" fmla="*/ 27 h 184"/>
                <a:gd name="T60" fmla="*/ 41 w 183"/>
                <a:gd name="T61" fmla="*/ 15 h 184"/>
                <a:gd name="T62" fmla="*/ 56 w 183"/>
                <a:gd name="T63" fmla="*/ 7 h 1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83" h="184">
                  <a:moveTo>
                    <a:pt x="66" y="3"/>
                  </a:moveTo>
                  <a:lnTo>
                    <a:pt x="75" y="2"/>
                  </a:lnTo>
                  <a:lnTo>
                    <a:pt x="85" y="1"/>
                  </a:lnTo>
                  <a:lnTo>
                    <a:pt x="93" y="0"/>
                  </a:lnTo>
                  <a:lnTo>
                    <a:pt x="102" y="1"/>
                  </a:lnTo>
                  <a:lnTo>
                    <a:pt x="110" y="2"/>
                  </a:lnTo>
                  <a:lnTo>
                    <a:pt x="120" y="4"/>
                  </a:lnTo>
                  <a:lnTo>
                    <a:pt x="128" y="8"/>
                  </a:lnTo>
                  <a:lnTo>
                    <a:pt x="136" y="11"/>
                  </a:lnTo>
                  <a:lnTo>
                    <a:pt x="143" y="16"/>
                  </a:lnTo>
                  <a:lnTo>
                    <a:pt x="150" y="22"/>
                  </a:lnTo>
                  <a:lnTo>
                    <a:pt x="156" y="28"/>
                  </a:lnTo>
                  <a:lnTo>
                    <a:pt x="163" y="34"/>
                  </a:lnTo>
                  <a:lnTo>
                    <a:pt x="168" y="42"/>
                  </a:lnTo>
                  <a:lnTo>
                    <a:pt x="173" y="49"/>
                  </a:lnTo>
                  <a:lnTo>
                    <a:pt x="176" y="57"/>
                  </a:lnTo>
                  <a:lnTo>
                    <a:pt x="180" y="67"/>
                  </a:lnTo>
                  <a:lnTo>
                    <a:pt x="182" y="76"/>
                  </a:lnTo>
                  <a:lnTo>
                    <a:pt x="183" y="84"/>
                  </a:lnTo>
                  <a:lnTo>
                    <a:pt x="183" y="94"/>
                  </a:lnTo>
                  <a:lnTo>
                    <a:pt x="183" y="103"/>
                  </a:lnTo>
                  <a:lnTo>
                    <a:pt x="181" y="111"/>
                  </a:lnTo>
                  <a:lnTo>
                    <a:pt x="179" y="121"/>
                  </a:lnTo>
                  <a:lnTo>
                    <a:pt x="176" y="129"/>
                  </a:lnTo>
                  <a:lnTo>
                    <a:pt x="172" y="136"/>
                  </a:lnTo>
                  <a:lnTo>
                    <a:pt x="167" y="144"/>
                  </a:lnTo>
                  <a:lnTo>
                    <a:pt x="162" y="151"/>
                  </a:lnTo>
                  <a:lnTo>
                    <a:pt x="156" y="157"/>
                  </a:lnTo>
                  <a:lnTo>
                    <a:pt x="149" y="164"/>
                  </a:lnTo>
                  <a:lnTo>
                    <a:pt x="142" y="169"/>
                  </a:lnTo>
                  <a:lnTo>
                    <a:pt x="134" y="174"/>
                  </a:lnTo>
                  <a:lnTo>
                    <a:pt x="126" y="177"/>
                  </a:lnTo>
                  <a:lnTo>
                    <a:pt x="116" y="181"/>
                  </a:lnTo>
                  <a:lnTo>
                    <a:pt x="108" y="183"/>
                  </a:lnTo>
                  <a:lnTo>
                    <a:pt x="99" y="184"/>
                  </a:lnTo>
                  <a:lnTo>
                    <a:pt x="89" y="184"/>
                  </a:lnTo>
                  <a:lnTo>
                    <a:pt x="81" y="184"/>
                  </a:lnTo>
                  <a:lnTo>
                    <a:pt x="72" y="182"/>
                  </a:lnTo>
                  <a:lnTo>
                    <a:pt x="63" y="180"/>
                  </a:lnTo>
                  <a:lnTo>
                    <a:pt x="55" y="177"/>
                  </a:lnTo>
                  <a:lnTo>
                    <a:pt x="47" y="173"/>
                  </a:lnTo>
                  <a:lnTo>
                    <a:pt x="40" y="168"/>
                  </a:lnTo>
                  <a:lnTo>
                    <a:pt x="33" y="163"/>
                  </a:lnTo>
                  <a:lnTo>
                    <a:pt x="26" y="157"/>
                  </a:lnTo>
                  <a:lnTo>
                    <a:pt x="20" y="150"/>
                  </a:lnTo>
                  <a:lnTo>
                    <a:pt x="14" y="143"/>
                  </a:lnTo>
                  <a:lnTo>
                    <a:pt x="10" y="135"/>
                  </a:lnTo>
                  <a:lnTo>
                    <a:pt x="6" y="127"/>
                  </a:lnTo>
                  <a:lnTo>
                    <a:pt x="3" y="117"/>
                  </a:lnTo>
                  <a:lnTo>
                    <a:pt x="1" y="109"/>
                  </a:lnTo>
                  <a:lnTo>
                    <a:pt x="0" y="100"/>
                  </a:lnTo>
                  <a:lnTo>
                    <a:pt x="0" y="90"/>
                  </a:lnTo>
                  <a:lnTo>
                    <a:pt x="0" y="81"/>
                  </a:lnTo>
                  <a:lnTo>
                    <a:pt x="1" y="73"/>
                  </a:lnTo>
                  <a:lnTo>
                    <a:pt x="3" y="64"/>
                  </a:lnTo>
                  <a:lnTo>
                    <a:pt x="7" y="56"/>
                  </a:lnTo>
                  <a:lnTo>
                    <a:pt x="10" y="48"/>
                  </a:lnTo>
                  <a:lnTo>
                    <a:pt x="15" y="40"/>
                  </a:lnTo>
                  <a:lnTo>
                    <a:pt x="21" y="33"/>
                  </a:lnTo>
                  <a:lnTo>
                    <a:pt x="27" y="27"/>
                  </a:lnTo>
                  <a:lnTo>
                    <a:pt x="33" y="21"/>
                  </a:lnTo>
                  <a:lnTo>
                    <a:pt x="41" y="15"/>
                  </a:lnTo>
                  <a:lnTo>
                    <a:pt x="48" y="10"/>
                  </a:lnTo>
                  <a:lnTo>
                    <a:pt x="56" y="7"/>
                  </a:lnTo>
                  <a:lnTo>
                    <a:pt x="66" y="3"/>
                  </a:lnTo>
                  <a:close/>
                </a:path>
              </a:pathLst>
            </a:custGeom>
            <a:solidFill>
              <a:srgbClr val="EEA52B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6653" tIns="58327" rIns="116653" bIns="58327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434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137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28" name="Freeform 98"/>
            <p:cNvSpPr>
              <a:spLocks/>
            </p:cNvSpPr>
            <p:nvPr/>
          </p:nvSpPr>
          <p:spPr bwMode="auto">
            <a:xfrm>
              <a:off x="2229" y="2065"/>
              <a:ext cx="31" cy="31"/>
            </a:xfrm>
            <a:custGeom>
              <a:avLst/>
              <a:gdLst>
                <a:gd name="T0" fmla="*/ 45 w 123"/>
                <a:gd name="T1" fmla="*/ 3 h 124"/>
                <a:gd name="T2" fmla="*/ 51 w 123"/>
                <a:gd name="T3" fmla="*/ 2 h 124"/>
                <a:gd name="T4" fmla="*/ 57 w 123"/>
                <a:gd name="T5" fmla="*/ 0 h 124"/>
                <a:gd name="T6" fmla="*/ 63 w 123"/>
                <a:gd name="T7" fmla="*/ 0 h 124"/>
                <a:gd name="T8" fmla="*/ 68 w 123"/>
                <a:gd name="T9" fmla="*/ 2 h 124"/>
                <a:gd name="T10" fmla="*/ 80 w 123"/>
                <a:gd name="T11" fmla="*/ 4 h 124"/>
                <a:gd name="T12" fmla="*/ 91 w 123"/>
                <a:gd name="T13" fmla="*/ 9 h 124"/>
                <a:gd name="T14" fmla="*/ 101 w 123"/>
                <a:gd name="T15" fmla="*/ 15 h 124"/>
                <a:gd name="T16" fmla="*/ 110 w 123"/>
                <a:gd name="T17" fmla="*/ 24 h 124"/>
                <a:gd name="T18" fmla="*/ 113 w 123"/>
                <a:gd name="T19" fmla="*/ 29 h 124"/>
                <a:gd name="T20" fmla="*/ 116 w 123"/>
                <a:gd name="T21" fmla="*/ 33 h 124"/>
                <a:gd name="T22" fmla="*/ 118 w 123"/>
                <a:gd name="T23" fmla="*/ 39 h 124"/>
                <a:gd name="T24" fmla="*/ 120 w 123"/>
                <a:gd name="T25" fmla="*/ 45 h 124"/>
                <a:gd name="T26" fmla="*/ 121 w 123"/>
                <a:gd name="T27" fmla="*/ 51 h 124"/>
                <a:gd name="T28" fmla="*/ 123 w 123"/>
                <a:gd name="T29" fmla="*/ 57 h 124"/>
                <a:gd name="T30" fmla="*/ 123 w 123"/>
                <a:gd name="T31" fmla="*/ 64 h 124"/>
                <a:gd name="T32" fmla="*/ 123 w 123"/>
                <a:gd name="T33" fmla="*/ 70 h 124"/>
                <a:gd name="T34" fmla="*/ 120 w 123"/>
                <a:gd name="T35" fmla="*/ 80 h 124"/>
                <a:gd name="T36" fmla="*/ 116 w 123"/>
                <a:gd name="T37" fmla="*/ 92 h 124"/>
                <a:gd name="T38" fmla="*/ 108 w 123"/>
                <a:gd name="T39" fmla="*/ 102 h 124"/>
                <a:gd name="T40" fmla="*/ 100 w 123"/>
                <a:gd name="T41" fmla="*/ 110 h 124"/>
                <a:gd name="T42" fmla="*/ 96 w 123"/>
                <a:gd name="T43" fmla="*/ 113 h 124"/>
                <a:gd name="T44" fmla="*/ 90 w 123"/>
                <a:gd name="T45" fmla="*/ 117 h 124"/>
                <a:gd name="T46" fmla="*/ 85 w 123"/>
                <a:gd name="T47" fmla="*/ 119 h 124"/>
                <a:gd name="T48" fmla="*/ 79 w 123"/>
                <a:gd name="T49" fmla="*/ 122 h 124"/>
                <a:gd name="T50" fmla="*/ 72 w 123"/>
                <a:gd name="T51" fmla="*/ 123 h 124"/>
                <a:gd name="T52" fmla="*/ 66 w 123"/>
                <a:gd name="T53" fmla="*/ 124 h 124"/>
                <a:gd name="T54" fmla="*/ 60 w 123"/>
                <a:gd name="T55" fmla="*/ 124 h 124"/>
                <a:gd name="T56" fmla="*/ 54 w 123"/>
                <a:gd name="T57" fmla="*/ 123 h 124"/>
                <a:gd name="T58" fmla="*/ 43 w 123"/>
                <a:gd name="T59" fmla="*/ 120 h 124"/>
                <a:gd name="T60" fmla="*/ 32 w 123"/>
                <a:gd name="T61" fmla="*/ 116 h 124"/>
                <a:gd name="T62" fmla="*/ 23 w 123"/>
                <a:gd name="T63" fmla="*/ 110 h 124"/>
                <a:gd name="T64" fmla="*/ 14 w 123"/>
                <a:gd name="T65" fmla="*/ 102 h 124"/>
                <a:gd name="T66" fmla="*/ 11 w 123"/>
                <a:gd name="T67" fmla="*/ 96 h 124"/>
                <a:gd name="T68" fmla="*/ 7 w 123"/>
                <a:gd name="T69" fmla="*/ 91 h 124"/>
                <a:gd name="T70" fmla="*/ 5 w 123"/>
                <a:gd name="T71" fmla="*/ 85 h 124"/>
                <a:gd name="T72" fmla="*/ 3 w 123"/>
                <a:gd name="T73" fmla="*/ 79 h 124"/>
                <a:gd name="T74" fmla="*/ 1 w 123"/>
                <a:gd name="T75" fmla="*/ 73 h 124"/>
                <a:gd name="T76" fmla="*/ 0 w 123"/>
                <a:gd name="T77" fmla="*/ 67 h 124"/>
                <a:gd name="T78" fmla="*/ 0 w 123"/>
                <a:gd name="T79" fmla="*/ 62 h 124"/>
                <a:gd name="T80" fmla="*/ 0 w 123"/>
                <a:gd name="T81" fmla="*/ 56 h 124"/>
                <a:gd name="T82" fmla="*/ 3 w 123"/>
                <a:gd name="T83" fmla="*/ 44 h 124"/>
                <a:gd name="T84" fmla="*/ 7 w 123"/>
                <a:gd name="T85" fmla="*/ 32 h 124"/>
                <a:gd name="T86" fmla="*/ 14 w 123"/>
                <a:gd name="T87" fmla="*/ 23 h 124"/>
                <a:gd name="T88" fmla="*/ 23 w 123"/>
                <a:gd name="T89" fmla="*/ 15 h 124"/>
                <a:gd name="T90" fmla="*/ 27 w 123"/>
                <a:gd name="T91" fmla="*/ 11 h 124"/>
                <a:gd name="T92" fmla="*/ 33 w 123"/>
                <a:gd name="T93" fmla="*/ 7 h 124"/>
                <a:gd name="T94" fmla="*/ 39 w 123"/>
                <a:gd name="T95" fmla="*/ 5 h 124"/>
                <a:gd name="T96" fmla="*/ 45 w 123"/>
                <a:gd name="T97" fmla="*/ 3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123" h="124">
                  <a:moveTo>
                    <a:pt x="45" y="3"/>
                  </a:moveTo>
                  <a:lnTo>
                    <a:pt x="51" y="2"/>
                  </a:lnTo>
                  <a:lnTo>
                    <a:pt x="57" y="0"/>
                  </a:lnTo>
                  <a:lnTo>
                    <a:pt x="63" y="0"/>
                  </a:lnTo>
                  <a:lnTo>
                    <a:pt x="68" y="2"/>
                  </a:lnTo>
                  <a:lnTo>
                    <a:pt x="80" y="4"/>
                  </a:lnTo>
                  <a:lnTo>
                    <a:pt x="91" y="9"/>
                  </a:lnTo>
                  <a:lnTo>
                    <a:pt x="101" y="15"/>
                  </a:lnTo>
                  <a:lnTo>
                    <a:pt x="110" y="24"/>
                  </a:lnTo>
                  <a:lnTo>
                    <a:pt x="113" y="29"/>
                  </a:lnTo>
                  <a:lnTo>
                    <a:pt x="116" y="33"/>
                  </a:lnTo>
                  <a:lnTo>
                    <a:pt x="118" y="39"/>
                  </a:lnTo>
                  <a:lnTo>
                    <a:pt x="120" y="45"/>
                  </a:lnTo>
                  <a:lnTo>
                    <a:pt x="121" y="51"/>
                  </a:lnTo>
                  <a:lnTo>
                    <a:pt x="123" y="57"/>
                  </a:lnTo>
                  <a:lnTo>
                    <a:pt x="123" y="64"/>
                  </a:lnTo>
                  <a:lnTo>
                    <a:pt x="123" y="70"/>
                  </a:lnTo>
                  <a:lnTo>
                    <a:pt x="120" y="80"/>
                  </a:lnTo>
                  <a:lnTo>
                    <a:pt x="116" y="92"/>
                  </a:lnTo>
                  <a:lnTo>
                    <a:pt x="108" y="102"/>
                  </a:lnTo>
                  <a:lnTo>
                    <a:pt x="100" y="110"/>
                  </a:lnTo>
                  <a:lnTo>
                    <a:pt x="96" y="113"/>
                  </a:lnTo>
                  <a:lnTo>
                    <a:pt x="90" y="117"/>
                  </a:lnTo>
                  <a:lnTo>
                    <a:pt x="85" y="119"/>
                  </a:lnTo>
                  <a:lnTo>
                    <a:pt x="79" y="122"/>
                  </a:lnTo>
                  <a:lnTo>
                    <a:pt x="72" y="123"/>
                  </a:lnTo>
                  <a:lnTo>
                    <a:pt x="66" y="124"/>
                  </a:lnTo>
                  <a:lnTo>
                    <a:pt x="60" y="124"/>
                  </a:lnTo>
                  <a:lnTo>
                    <a:pt x="54" y="123"/>
                  </a:lnTo>
                  <a:lnTo>
                    <a:pt x="43" y="120"/>
                  </a:lnTo>
                  <a:lnTo>
                    <a:pt x="32" y="116"/>
                  </a:lnTo>
                  <a:lnTo>
                    <a:pt x="23" y="110"/>
                  </a:lnTo>
                  <a:lnTo>
                    <a:pt x="14" y="102"/>
                  </a:lnTo>
                  <a:lnTo>
                    <a:pt x="11" y="96"/>
                  </a:lnTo>
                  <a:lnTo>
                    <a:pt x="7" y="91"/>
                  </a:lnTo>
                  <a:lnTo>
                    <a:pt x="5" y="85"/>
                  </a:lnTo>
                  <a:lnTo>
                    <a:pt x="3" y="79"/>
                  </a:lnTo>
                  <a:lnTo>
                    <a:pt x="1" y="73"/>
                  </a:lnTo>
                  <a:lnTo>
                    <a:pt x="0" y="67"/>
                  </a:lnTo>
                  <a:lnTo>
                    <a:pt x="0" y="62"/>
                  </a:lnTo>
                  <a:lnTo>
                    <a:pt x="0" y="56"/>
                  </a:lnTo>
                  <a:lnTo>
                    <a:pt x="3" y="44"/>
                  </a:lnTo>
                  <a:lnTo>
                    <a:pt x="7" y="32"/>
                  </a:lnTo>
                  <a:lnTo>
                    <a:pt x="14" y="23"/>
                  </a:lnTo>
                  <a:lnTo>
                    <a:pt x="23" y="15"/>
                  </a:lnTo>
                  <a:lnTo>
                    <a:pt x="27" y="11"/>
                  </a:lnTo>
                  <a:lnTo>
                    <a:pt x="33" y="7"/>
                  </a:lnTo>
                  <a:lnTo>
                    <a:pt x="39" y="5"/>
                  </a:lnTo>
                  <a:lnTo>
                    <a:pt x="45" y="3"/>
                  </a:lnTo>
                  <a:close/>
                </a:path>
              </a:pathLst>
            </a:custGeom>
            <a:solidFill>
              <a:srgbClr val="EEA52B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6653" tIns="58327" rIns="116653" bIns="58327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434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137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29" name="Freeform 99"/>
            <p:cNvSpPr>
              <a:spLocks/>
            </p:cNvSpPr>
            <p:nvPr/>
          </p:nvSpPr>
          <p:spPr bwMode="auto">
            <a:xfrm>
              <a:off x="2241" y="2100"/>
              <a:ext cx="25" cy="25"/>
            </a:xfrm>
            <a:custGeom>
              <a:avLst/>
              <a:gdLst>
                <a:gd name="T0" fmla="*/ 35 w 96"/>
                <a:gd name="T1" fmla="*/ 3 h 97"/>
                <a:gd name="T2" fmla="*/ 44 w 96"/>
                <a:gd name="T3" fmla="*/ 0 h 97"/>
                <a:gd name="T4" fmla="*/ 54 w 96"/>
                <a:gd name="T5" fmla="*/ 0 h 97"/>
                <a:gd name="T6" fmla="*/ 63 w 96"/>
                <a:gd name="T7" fmla="*/ 3 h 97"/>
                <a:gd name="T8" fmla="*/ 71 w 96"/>
                <a:gd name="T9" fmla="*/ 6 h 97"/>
                <a:gd name="T10" fmla="*/ 80 w 96"/>
                <a:gd name="T11" fmla="*/ 12 h 97"/>
                <a:gd name="T12" fmla="*/ 86 w 96"/>
                <a:gd name="T13" fmla="*/ 18 h 97"/>
                <a:gd name="T14" fmla="*/ 91 w 96"/>
                <a:gd name="T15" fmla="*/ 26 h 97"/>
                <a:gd name="T16" fmla="*/ 95 w 96"/>
                <a:gd name="T17" fmla="*/ 36 h 97"/>
                <a:gd name="T18" fmla="*/ 96 w 96"/>
                <a:gd name="T19" fmla="*/ 45 h 97"/>
                <a:gd name="T20" fmla="*/ 96 w 96"/>
                <a:gd name="T21" fmla="*/ 55 h 97"/>
                <a:gd name="T22" fmla="*/ 94 w 96"/>
                <a:gd name="T23" fmla="*/ 64 h 97"/>
                <a:gd name="T24" fmla="*/ 90 w 96"/>
                <a:gd name="T25" fmla="*/ 72 h 97"/>
                <a:gd name="T26" fmla="*/ 86 w 96"/>
                <a:gd name="T27" fmla="*/ 79 h 97"/>
                <a:gd name="T28" fmla="*/ 79 w 96"/>
                <a:gd name="T29" fmla="*/ 86 h 97"/>
                <a:gd name="T30" fmla="*/ 70 w 96"/>
                <a:gd name="T31" fmla="*/ 91 h 97"/>
                <a:gd name="T32" fmla="*/ 62 w 96"/>
                <a:gd name="T33" fmla="*/ 95 h 97"/>
                <a:gd name="T34" fmla="*/ 51 w 96"/>
                <a:gd name="T35" fmla="*/ 97 h 97"/>
                <a:gd name="T36" fmla="*/ 42 w 96"/>
                <a:gd name="T37" fmla="*/ 97 h 97"/>
                <a:gd name="T38" fmla="*/ 34 w 96"/>
                <a:gd name="T39" fmla="*/ 95 h 97"/>
                <a:gd name="T40" fmla="*/ 24 w 96"/>
                <a:gd name="T41" fmla="*/ 91 h 97"/>
                <a:gd name="T42" fmla="*/ 17 w 96"/>
                <a:gd name="T43" fmla="*/ 86 h 97"/>
                <a:gd name="T44" fmla="*/ 10 w 96"/>
                <a:gd name="T45" fmla="*/ 79 h 97"/>
                <a:gd name="T46" fmla="*/ 6 w 96"/>
                <a:gd name="T47" fmla="*/ 71 h 97"/>
                <a:gd name="T48" fmla="*/ 2 w 96"/>
                <a:gd name="T49" fmla="*/ 62 h 97"/>
                <a:gd name="T50" fmla="*/ 0 w 96"/>
                <a:gd name="T51" fmla="*/ 52 h 97"/>
                <a:gd name="T52" fmla="*/ 0 w 96"/>
                <a:gd name="T53" fmla="*/ 43 h 97"/>
                <a:gd name="T54" fmla="*/ 2 w 96"/>
                <a:gd name="T55" fmla="*/ 33 h 97"/>
                <a:gd name="T56" fmla="*/ 6 w 96"/>
                <a:gd name="T57" fmla="*/ 25 h 97"/>
                <a:gd name="T58" fmla="*/ 11 w 96"/>
                <a:gd name="T59" fmla="*/ 18 h 97"/>
                <a:gd name="T60" fmla="*/ 17 w 96"/>
                <a:gd name="T61" fmla="*/ 11 h 97"/>
                <a:gd name="T62" fmla="*/ 26 w 96"/>
                <a:gd name="T63" fmla="*/ 6 h 97"/>
                <a:gd name="T64" fmla="*/ 35 w 96"/>
                <a:gd name="T65" fmla="*/ 3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96" h="97">
                  <a:moveTo>
                    <a:pt x="35" y="3"/>
                  </a:moveTo>
                  <a:lnTo>
                    <a:pt x="44" y="0"/>
                  </a:lnTo>
                  <a:lnTo>
                    <a:pt x="54" y="0"/>
                  </a:lnTo>
                  <a:lnTo>
                    <a:pt x="63" y="3"/>
                  </a:lnTo>
                  <a:lnTo>
                    <a:pt x="71" y="6"/>
                  </a:lnTo>
                  <a:lnTo>
                    <a:pt x="80" y="12"/>
                  </a:lnTo>
                  <a:lnTo>
                    <a:pt x="86" y="18"/>
                  </a:lnTo>
                  <a:lnTo>
                    <a:pt x="91" y="26"/>
                  </a:lnTo>
                  <a:lnTo>
                    <a:pt x="95" y="36"/>
                  </a:lnTo>
                  <a:lnTo>
                    <a:pt x="96" y="45"/>
                  </a:lnTo>
                  <a:lnTo>
                    <a:pt x="96" y="55"/>
                  </a:lnTo>
                  <a:lnTo>
                    <a:pt x="94" y="64"/>
                  </a:lnTo>
                  <a:lnTo>
                    <a:pt x="90" y="72"/>
                  </a:lnTo>
                  <a:lnTo>
                    <a:pt x="86" y="79"/>
                  </a:lnTo>
                  <a:lnTo>
                    <a:pt x="79" y="86"/>
                  </a:lnTo>
                  <a:lnTo>
                    <a:pt x="70" y="91"/>
                  </a:lnTo>
                  <a:lnTo>
                    <a:pt x="62" y="95"/>
                  </a:lnTo>
                  <a:lnTo>
                    <a:pt x="51" y="97"/>
                  </a:lnTo>
                  <a:lnTo>
                    <a:pt x="42" y="97"/>
                  </a:lnTo>
                  <a:lnTo>
                    <a:pt x="34" y="95"/>
                  </a:lnTo>
                  <a:lnTo>
                    <a:pt x="24" y="91"/>
                  </a:lnTo>
                  <a:lnTo>
                    <a:pt x="17" y="86"/>
                  </a:lnTo>
                  <a:lnTo>
                    <a:pt x="10" y="79"/>
                  </a:lnTo>
                  <a:lnTo>
                    <a:pt x="6" y="71"/>
                  </a:lnTo>
                  <a:lnTo>
                    <a:pt x="2" y="62"/>
                  </a:lnTo>
                  <a:lnTo>
                    <a:pt x="0" y="52"/>
                  </a:lnTo>
                  <a:lnTo>
                    <a:pt x="0" y="43"/>
                  </a:lnTo>
                  <a:lnTo>
                    <a:pt x="2" y="33"/>
                  </a:lnTo>
                  <a:lnTo>
                    <a:pt x="6" y="25"/>
                  </a:lnTo>
                  <a:lnTo>
                    <a:pt x="11" y="18"/>
                  </a:lnTo>
                  <a:lnTo>
                    <a:pt x="17" y="11"/>
                  </a:lnTo>
                  <a:lnTo>
                    <a:pt x="26" y="6"/>
                  </a:lnTo>
                  <a:lnTo>
                    <a:pt x="35" y="3"/>
                  </a:lnTo>
                  <a:close/>
                </a:path>
              </a:pathLst>
            </a:custGeom>
            <a:solidFill>
              <a:srgbClr val="EEA52B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6653" tIns="58327" rIns="116653" bIns="58327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434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137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30" name="Freeform 100"/>
            <p:cNvSpPr>
              <a:spLocks/>
            </p:cNvSpPr>
            <p:nvPr/>
          </p:nvSpPr>
          <p:spPr bwMode="auto">
            <a:xfrm>
              <a:off x="2508" y="2086"/>
              <a:ext cx="46" cy="46"/>
            </a:xfrm>
            <a:custGeom>
              <a:avLst/>
              <a:gdLst>
                <a:gd name="T0" fmla="*/ 75 w 184"/>
                <a:gd name="T1" fmla="*/ 1 h 184"/>
                <a:gd name="T2" fmla="*/ 93 w 184"/>
                <a:gd name="T3" fmla="*/ 0 h 184"/>
                <a:gd name="T4" fmla="*/ 112 w 184"/>
                <a:gd name="T5" fmla="*/ 2 h 184"/>
                <a:gd name="T6" fmla="*/ 128 w 184"/>
                <a:gd name="T7" fmla="*/ 8 h 184"/>
                <a:gd name="T8" fmla="*/ 144 w 184"/>
                <a:gd name="T9" fmla="*/ 16 h 184"/>
                <a:gd name="T10" fmla="*/ 158 w 184"/>
                <a:gd name="T11" fmla="*/ 27 h 184"/>
                <a:gd name="T12" fmla="*/ 168 w 184"/>
                <a:gd name="T13" fmla="*/ 41 h 184"/>
                <a:gd name="T14" fmla="*/ 177 w 184"/>
                <a:gd name="T15" fmla="*/ 57 h 184"/>
                <a:gd name="T16" fmla="*/ 183 w 184"/>
                <a:gd name="T17" fmla="*/ 75 h 184"/>
                <a:gd name="T18" fmla="*/ 184 w 184"/>
                <a:gd name="T19" fmla="*/ 94 h 184"/>
                <a:gd name="T20" fmla="*/ 181 w 184"/>
                <a:gd name="T21" fmla="*/ 111 h 184"/>
                <a:gd name="T22" fmla="*/ 177 w 184"/>
                <a:gd name="T23" fmla="*/ 128 h 184"/>
                <a:gd name="T24" fmla="*/ 167 w 184"/>
                <a:gd name="T25" fmla="*/ 144 h 184"/>
                <a:gd name="T26" fmla="*/ 157 w 184"/>
                <a:gd name="T27" fmla="*/ 157 h 184"/>
                <a:gd name="T28" fmla="*/ 142 w 184"/>
                <a:gd name="T29" fmla="*/ 169 h 184"/>
                <a:gd name="T30" fmla="*/ 126 w 184"/>
                <a:gd name="T31" fmla="*/ 177 h 184"/>
                <a:gd name="T32" fmla="*/ 108 w 184"/>
                <a:gd name="T33" fmla="*/ 183 h 184"/>
                <a:gd name="T34" fmla="*/ 90 w 184"/>
                <a:gd name="T35" fmla="*/ 184 h 184"/>
                <a:gd name="T36" fmla="*/ 72 w 184"/>
                <a:gd name="T37" fmla="*/ 182 h 184"/>
                <a:gd name="T38" fmla="*/ 55 w 184"/>
                <a:gd name="T39" fmla="*/ 176 h 184"/>
                <a:gd name="T40" fmla="*/ 40 w 184"/>
                <a:gd name="T41" fmla="*/ 168 h 184"/>
                <a:gd name="T42" fmla="*/ 26 w 184"/>
                <a:gd name="T43" fmla="*/ 157 h 184"/>
                <a:gd name="T44" fmla="*/ 15 w 184"/>
                <a:gd name="T45" fmla="*/ 143 h 184"/>
                <a:gd name="T46" fmla="*/ 6 w 184"/>
                <a:gd name="T47" fmla="*/ 127 h 184"/>
                <a:gd name="T48" fmla="*/ 1 w 184"/>
                <a:gd name="T49" fmla="*/ 108 h 184"/>
                <a:gd name="T50" fmla="*/ 0 w 184"/>
                <a:gd name="T51" fmla="*/ 90 h 184"/>
                <a:gd name="T52" fmla="*/ 1 w 184"/>
                <a:gd name="T53" fmla="*/ 73 h 184"/>
                <a:gd name="T54" fmla="*/ 7 w 184"/>
                <a:gd name="T55" fmla="*/ 55 h 184"/>
                <a:gd name="T56" fmla="*/ 15 w 184"/>
                <a:gd name="T57" fmla="*/ 40 h 184"/>
                <a:gd name="T58" fmla="*/ 27 w 184"/>
                <a:gd name="T59" fmla="*/ 27 h 184"/>
                <a:gd name="T60" fmla="*/ 41 w 184"/>
                <a:gd name="T61" fmla="*/ 15 h 184"/>
                <a:gd name="T62" fmla="*/ 58 w 184"/>
                <a:gd name="T63" fmla="*/ 7 h 1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84" h="184">
                  <a:moveTo>
                    <a:pt x="66" y="3"/>
                  </a:moveTo>
                  <a:lnTo>
                    <a:pt x="75" y="1"/>
                  </a:lnTo>
                  <a:lnTo>
                    <a:pt x="85" y="0"/>
                  </a:lnTo>
                  <a:lnTo>
                    <a:pt x="93" y="0"/>
                  </a:lnTo>
                  <a:lnTo>
                    <a:pt x="102" y="1"/>
                  </a:lnTo>
                  <a:lnTo>
                    <a:pt x="112" y="2"/>
                  </a:lnTo>
                  <a:lnTo>
                    <a:pt x="120" y="4"/>
                  </a:lnTo>
                  <a:lnTo>
                    <a:pt x="128" y="8"/>
                  </a:lnTo>
                  <a:lnTo>
                    <a:pt x="137" y="11"/>
                  </a:lnTo>
                  <a:lnTo>
                    <a:pt x="144" y="16"/>
                  </a:lnTo>
                  <a:lnTo>
                    <a:pt x="151" y="21"/>
                  </a:lnTo>
                  <a:lnTo>
                    <a:pt x="158" y="27"/>
                  </a:lnTo>
                  <a:lnTo>
                    <a:pt x="164" y="34"/>
                  </a:lnTo>
                  <a:lnTo>
                    <a:pt x="168" y="41"/>
                  </a:lnTo>
                  <a:lnTo>
                    <a:pt x="173" y="49"/>
                  </a:lnTo>
                  <a:lnTo>
                    <a:pt x="177" y="57"/>
                  </a:lnTo>
                  <a:lnTo>
                    <a:pt x="180" y="67"/>
                  </a:lnTo>
                  <a:lnTo>
                    <a:pt x="183" y="75"/>
                  </a:lnTo>
                  <a:lnTo>
                    <a:pt x="184" y="84"/>
                  </a:lnTo>
                  <a:lnTo>
                    <a:pt x="184" y="94"/>
                  </a:lnTo>
                  <a:lnTo>
                    <a:pt x="184" y="103"/>
                  </a:lnTo>
                  <a:lnTo>
                    <a:pt x="181" y="111"/>
                  </a:lnTo>
                  <a:lnTo>
                    <a:pt x="179" y="120"/>
                  </a:lnTo>
                  <a:lnTo>
                    <a:pt x="177" y="128"/>
                  </a:lnTo>
                  <a:lnTo>
                    <a:pt x="172" y="136"/>
                  </a:lnTo>
                  <a:lnTo>
                    <a:pt x="167" y="144"/>
                  </a:lnTo>
                  <a:lnTo>
                    <a:pt x="163" y="151"/>
                  </a:lnTo>
                  <a:lnTo>
                    <a:pt x="157" y="157"/>
                  </a:lnTo>
                  <a:lnTo>
                    <a:pt x="150" y="163"/>
                  </a:lnTo>
                  <a:lnTo>
                    <a:pt x="142" y="169"/>
                  </a:lnTo>
                  <a:lnTo>
                    <a:pt x="134" y="174"/>
                  </a:lnTo>
                  <a:lnTo>
                    <a:pt x="126" y="177"/>
                  </a:lnTo>
                  <a:lnTo>
                    <a:pt x="118" y="181"/>
                  </a:lnTo>
                  <a:lnTo>
                    <a:pt x="108" y="183"/>
                  </a:lnTo>
                  <a:lnTo>
                    <a:pt x="99" y="184"/>
                  </a:lnTo>
                  <a:lnTo>
                    <a:pt x="90" y="184"/>
                  </a:lnTo>
                  <a:lnTo>
                    <a:pt x="81" y="183"/>
                  </a:lnTo>
                  <a:lnTo>
                    <a:pt x="72" y="182"/>
                  </a:lnTo>
                  <a:lnTo>
                    <a:pt x="64" y="180"/>
                  </a:lnTo>
                  <a:lnTo>
                    <a:pt x="55" y="176"/>
                  </a:lnTo>
                  <a:lnTo>
                    <a:pt x="47" y="173"/>
                  </a:lnTo>
                  <a:lnTo>
                    <a:pt x="40" y="168"/>
                  </a:lnTo>
                  <a:lnTo>
                    <a:pt x="33" y="163"/>
                  </a:lnTo>
                  <a:lnTo>
                    <a:pt x="26" y="157"/>
                  </a:lnTo>
                  <a:lnTo>
                    <a:pt x="20" y="150"/>
                  </a:lnTo>
                  <a:lnTo>
                    <a:pt x="15" y="143"/>
                  </a:lnTo>
                  <a:lnTo>
                    <a:pt x="11" y="135"/>
                  </a:lnTo>
                  <a:lnTo>
                    <a:pt x="6" y="127"/>
                  </a:lnTo>
                  <a:lnTo>
                    <a:pt x="4" y="117"/>
                  </a:lnTo>
                  <a:lnTo>
                    <a:pt x="1" y="108"/>
                  </a:lnTo>
                  <a:lnTo>
                    <a:pt x="0" y="100"/>
                  </a:lnTo>
                  <a:lnTo>
                    <a:pt x="0" y="90"/>
                  </a:lnTo>
                  <a:lnTo>
                    <a:pt x="0" y="81"/>
                  </a:lnTo>
                  <a:lnTo>
                    <a:pt x="1" y="73"/>
                  </a:lnTo>
                  <a:lnTo>
                    <a:pt x="4" y="63"/>
                  </a:lnTo>
                  <a:lnTo>
                    <a:pt x="7" y="55"/>
                  </a:lnTo>
                  <a:lnTo>
                    <a:pt x="11" y="48"/>
                  </a:lnTo>
                  <a:lnTo>
                    <a:pt x="15" y="40"/>
                  </a:lnTo>
                  <a:lnTo>
                    <a:pt x="21" y="33"/>
                  </a:lnTo>
                  <a:lnTo>
                    <a:pt x="27" y="27"/>
                  </a:lnTo>
                  <a:lnTo>
                    <a:pt x="34" y="21"/>
                  </a:lnTo>
                  <a:lnTo>
                    <a:pt x="41" y="15"/>
                  </a:lnTo>
                  <a:lnTo>
                    <a:pt x="48" y="10"/>
                  </a:lnTo>
                  <a:lnTo>
                    <a:pt x="58" y="7"/>
                  </a:lnTo>
                  <a:lnTo>
                    <a:pt x="66" y="3"/>
                  </a:lnTo>
                  <a:close/>
                </a:path>
              </a:pathLst>
            </a:custGeom>
            <a:solidFill>
              <a:srgbClr val="EEA52B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6653" tIns="58327" rIns="116653" bIns="58327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434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137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31" name="Freeform 101"/>
            <p:cNvSpPr>
              <a:spLocks/>
            </p:cNvSpPr>
            <p:nvPr/>
          </p:nvSpPr>
          <p:spPr bwMode="auto">
            <a:xfrm>
              <a:off x="2472" y="2085"/>
              <a:ext cx="30" cy="31"/>
            </a:xfrm>
            <a:custGeom>
              <a:avLst/>
              <a:gdLst>
                <a:gd name="T0" fmla="*/ 45 w 123"/>
                <a:gd name="T1" fmla="*/ 3 h 123"/>
                <a:gd name="T2" fmla="*/ 51 w 123"/>
                <a:gd name="T3" fmla="*/ 2 h 123"/>
                <a:gd name="T4" fmla="*/ 57 w 123"/>
                <a:gd name="T5" fmla="*/ 0 h 123"/>
                <a:gd name="T6" fmla="*/ 63 w 123"/>
                <a:gd name="T7" fmla="*/ 0 h 123"/>
                <a:gd name="T8" fmla="*/ 69 w 123"/>
                <a:gd name="T9" fmla="*/ 0 h 123"/>
                <a:gd name="T10" fmla="*/ 80 w 123"/>
                <a:gd name="T11" fmla="*/ 4 h 123"/>
                <a:gd name="T12" fmla="*/ 91 w 123"/>
                <a:gd name="T13" fmla="*/ 9 h 123"/>
                <a:gd name="T14" fmla="*/ 102 w 123"/>
                <a:gd name="T15" fmla="*/ 15 h 123"/>
                <a:gd name="T16" fmla="*/ 110 w 123"/>
                <a:gd name="T17" fmla="*/ 23 h 123"/>
                <a:gd name="T18" fmla="*/ 113 w 123"/>
                <a:gd name="T19" fmla="*/ 28 h 123"/>
                <a:gd name="T20" fmla="*/ 116 w 123"/>
                <a:gd name="T21" fmla="*/ 33 h 123"/>
                <a:gd name="T22" fmla="*/ 119 w 123"/>
                <a:gd name="T23" fmla="*/ 39 h 123"/>
                <a:gd name="T24" fmla="*/ 120 w 123"/>
                <a:gd name="T25" fmla="*/ 45 h 123"/>
                <a:gd name="T26" fmla="*/ 123 w 123"/>
                <a:gd name="T27" fmla="*/ 51 h 123"/>
                <a:gd name="T28" fmla="*/ 123 w 123"/>
                <a:gd name="T29" fmla="*/ 57 h 123"/>
                <a:gd name="T30" fmla="*/ 123 w 123"/>
                <a:gd name="T31" fmla="*/ 63 h 123"/>
                <a:gd name="T32" fmla="*/ 123 w 123"/>
                <a:gd name="T33" fmla="*/ 69 h 123"/>
                <a:gd name="T34" fmla="*/ 120 w 123"/>
                <a:gd name="T35" fmla="*/ 80 h 123"/>
                <a:gd name="T36" fmla="*/ 116 w 123"/>
                <a:gd name="T37" fmla="*/ 91 h 123"/>
                <a:gd name="T38" fmla="*/ 109 w 123"/>
                <a:gd name="T39" fmla="*/ 102 h 123"/>
                <a:gd name="T40" fmla="*/ 100 w 123"/>
                <a:gd name="T41" fmla="*/ 110 h 123"/>
                <a:gd name="T42" fmla="*/ 96 w 123"/>
                <a:gd name="T43" fmla="*/ 113 h 123"/>
                <a:gd name="T44" fmla="*/ 91 w 123"/>
                <a:gd name="T45" fmla="*/ 116 h 123"/>
                <a:gd name="T46" fmla="*/ 85 w 123"/>
                <a:gd name="T47" fmla="*/ 119 h 123"/>
                <a:gd name="T48" fmla="*/ 79 w 123"/>
                <a:gd name="T49" fmla="*/ 121 h 123"/>
                <a:gd name="T50" fmla="*/ 73 w 123"/>
                <a:gd name="T51" fmla="*/ 123 h 123"/>
                <a:gd name="T52" fmla="*/ 66 w 123"/>
                <a:gd name="T53" fmla="*/ 123 h 123"/>
                <a:gd name="T54" fmla="*/ 60 w 123"/>
                <a:gd name="T55" fmla="*/ 123 h 123"/>
                <a:gd name="T56" fmla="*/ 55 w 123"/>
                <a:gd name="T57" fmla="*/ 123 h 123"/>
                <a:gd name="T58" fmla="*/ 43 w 123"/>
                <a:gd name="T59" fmla="*/ 121 h 123"/>
                <a:gd name="T60" fmla="*/ 32 w 123"/>
                <a:gd name="T61" fmla="*/ 116 h 123"/>
                <a:gd name="T62" fmla="*/ 23 w 123"/>
                <a:gd name="T63" fmla="*/ 109 h 123"/>
                <a:gd name="T64" fmla="*/ 15 w 123"/>
                <a:gd name="T65" fmla="*/ 100 h 123"/>
                <a:gd name="T66" fmla="*/ 11 w 123"/>
                <a:gd name="T67" fmla="*/ 96 h 123"/>
                <a:gd name="T68" fmla="*/ 7 w 123"/>
                <a:gd name="T69" fmla="*/ 91 h 123"/>
                <a:gd name="T70" fmla="*/ 5 w 123"/>
                <a:gd name="T71" fmla="*/ 85 h 123"/>
                <a:gd name="T72" fmla="*/ 3 w 123"/>
                <a:gd name="T73" fmla="*/ 79 h 123"/>
                <a:gd name="T74" fmla="*/ 2 w 123"/>
                <a:gd name="T75" fmla="*/ 73 h 123"/>
                <a:gd name="T76" fmla="*/ 0 w 123"/>
                <a:gd name="T77" fmla="*/ 68 h 123"/>
                <a:gd name="T78" fmla="*/ 0 w 123"/>
                <a:gd name="T79" fmla="*/ 60 h 123"/>
                <a:gd name="T80" fmla="*/ 0 w 123"/>
                <a:gd name="T81" fmla="*/ 55 h 123"/>
                <a:gd name="T82" fmla="*/ 4 w 123"/>
                <a:gd name="T83" fmla="*/ 43 h 123"/>
                <a:gd name="T84" fmla="*/ 9 w 123"/>
                <a:gd name="T85" fmla="*/ 32 h 123"/>
                <a:gd name="T86" fmla="*/ 15 w 123"/>
                <a:gd name="T87" fmla="*/ 23 h 123"/>
                <a:gd name="T88" fmla="*/ 23 w 123"/>
                <a:gd name="T89" fmla="*/ 15 h 123"/>
                <a:gd name="T90" fmla="*/ 27 w 123"/>
                <a:gd name="T91" fmla="*/ 11 h 123"/>
                <a:gd name="T92" fmla="*/ 33 w 123"/>
                <a:gd name="T93" fmla="*/ 8 h 123"/>
                <a:gd name="T94" fmla="*/ 39 w 123"/>
                <a:gd name="T95" fmla="*/ 5 h 123"/>
                <a:gd name="T96" fmla="*/ 45 w 123"/>
                <a:gd name="T97" fmla="*/ 3 h 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123" h="123">
                  <a:moveTo>
                    <a:pt x="45" y="3"/>
                  </a:moveTo>
                  <a:lnTo>
                    <a:pt x="51" y="2"/>
                  </a:lnTo>
                  <a:lnTo>
                    <a:pt x="57" y="0"/>
                  </a:lnTo>
                  <a:lnTo>
                    <a:pt x="63" y="0"/>
                  </a:lnTo>
                  <a:lnTo>
                    <a:pt x="69" y="0"/>
                  </a:lnTo>
                  <a:lnTo>
                    <a:pt x="80" y="4"/>
                  </a:lnTo>
                  <a:lnTo>
                    <a:pt x="91" y="9"/>
                  </a:lnTo>
                  <a:lnTo>
                    <a:pt x="102" y="15"/>
                  </a:lnTo>
                  <a:lnTo>
                    <a:pt x="110" y="23"/>
                  </a:lnTo>
                  <a:lnTo>
                    <a:pt x="113" y="28"/>
                  </a:lnTo>
                  <a:lnTo>
                    <a:pt x="116" y="33"/>
                  </a:lnTo>
                  <a:lnTo>
                    <a:pt x="119" y="39"/>
                  </a:lnTo>
                  <a:lnTo>
                    <a:pt x="120" y="45"/>
                  </a:lnTo>
                  <a:lnTo>
                    <a:pt x="123" y="51"/>
                  </a:lnTo>
                  <a:lnTo>
                    <a:pt x="123" y="57"/>
                  </a:lnTo>
                  <a:lnTo>
                    <a:pt x="123" y="63"/>
                  </a:lnTo>
                  <a:lnTo>
                    <a:pt x="123" y="69"/>
                  </a:lnTo>
                  <a:lnTo>
                    <a:pt x="120" y="80"/>
                  </a:lnTo>
                  <a:lnTo>
                    <a:pt x="116" y="91"/>
                  </a:lnTo>
                  <a:lnTo>
                    <a:pt x="109" y="102"/>
                  </a:lnTo>
                  <a:lnTo>
                    <a:pt x="100" y="110"/>
                  </a:lnTo>
                  <a:lnTo>
                    <a:pt x="96" y="113"/>
                  </a:lnTo>
                  <a:lnTo>
                    <a:pt x="91" y="116"/>
                  </a:lnTo>
                  <a:lnTo>
                    <a:pt x="85" y="119"/>
                  </a:lnTo>
                  <a:lnTo>
                    <a:pt x="79" y="121"/>
                  </a:lnTo>
                  <a:lnTo>
                    <a:pt x="73" y="123"/>
                  </a:lnTo>
                  <a:lnTo>
                    <a:pt x="66" y="123"/>
                  </a:lnTo>
                  <a:lnTo>
                    <a:pt x="60" y="123"/>
                  </a:lnTo>
                  <a:lnTo>
                    <a:pt x="55" y="123"/>
                  </a:lnTo>
                  <a:lnTo>
                    <a:pt x="43" y="121"/>
                  </a:lnTo>
                  <a:lnTo>
                    <a:pt x="32" y="116"/>
                  </a:lnTo>
                  <a:lnTo>
                    <a:pt x="23" y="109"/>
                  </a:lnTo>
                  <a:lnTo>
                    <a:pt x="15" y="100"/>
                  </a:lnTo>
                  <a:lnTo>
                    <a:pt x="11" y="96"/>
                  </a:lnTo>
                  <a:lnTo>
                    <a:pt x="7" y="91"/>
                  </a:lnTo>
                  <a:lnTo>
                    <a:pt x="5" y="85"/>
                  </a:lnTo>
                  <a:lnTo>
                    <a:pt x="3" y="79"/>
                  </a:lnTo>
                  <a:lnTo>
                    <a:pt x="2" y="73"/>
                  </a:lnTo>
                  <a:lnTo>
                    <a:pt x="0" y="68"/>
                  </a:lnTo>
                  <a:lnTo>
                    <a:pt x="0" y="60"/>
                  </a:lnTo>
                  <a:lnTo>
                    <a:pt x="0" y="55"/>
                  </a:lnTo>
                  <a:lnTo>
                    <a:pt x="4" y="43"/>
                  </a:lnTo>
                  <a:lnTo>
                    <a:pt x="9" y="32"/>
                  </a:lnTo>
                  <a:lnTo>
                    <a:pt x="15" y="23"/>
                  </a:lnTo>
                  <a:lnTo>
                    <a:pt x="23" y="15"/>
                  </a:lnTo>
                  <a:lnTo>
                    <a:pt x="27" y="11"/>
                  </a:lnTo>
                  <a:lnTo>
                    <a:pt x="33" y="8"/>
                  </a:lnTo>
                  <a:lnTo>
                    <a:pt x="39" y="5"/>
                  </a:lnTo>
                  <a:lnTo>
                    <a:pt x="45" y="3"/>
                  </a:lnTo>
                  <a:close/>
                </a:path>
              </a:pathLst>
            </a:custGeom>
            <a:solidFill>
              <a:srgbClr val="EEA52B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6653" tIns="58327" rIns="116653" bIns="58327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434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137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32" name="Freeform 102"/>
            <p:cNvSpPr>
              <a:spLocks/>
            </p:cNvSpPr>
            <p:nvPr/>
          </p:nvSpPr>
          <p:spPr bwMode="auto">
            <a:xfrm>
              <a:off x="2484" y="2120"/>
              <a:ext cx="24" cy="25"/>
            </a:xfrm>
            <a:custGeom>
              <a:avLst/>
              <a:gdLst>
                <a:gd name="T0" fmla="*/ 35 w 96"/>
                <a:gd name="T1" fmla="*/ 2 h 96"/>
                <a:gd name="T2" fmla="*/ 45 w 96"/>
                <a:gd name="T3" fmla="*/ 0 h 96"/>
                <a:gd name="T4" fmla="*/ 54 w 96"/>
                <a:gd name="T5" fmla="*/ 0 h 96"/>
                <a:gd name="T6" fmla="*/ 63 w 96"/>
                <a:gd name="T7" fmla="*/ 2 h 96"/>
                <a:gd name="T8" fmla="*/ 72 w 96"/>
                <a:gd name="T9" fmla="*/ 5 h 96"/>
                <a:gd name="T10" fmla="*/ 80 w 96"/>
                <a:gd name="T11" fmla="*/ 10 h 96"/>
                <a:gd name="T12" fmla="*/ 86 w 96"/>
                <a:gd name="T13" fmla="*/ 17 h 96"/>
                <a:gd name="T14" fmla="*/ 92 w 96"/>
                <a:gd name="T15" fmla="*/ 25 h 96"/>
                <a:gd name="T16" fmla="*/ 95 w 96"/>
                <a:gd name="T17" fmla="*/ 34 h 96"/>
                <a:gd name="T18" fmla="*/ 96 w 96"/>
                <a:gd name="T19" fmla="*/ 44 h 96"/>
                <a:gd name="T20" fmla="*/ 96 w 96"/>
                <a:gd name="T21" fmla="*/ 54 h 96"/>
                <a:gd name="T22" fmla="*/ 94 w 96"/>
                <a:gd name="T23" fmla="*/ 62 h 96"/>
                <a:gd name="T24" fmla="*/ 91 w 96"/>
                <a:gd name="T25" fmla="*/ 71 h 96"/>
                <a:gd name="T26" fmla="*/ 86 w 96"/>
                <a:gd name="T27" fmla="*/ 78 h 96"/>
                <a:gd name="T28" fmla="*/ 79 w 96"/>
                <a:gd name="T29" fmla="*/ 85 h 96"/>
                <a:gd name="T30" fmla="*/ 70 w 96"/>
                <a:gd name="T31" fmla="*/ 90 h 96"/>
                <a:gd name="T32" fmla="*/ 62 w 96"/>
                <a:gd name="T33" fmla="*/ 94 h 96"/>
                <a:gd name="T34" fmla="*/ 53 w 96"/>
                <a:gd name="T35" fmla="*/ 96 h 96"/>
                <a:gd name="T36" fmla="*/ 43 w 96"/>
                <a:gd name="T37" fmla="*/ 96 h 96"/>
                <a:gd name="T38" fmla="*/ 34 w 96"/>
                <a:gd name="T39" fmla="*/ 94 h 96"/>
                <a:gd name="T40" fmla="*/ 26 w 96"/>
                <a:gd name="T41" fmla="*/ 90 h 96"/>
                <a:gd name="T42" fmla="*/ 18 w 96"/>
                <a:gd name="T43" fmla="*/ 84 h 96"/>
                <a:gd name="T44" fmla="*/ 10 w 96"/>
                <a:gd name="T45" fmla="*/ 78 h 96"/>
                <a:gd name="T46" fmla="*/ 6 w 96"/>
                <a:gd name="T47" fmla="*/ 70 h 96"/>
                <a:gd name="T48" fmla="*/ 2 w 96"/>
                <a:gd name="T49" fmla="*/ 61 h 96"/>
                <a:gd name="T50" fmla="*/ 0 w 96"/>
                <a:gd name="T51" fmla="*/ 51 h 96"/>
                <a:gd name="T52" fmla="*/ 1 w 96"/>
                <a:gd name="T53" fmla="*/ 42 h 96"/>
                <a:gd name="T54" fmla="*/ 2 w 96"/>
                <a:gd name="T55" fmla="*/ 32 h 96"/>
                <a:gd name="T56" fmla="*/ 6 w 96"/>
                <a:gd name="T57" fmla="*/ 24 h 96"/>
                <a:gd name="T58" fmla="*/ 12 w 96"/>
                <a:gd name="T59" fmla="*/ 17 h 96"/>
                <a:gd name="T60" fmla="*/ 18 w 96"/>
                <a:gd name="T61" fmla="*/ 10 h 96"/>
                <a:gd name="T62" fmla="*/ 26 w 96"/>
                <a:gd name="T63" fmla="*/ 5 h 96"/>
                <a:gd name="T64" fmla="*/ 35 w 96"/>
                <a:gd name="T65" fmla="*/ 2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96" h="96">
                  <a:moveTo>
                    <a:pt x="35" y="2"/>
                  </a:moveTo>
                  <a:lnTo>
                    <a:pt x="45" y="0"/>
                  </a:lnTo>
                  <a:lnTo>
                    <a:pt x="54" y="0"/>
                  </a:lnTo>
                  <a:lnTo>
                    <a:pt x="63" y="2"/>
                  </a:lnTo>
                  <a:lnTo>
                    <a:pt x="72" y="5"/>
                  </a:lnTo>
                  <a:lnTo>
                    <a:pt x="80" y="10"/>
                  </a:lnTo>
                  <a:lnTo>
                    <a:pt x="86" y="17"/>
                  </a:lnTo>
                  <a:lnTo>
                    <a:pt x="92" y="25"/>
                  </a:lnTo>
                  <a:lnTo>
                    <a:pt x="95" y="34"/>
                  </a:lnTo>
                  <a:lnTo>
                    <a:pt x="96" y="44"/>
                  </a:lnTo>
                  <a:lnTo>
                    <a:pt x="96" y="54"/>
                  </a:lnTo>
                  <a:lnTo>
                    <a:pt x="94" y="62"/>
                  </a:lnTo>
                  <a:lnTo>
                    <a:pt x="91" y="71"/>
                  </a:lnTo>
                  <a:lnTo>
                    <a:pt x="86" y="78"/>
                  </a:lnTo>
                  <a:lnTo>
                    <a:pt x="79" y="85"/>
                  </a:lnTo>
                  <a:lnTo>
                    <a:pt x="70" y="90"/>
                  </a:lnTo>
                  <a:lnTo>
                    <a:pt x="62" y="94"/>
                  </a:lnTo>
                  <a:lnTo>
                    <a:pt x="53" y="96"/>
                  </a:lnTo>
                  <a:lnTo>
                    <a:pt x="43" y="96"/>
                  </a:lnTo>
                  <a:lnTo>
                    <a:pt x="34" y="94"/>
                  </a:lnTo>
                  <a:lnTo>
                    <a:pt x="26" y="90"/>
                  </a:lnTo>
                  <a:lnTo>
                    <a:pt x="18" y="84"/>
                  </a:lnTo>
                  <a:lnTo>
                    <a:pt x="10" y="78"/>
                  </a:lnTo>
                  <a:lnTo>
                    <a:pt x="6" y="70"/>
                  </a:lnTo>
                  <a:lnTo>
                    <a:pt x="2" y="61"/>
                  </a:lnTo>
                  <a:lnTo>
                    <a:pt x="0" y="51"/>
                  </a:lnTo>
                  <a:lnTo>
                    <a:pt x="1" y="42"/>
                  </a:lnTo>
                  <a:lnTo>
                    <a:pt x="2" y="32"/>
                  </a:lnTo>
                  <a:lnTo>
                    <a:pt x="6" y="24"/>
                  </a:lnTo>
                  <a:lnTo>
                    <a:pt x="12" y="17"/>
                  </a:lnTo>
                  <a:lnTo>
                    <a:pt x="18" y="10"/>
                  </a:lnTo>
                  <a:lnTo>
                    <a:pt x="26" y="5"/>
                  </a:lnTo>
                  <a:lnTo>
                    <a:pt x="35" y="2"/>
                  </a:lnTo>
                  <a:close/>
                </a:path>
              </a:pathLst>
            </a:custGeom>
            <a:solidFill>
              <a:srgbClr val="EEA52B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6653" tIns="58327" rIns="116653" bIns="58327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434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137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33" name="Freeform 103"/>
            <p:cNvSpPr>
              <a:spLocks/>
            </p:cNvSpPr>
            <p:nvPr/>
          </p:nvSpPr>
          <p:spPr bwMode="auto">
            <a:xfrm>
              <a:off x="2020" y="2475"/>
              <a:ext cx="46" cy="46"/>
            </a:xfrm>
            <a:custGeom>
              <a:avLst/>
              <a:gdLst>
                <a:gd name="T0" fmla="*/ 76 w 184"/>
                <a:gd name="T1" fmla="*/ 1 h 185"/>
                <a:gd name="T2" fmla="*/ 94 w 184"/>
                <a:gd name="T3" fmla="*/ 0 h 185"/>
                <a:gd name="T4" fmla="*/ 112 w 184"/>
                <a:gd name="T5" fmla="*/ 2 h 185"/>
                <a:gd name="T6" fmla="*/ 128 w 184"/>
                <a:gd name="T7" fmla="*/ 8 h 185"/>
                <a:gd name="T8" fmla="*/ 144 w 184"/>
                <a:gd name="T9" fmla="*/ 16 h 185"/>
                <a:gd name="T10" fmla="*/ 158 w 184"/>
                <a:gd name="T11" fmla="*/ 28 h 185"/>
                <a:gd name="T12" fmla="*/ 169 w 184"/>
                <a:gd name="T13" fmla="*/ 41 h 185"/>
                <a:gd name="T14" fmla="*/ 178 w 184"/>
                <a:gd name="T15" fmla="*/ 58 h 185"/>
                <a:gd name="T16" fmla="*/ 183 w 184"/>
                <a:gd name="T17" fmla="*/ 77 h 185"/>
                <a:gd name="T18" fmla="*/ 184 w 184"/>
                <a:gd name="T19" fmla="*/ 94 h 185"/>
                <a:gd name="T20" fmla="*/ 183 w 184"/>
                <a:gd name="T21" fmla="*/ 112 h 185"/>
                <a:gd name="T22" fmla="*/ 177 w 184"/>
                <a:gd name="T23" fmla="*/ 130 h 185"/>
                <a:gd name="T24" fmla="*/ 169 w 184"/>
                <a:gd name="T25" fmla="*/ 145 h 185"/>
                <a:gd name="T26" fmla="*/ 157 w 184"/>
                <a:gd name="T27" fmla="*/ 158 h 185"/>
                <a:gd name="T28" fmla="*/ 143 w 184"/>
                <a:gd name="T29" fmla="*/ 170 h 185"/>
                <a:gd name="T30" fmla="*/ 126 w 184"/>
                <a:gd name="T31" fmla="*/ 178 h 185"/>
                <a:gd name="T32" fmla="*/ 108 w 184"/>
                <a:gd name="T33" fmla="*/ 184 h 185"/>
                <a:gd name="T34" fmla="*/ 90 w 184"/>
                <a:gd name="T35" fmla="*/ 185 h 185"/>
                <a:gd name="T36" fmla="*/ 72 w 184"/>
                <a:gd name="T37" fmla="*/ 182 h 185"/>
                <a:gd name="T38" fmla="*/ 55 w 184"/>
                <a:gd name="T39" fmla="*/ 178 h 185"/>
                <a:gd name="T40" fmla="*/ 40 w 184"/>
                <a:gd name="T41" fmla="*/ 168 h 185"/>
                <a:gd name="T42" fmla="*/ 26 w 184"/>
                <a:gd name="T43" fmla="*/ 158 h 185"/>
                <a:gd name="T44" fmla="*/ 15 w 184"/>
                <a:gd name="T45" fmla="*/ 144 h 185"/>
                <a:gd name="T46" fmla="*/ 6 w 184"/>
                <a:gd name="T47" fmla="*/ 127 h 185"/>
                <a:gd name="T48" fmla="*/ 1 w 184"/>
                <a:gd name="T49" fmla="*/ 109 h 185"/>
                <a:gd name="T50" fmla="*/ 0 w 184"/>
                <a:gd name="T51" fmla="*/ 91 h 185"/>
                <a:gd name="T52" fmla="*/ 3 w 184"/>
                <a:gd name="T53" fmla="*/ 73 h 185"/>
                <a:gd name="T54" fmla="*/ 7 w 184"/>
                <a:gd name="T55" fmla="*/ 55 h 185"/>
                <a:gd name="T56" fmla="*/ 15 w 184"/>
                <a:gd name="T57" fmla="*/ 40 h 185"/>
                <a:gd name="T58" fmla="*/ 27 w 184"/>
                <a:gd name="T59" fmla="*/ 27 h 185"/>
                <a:gd name="T60" fmla="*/ 41 w 184"/>
                <a:gd name="T61" fmla="*/ 15 h 185"/>
                <a:gd name="T62" fmla="*/ 58 w 184"/>
                <a:gd name="T63" fmla="*/ 7 h 1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84" h="185">
                  <a:moveTo>
                    <a:pt x="66" y="4"/>
                  </a:moveTo>
                  <a:lnTo>
                    <a:pt x="76" y="1"/>
                  </a:lnTo>
                  <a:lnTo>
                    <a:pt x="85" y="0"/>
                  </a:lnTo>
                  <a:lnTo>
                    <a:pt x="94" y="0"/>
                  </a:lnTo>
                  <a:lnTo>
                    <a:pt x="103" y="1"/>
                  </a:lnTo>
                  <a:lnTo>
                    <a:pt x="112" y="2"/>
                  </a:lnTo>
                  <a:lnTo>
                    <a:pt x="120" y="5"/>
                  </a:lnTo>
                  <a:lnTo>
                    <a:pt x="128" y="8"/>
                  </a:lnTo>
                  <a:lnTo>
                    <a:pt x="137" y="12"/>
                  </a:lnTo>
                  <a:lnTo>
                    <a:pt x="144" y="16"/>
                  </a:lnTo>
                  <a:lnTo>
                    <a:pt x="151" y="21"/>
                  </a:lnTo>
                  <a:lnTo>
                    <a:pt x="158" y="28"/>
                  </a:lnTo>
                  <a:lnTo>
                    <a:pt x="164" y="34"/>
                  </a:lnTo>
                  <a:lnTo>
                    <a:pt x="169" y="41"/>
                  </a:lnTo>
                  <a:lnTo>
                    <a:pt x="173" y="49"/>
                  </a:lnTo>
                  <a:lnTo>
                    <a:pt x="178" y="58"/>
                  </a:lnTo>
                  <a:lnTo>
                    <a:pt x="180" y="67"/>
                  </a:lnTo>
                  <a:lnTo>
                    <a:pt x="183" y="77"/>
                  </a:lnTo>
                  <a:lnTo>
                    <a:pt x="184" y="85"/>
                  </a:lnTo>
                  <a:lnTo>
                    <a:pt x="184" y="94"/>
                  </a:lnTo>
                  <a:lnTo>
                    <a:pt x="184" y="104"/>
                  </a:lnTo>
                  <a:lnTo>
                    <a:pt x="183" y="112"/>
                  </a:lnTo>
                  <a:lnTo>
                    <a:pt x="180" y="121"/>
                  </a:lnTo>
                  <a:lnTo>
                    <a:pt x="177" y="130"/>
                  </a:lnTo>
                  <a:lnTo>
                    <a:pt x="173" y="137"/>
                  </a:lnTo>
                  <a:lnTo>
                    <a:pt x="169" y="145"/>
                  </a:lnTo>
                  <a:lnTo>
                    <a:pt x="163" y="152"/>
                  </a:lnTo>
                  <a:lnTo>
                    <a:pt x="157" y="158"/>
                  </a:lnTo>
                  <a:lnTo>
                    <a:pt x="150" y="164"/>
                  </a:lnTo>
                  <a:lnTo>
                    <a:pt x="143" y="170"/>
                  </a:lnTo>
                  <a:lnTo>
                    <a:pt x="134" y="174"/>
                  </a:lnTo>
                  <a:lnTo>
                    <a:pt x="126" y="178"/>
                  </a:lnTo>
                  <a:lnTo>
                    <a:pt x="118" y="181"/>
                  </a:lnTo>
                  <a:lnTo>
                    <a:pt x="108" y="184"/>
                  </a:lnTo>
                  <a:lnTo>
                    <a:pt x="99" y="185"/>
                  </a:lnTo>
                  <a:lnTo>
                    <a:pt x="90" y="185"/>
                  </a:lnTo>
                  <a:lnTo>
                    <a:pt x="81" y="184"/>
                  </a:lnTo>
                  <a:lnTo>
                    <a:pt x="72" y="182"/>
                  </a:lnTo>
                  <a:lnTo>
                    <a:pt x="64" y="180"/>
                  </a:lnTo>
                  <a:lnTo>
                    <a:pt x="55" y="178"/>
                  </a:lnTo>
                  <a:lnTo>
                    <a:pt x="47" y="173"/>
                  </a:lnTo>
                  <a:lnTo>
                    <a:pt x="40" y="168"/>
                  </a:lnTo>
                  <a:lnTo>
                    <a:pt x="33" y="164"/>
                  </a:lnTo>
                  <a:lnTo>
                    <a:pt x="26" y="158"/>
                  </a:lnTo>
                  <a:lnTo>
                    <a:pt x="20" y="151"/>
                  </a:lnTo>
                  <a:lnTo>
                    <a:pt x="15" y="144"/>
                  </a:lnTo>
                  <a:lnTo>
                    <a:pt x="11" y="135"/>
                  </a:lnTo>
                  <a:lnTo>
                    <a:pt x="6" y="127"/>
                  </a:lnTo>
                  <a:lnTo>
                    <a:pt x="4" y="118"/>
                  </a:lnTo>
                  <a:lnTo>
                    <a:pt x="1" y="109"/>
                  </a:lnTo>
                  <a:lnTo>
                    <a:pt x="0" y="100"/>
                  </a:lnTo>
                  <a:lnTo>
                    <a:pt x="0" y="91"/>
                  </a:lnTo>
                  <a:lnTo>
                    <a:pt x="0" y="81"/>
                  </a:lnTo>
                  <a:lnTo>
                    <a:pt x="3" y="73"/>
                  </a:lnTo>
                  <a:lnTo>
                    <a:pt x="5" y="64"/>
                  </a:lnTo>
                  <a:lnTo>
                    <a:pt x="7" y="55"/>
                  </a:lnTo>
                  <a:lnTo>
                    <a:pt x="11" y="48"/>
                  </a:lnTo>
                  <a:lnTo>
                    <a:pt x="15" y="40"/>
                  </a:lnTo>
                  <a:lnTo>
                    <a:pt x="21" y="33"/>
                  </a:lnTo>
                  <a:lnTo>
                    <a:pt x="27" y="27"/>
                  </a:lnTo>
                  <a:lnTo>
                    <a:pt x="34" y="21"/>
                  </a:lnTo>
                  <a:lnTo>
                    <a:pt x="41" y="15"/>
                  </a:lnTo>
                  <a:lnTo>
                    <a:pt x="50" y="11"/>
                  </a:lnTo>
                  <a:lnTo>
                    <a:pt x="58" y="7"/>
                  </a:lnTo>
                  <a:lnTo>
                    <a:pt x="66" y="4"/>
                  </a:lnTo>
                  <a:close/>
                </a:path>
              </a:pathLst>
            </a:custGeom>
            <a:solidFill>
              <a:srgbClr val="EEA52B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6653" tIns="58327" rIns="116653" bIns="58327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434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137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34" name="Freeform 104"/>
            <p:cNvSpPr>
              <a:spLocks/>
            </p:cNvSpPr>
            <p:nvPr/>
          </p:nvSpPr>
          <p:spPr bwMode="auto">
            <a:xfrm>
              <a:off x="1984" y="2475"/>
              <a:ext cx="31" cy="31"/>
            </a:xfrm>
            <a:custGeom>
              <a:avLst/>
              <a:gdLst>
                <a:gd name="T0" fmla="*/ 44 w 123"/>
                <a:gd name="T1" fmla="*/ 2 h 123"/>
                <a:gd name="T2" fmla="*/ 50 w 123"/>
                <a:gd name="T3" fmla="*/ 1 h 123"/>
                <a:gd name="T4" fmla="*/ 56 w 123"/>
                <a:gd name="T5" fmla="*/ 0 h 123"/>
                <a:gd name="T6" fmla="*/ 62 w 123"/>
                <a:gd name="T7" fmla="*/ 0 h 123"/>
                <a:gd name="T8" fmla="*/ 69 w 123"/>
                <a:gd name="T9" fmla="*/ 1 h 123"/>
                <a:gd name="T10" fmla="*/ 80 w 123"/>
                <a:gd name="T11" fmla="*/ 3 h 123"/>
                <a:gd name="T12" fmla="*/ 91 w 123"/>
                <a:gd name="T13" fmla="*/ 8 h 123"/>
                <a:gd name="T14" fmla="*/ 101 w 123"/>
                <a:gd name="T15" fmla="*/ 14 h 123"/>
                <a:gd name="T16" fmla="*/ 109 w 123"/>
                <a:gd name="T17" fmla="*/ 22 h 123"/>
                <a:gd name="T18" fmla="*/ 113 w 123"/>
                <a:gd name="T19" fmla="*/ 28 h 123"/>
                <a:gd name="T20" fmla="*/ 116 w 123"/>
                <a:gd name="T21" fmla="*/ 33 h 123"/>
                <a:gd name="T22" fmla="*/ 118 w 123"/>
                <a:gd name="T23" fmla="*/ 39 h 123"/>
                <a:gd name="T24" fmla="*/ 120 w 123"/>
                <a:gd name="T25" fmla="*/ 45 h 123"/>
                <a:gd name="T26" fmla="*/ 122 w 123"/>
                <a:gd name="T27" fmla="*/ 50 h 123"/>
                <a:gd name="T28" fmla="*/ 122 w 123"/>
                <a:gd name="T29" fmla="*/ 56 h 123"/>
                <a:gd name="T30" fmla="*/ 123 w 123"/>
                <a:gd name="T31" fmla="*/ 62 h 123"/>
                <a:gd name="T32" fmla="*/ 122 w 123"/>
                <a:gd name="T33" fmla="*/ 69 h 123"/>
                <a:gd name="T34" fmla="*/ 120 w 123"/>
                <a:gd name="T35" fmla="*/ 80 h 123"/>
                <a:gd name="T36" fmla="*/ 115 w 123"/>
                <a:gd name="T37" fmla="*/ 92 h 123"/>
                <a:gd name="T38" fmla="*/ 108 w 123"/>
                <a:gd name="T39" fmla="*/ 101 h 123"/>
                <a:gd name="T40" fmla="*/ 100 w 123"/>
                <a:gd name="T41" fmla="*/ 109 h 123"/>
                <a:gd name="T42" fmla="*/ 95 w 123"/>
                <a:gd name="T43" fmla="*/ 113 h 123"/>
                <a:gd name="T44" fmla="*/ 90 w 123"/>
                <a:gd name="T45" fmla="*/ 116 h 123"/>
                <a:gd name="T46" fmla="*/ 84 w 123"/>
                <a:gd name="T47" fmla="*/ 119 h 123"/>
                <a:gd name="T48" fmla="*/ 78 w 123"/>
                <a:gd name="T49" fmla="*/ 121 h 123"/>
                <a:gd name="T50" fmla="*/ 73 w 123"/>
                <a:gd name="T51" fmla="*/ 122 h 123"/>
                <a:gd name="T52" fmla="*/ 65 w 123"/>
                <a:gd name="T53" fmla="*/ 122 h 123"/>
                <a:gd name="T54" fmla="*/ 60 w 123"/>
                <a:gd name="T55" fmla="*/ 123 h 123"/>
                <a:gd name="T56" fmla="*/ 54 w 123"/>
                <a:gd name="T57" fmla="*/ 122 h 123"/>
                <a:gd name="T58" fmla="*/ 42 w 123"/>
                <a:gd name="T59" fmla="*/ 120 h 123"/>
                <a:gd name="T60" fmla="*/ 31 w 123"/>
                <a:gd name="T61" fmla="*/ 115 h 123"/>
                <a:gd name="T62" fmla="*/ 22 w 123"/>
                <a:gd name="T63" fmla="*/ 108 h 123"/>
                <a:gd name="T64" fmla="*/ 14 w 123"/>
                <a:gd name="T65" fmla="*/ 100 h 123"/>
                <a:gd name="T66" fmla="*/ 10 w 123"/>
                <a:gd name="T67" fmla="*/ 95 h 123"/>
                <a:gd name="T68" fmla="*/ 7 w 123"/>
                <a:gd name="T69" fmla="*/ 90 h 123"/>
                <a:gd name="T70" fmla="*/ 4 w 123"/>
                <a:gd name="T71" fmla="*/ 85 h 123"/>
                <a:gd name="T72" fmla="*/ 2 w 123"/>
                <a:gd name="T73" fmla="*/ 79 h 123"/>
                <a:gd name="T74" fmla="*/ 1 w 123"/>
                <a:gd name="T75" fmla="*/ 73 h 123"/>
                <a:gd name="T76" fmla="*/ 0 w 123"/>
                <a:gd name="T77" fmla="*/ 67 h 123"/>
                <a:gd name="T78" fmla="*/ 0 w 123"/>
                <a:gd name="T79" fmla="*/ 60 h 123"/>
                <a:gd name="T80" fmla="*/ 1 w 123"/>
                <a:gd name="T81" fmla="*/ 54 h 123"/>
                <a:gd name="T82" fmla="*/ 3 w 123"/>
                <a:gd name="T83" fmla="*/ 42 h 123"/>
                <a:gd name="T84" fmla="*/ 8 w 123"/>
                <a:gd name="T85" fmla="*/ 32 h 123"/>
                <a:gd name="T86" fmla="*/ 14 w 123"/>
                <a:gd name="T87" fmla="*/ 22 h 123"/>
                <a:gd name="T88" fmla="*/ 23 w 123"/>
                <a:gd name="T89" fmla="*/ 14 h 123"/>
                <a:gd name="T90" fmla="*/ 28 w 123"/>
                <a:gd name="T91" fmla="*/ 10 h 123"/>
                <a:gd name="T92" fmla="*/ 32 w 123"/>
                <a:gd name="T93" fmla="*/ 7 h 123"/>
                <a:gd name="T94" fmla="*/ 38 w 123"/>
                <a:gd name="T95" fmla="*/ 5 h 123"/>
                <a:gd name="T96" fmla="*/ 44 w 123"/>
                <a:gd name="T97" fmla="*/ 2 h 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123" h="123">
                  <a:moveTo>
                    <a:pt x="44" y="2"/>
                  </a:moveTo>
                  <a:lnTo>
                    <a:pt x="50" y="1"/>
                  </a:lnTo>
                  <a:lnTo>
                    <a:pt x="56" y="0"/>
                  </a:lnTo>
                  <a:lnTo>
                    <a:pt x="62" y="0"/>
                  </a:lnTo>
                  <a:lnTo>
                    <a:pt x="69" y="1"/>
                  </a:lnTo>
                  <a:lnTo>
                    <a:pt x="80" y="3"/>
                  </a:lnTo>
                  <a:lnTo>
                    <a:pt x="91" y="8"/>
                  </a:lnTo>
                  <a:lnTo>
                    <a:pt x="101" y="14"/>
                  </a:lnTo>
                  <a:lnTo>
                    <a:pt x="109" y="22"/>
                  </a:lnTo>
                  <a:lnTo>
                    <a:pt x="113" y="28"/>
                  </a:lnTo>
                  <a:lnTo>
                    <a:pt x="116" y="33"/>
                  </a:lnTo>
                  <a:lnTo>
                    <a:pt x="118" y="39"/>
                  </a:lnTo>
                  <a:lnTo>
                    <a:pt x="120" y="45"/>
                  </a:lnTo>
                  <a:lnTo>
                    <a:pt x="122" y="50"/>
                  </a:lnTo>
                  <a:lnTo>
                    <a:pt x="122" y="56"/>
                  </a:lnTo>
                  <a:lnTo>
                    <a:pt x="123" y="62"/>
                  </a:lnTo>
                  <a:lnTo>
                    <a:pt x="122" y="69"/>
                  </a:lnTo>
                  <a:lnTo>
                    <a:pt x="120" y="80"/>
                  </a:lnTo>
                  <a:lnTo>
                    <a:pt x="115" y="92"/>
                  </a:lnTo>
                  <a:lnTo>
                    <a:pt x="108" y="101"/>
                  </a:lnTo>
                  <a:lnTo>
                    <a:pt x="100" y="109"/>
                  </a:lnTo>
                  <a:lnTo>
                    <a:pt x="95" y="113"/>
                  </a:lnTo>
                  <a:lnTo>
                    <a:pt x="90" y="116"/>
                  </a:lnTo>
                  <a:lnTo>
                    <a:pt x="84" y="119"/>
                  </a:lnTo>
                  <a:lnTo>
                    <a:pt x="78" y="121"/>
                  </a:lnTo>
                  <a:lnTo>
                    <a:pt x="73" y="122"/>
                  </a:lnTo>
                  <a:lnTo>
                    <a:pt x="65" y="122"/>
                  </a:lnTo>
                  <a:lnTo>
                    <a:pt x="60" y="123"/>
                  </a:lnTo>
                  <a:lnTo>
                    <a:pt x="54" y="122"/>
                  </a:lnTo>
                  <a:lnTo>
                    <a:pt x="42" y="120"/>
                  </a:lnTo>
                  <a:lnTo>
                    <a:pt x="31" y="115"/>
                  </a:lnTo>
                  <a:lnTo>
                    <a:pt x="22" y="108"/>
                  </a:lnTo>
                  <a:lnTo>
                    <a:pt x="14" y="100"/>
                  </a:lnTo>
                  <a:lnTo>
                    <a:pt x="10" y="95"/>
                  </a:lnTo>
                  <a:lnTo>
                    <a:pt x="7" y="90"/>
                  </a:lnTo>
                  <a:lnTo>
                    <a:pt x="4" y="85"/>
                  </a:lnTo>
                  <a:lnTo>
                    <a:pt x="2" y="79"/>
                  </a:lnTo>
                  <a:lnTo>
                    <a:pt x="1" y="73"/>
                  </a:lnTo>
                  <a:lnTo>
                    <a:pt x="0" y="67"/>
                  </a:lnTo>
                  <a:lnTo>
                    <a:pt x="0" y="60"/>
                  </a:lnTo>
                  <a:lnTo>
                    <a:pt x="1" y="54"/>
                  </a:lnTo>
                  <a:lnTo>
                    <a:pt x="3" y="42"/>
                  </a:lnTo>
                  <a:lnTo>
                    <a:pt x="8" y="32"/>
                  </a:lnTo>
                  <a:lnTo>
                    <a:pt x="14" y="22"/>
                  </a:lnTo>
                  <a:lnTo>
                    <a:pt x="23" y="14"/>
                  </a:lnTo>
                  <a:lnTo>
                    <a:pt x="28" y="10"/>
                  </a:lnTo>
                  <a:lnTo>
                    <a:pt x="32" y="7"/>
                  </a:lnTo>
                  <a:lnTo>
                    <a:pt x="38" y="5"/>
                  </a:lnTo>
                  <a:lnTo>
                    <a:pt x="44" y="2"/>
                  </a:lnTo>
                  <a:close/>
                </a:path>
              </a:pathLst>
            </a:custGeom>
            <a:solidFill>
              <a:srgbClr val="EEA52B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6653" tIns="58327" rIns="116653" bIns="58327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434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137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35" name="Freeform 105"/>
            <p:cNvSpPr>
              <a:spLocks/>
            </p:cNvSpPr>
            <p:nvPr/>
          </p:nvSpPr>
          <p:spPr bwMode="auto">
            <a:xfrm>
              <a:off x="1997" y="2510"/>
              <a:ext cx="23" cy="24"/>
            </a:xfrm>
            <a:custGeom>
              <a:avLst/>
              <a:gdLst>
                <a:gd name="T0" fmla="*/ 34 w 96"/>
                <a:gd name="T1" fmla="*/ 2 h 96"/>
                <a:gd name="T2" fmla="*/ 44 w 96"/>
                <a:gd name="T3" fmla="*/ 0 h 96"/>
                <a:gd name="T4" fmla="*/ 53 w 96"/>
                <a:gd name="T5" fmla="*/ 0 h 96"/>
                <a:gd name="T6" fmla="*/ 63 w 96"/>
                <a:gd name="T7" fmla="*/ 2 h 96"/>
                <a:gd name="T8" fmla="*/ 71 w 96"/>
                <a:gd name="T9" fmla="*/ 6 h 96"/>
                <a:gd name="T10" fmla="*/ 79 w 96"/>
                <a:gd name="T11" fmla="*/ 11 h 96"/>
                <a:gd name="T12" fmla="*/ 85 w 96"/>
                <a:gd name="T13" fmla="*/ 18 h 96"/>
                <a:gd name="T14" fmla="*/ 91 w 96"/>
                <a:gd name="T15" fmla="*/ 26 h 96"/>
                <a:gd name="T16" fmla="*/ 94 w 96"/>
                <a:gd name="T17" fmla="*/ 34 h 96"/>
                <a:gd name="T18" fmla="*/ 96 w 96"/>
                <a:gd name="T19" fmla="*/ 45 h 96"/>
                <a:gd name="T20" fmla="*/ 96 w 96"/>
                <a:gd name="T21" fmla="*/ 54 h 96"/>
                <a:gd name="T22" fmla="*/ 94 w 96"/>
                <a:gd name="T23" fmla="*/ 62 h 96"/>
                <a:gd name="T24" fmla="*/ 90 w 96"/>
                <a:gd name="T25" fmla="*/ 72 h 96"/>
                <a:gd name="T26" fmla="*/ 85 w 96"/>
                <a:gd name="T27" fmla="*/ 79 h 96"/>
                <a:gd name="T28" fmla="*/ 78 w 96"/>
                <a:gd name="T29" fmla="*/ 86 h 96"/>
                <a:gd name="T30" fmla="*/ 71 w 96"/>
                <a:gd name="T31" fmla="*/ 91 h 96"/>
                <a:gd name="T32" fmla="*/ 61 w 96"/>
                <a:gd name="T33" fmla="*/ 94 h 96"/>
                <a:gd name="T34" fmla="*/ 52 w 96"/>
                <a:gd name="T35" fmla="*/ 96 h 96"/>
                <a:gd name="T36" fmla="*/ 43 w 96"/>
                <a:gd name="T37" fmla="*/ 96 h 96"/>
                <a:gd name="T38" fmla="*/ 33 w 96"/>
                <a:gd name="T39" fmla="*/ 94 h 96"/>
                <a:gd name="T40" fmla="*/ 25 w 96"/>
                <a:gd name="T41" fmla="*/ 91 h 96"/>
                <a:gd name="T42" fmla="*/ 17 w 96"/>
                <a:gd name="T43" fmla="*/ 85 h 96"/>
                <a:gd name="T44" fmla="*/ 11 w 96"/>
                <a:gd name="T45" fmla="*/ 79 h 96"/>
                <a:gd name="T46" fmla="*/ 5 w 96"/>
                <a:gd name="T47" fmla="*/ 71 h 96"/>
                <a:gd name="T48" fmla="*/ 1 w 96"/>
                <a:gd name="T49" fmla="*/ 61 h 96"/>
                <a:gd name="T50" fmla="*/ 0 w 96"/>
                <a:gd name="T51" fmla="*/ 52 h 96"/>
                <a:gd name="T52" fmla="*/ 0 w 96"/>
                <a:gd name="T53" fmla="*/ 42 h 96"/>
                <a:gd name="T54" fmla="*/ 3 w 96"/>
                <a:gd name="T55" fmla="*/ 33 h 96"/>
                <a:gd name="T56" fmla="*/ 6 w 96"/>
                <a:gd name="T57" fmla="*/ 25 h 96"/>
                <a:gd name="T58" fmla="*/ 11 w 96"/>
                <a:gd name="T59" fmla="*/ 18 h 96"/>
                <a:gd name="T60" fmla="*/ 18 w 96"/>
                <a:gd name="T61" fmla="*/ 11 h 96"/>
                <a:gd name="T62" fmla="*/ 25 w 96"/>
                <a:gd name="T63" fmla="*/ 6 h 96"/>
                <a:gd name="T64" fmla="*/ 34 w 96"/>
                <a:gd name="T65" fmla="*/ 2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96" h="96">
                  <a:moveTo>
                    <a:pt x="34" y="2"/>
                  </a:moveTo>
                  <a:lnTo>
                    <a:pt x="44" y="0"/>
                  </a:lnTo>
                  <a:lnTo>
                    <a:pt x="53" y="0"/>
                  </a:lnTo>
                  <a:lnTo>
                    <a:pt x="63" y="2"/>
                  </a:lnTo>
                  <a:lnTo>
                    <a:pt x="71" y="6"/>
                  </a:lnTo>
                  <a:lnTo>
                    <a:pt x="79" y="11"/>
                  </a:lnTo>
                  <a:lnTo>
                    <a:pt x="85" y="18"/>
                  </a:lnTo>
                  <a:lnTo>
                    <a:pt x="91" y="26"/>
                  </a:lnTo>
                  <a:lnTo>
                    <a:pt x="94" y="34"/>
                  </a:lnTo>
                  <a:lnTo>
                    <a:pt x="96" y="45"/>
                  </a:lnTo>
                  <a:lnTo>
                    <a:pt x="96" y="54"/>
                  </a:lnTo>
                  <a:lnTo>
                    <a:pt x="94" y="62"/>
                  </a:lnTo>
                  <a:lnTo>
                    <a:pt x="90" y="72"/>
                  </a:lnTo>
                  <a:lnTo>
                    <a:pt x="85" y="79"/>
                  </a:lnTo>
                  <a:lnTo>
                    <a:pt x="78" y="86"/>
                  </a:lnTo>
                  <a:lnTo>
                    <a:pt x="71" y="91"/>
                  </a:lnTo>
                  <a:lnTo>
                    <a:pt x="61" y="94"/>
                  </a:lnTo>
                  <a:lnTo>
                    <a:pt x="52" y="96"/>
                  </a:lnTo>
                  <a:lnTo>
                    <a:pt x="43" y="96"/>
                  </a:lnTo>
                  <a:lnTo>
                    <a:pt x="33" y="94"/>
                  </a:lnTo>
                  <a:lnTo>
                    <a:pt x="25" y="91"/>
                  </a:lnTo>
                  <a:lnTo>
                    <a:pt x="17" y="85"/>
                  </a:lnTo>
                  <a:lnTo>
                    <a:pt x="11" y="79"/>
                  </a:lnTo>
                  <a:lnTo>
                    <a:pt x="5" y="71"/>
                  </a:lnTo>
                  <a:lnTo>
                    <a:pt x="1" y="61"/>
                  </a:lnTo>
                  <a:lnTo>
                    <a:pt x="0" y="52"/>
                  </a:lnTo>
                  <a:lnTo>
                    <a:pt x="0" y="42"/>
                  </a:lnTo>
                  <a:lnTo>
                    <a:pt x="3" y="33"/>
                  </a:lnTo>
                  <a:lnTo>
                    <a:pt x="6" y="25"/>
                  </a:lnTo>
                  <a:lnTo>
                    <a:pt x="11" y="18"/>
                  </a:lnTo>
                  <a:lnTo>
                    <a:pt x="18" y="11"/>
                  </a:lnTo>
                  <a:lnTo>
                    <a:pt x="25" y="6"/>
                  </a:lnTo>
                  <a:lnTo>
                    <a:pt x="34" y="2"/>
                  </a:lnTo>
                  <a:close/>
                </a:path>
              </a:pathLst>
            </a:custGeom>
            <a:solidFill>
              <a:srgbClr val="EEA52B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6653" tIns="58327" rIns="116653" bIns="58327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434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137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36" name="Freeform 106"/>
            <p:cNvSpPr>
              <a:spLocks/>
            </p:cNvSpPr>
            <p:nvPr/>
          </p:nvSpPr>
          <p:spPr bwMode="auto">
            <a:xfrm>
              <a:off x="2238" y="2308"/>
              <a:ext cx="46" cy="46"/>
            </a:xfrm>
            <a:custGeom>
              <a:avLst/>
              <a:gdLst>
                <a:gd name="T0" fmla="*/ 76 w 185"/>
                <a:gd name="T1" fmla="*/ 1 h 183"/>
                <a:gd name="T2" fmla="*/ 94 w 185"/>
                <a:gd name="T3" fmla="*/ 0 h 183"/>
                <a:gd name="T4" fmla="*/ 112 w 185"/>
                <a:gd name="T5" fmla="*/ 1 h 183"/>
                <a:gd name="T6" fmla="*/ 129 w 185"/>
                <a:gd name="T7" fmla="*/ 7 h 183"/>
                <a:gd name="T8" fmla="*/ 144 w 185"/>
                <a:gd name="T9" fmla="*/ 15 h 183"/>
                <a:gd name="T10" fmla="*/ 157 w 185"/>
                <a:gd name="T11" fmla="*/ 27 h 183"/>
                <a:gd name="T12" fmla="*/ 169 w 185"/>
                <a:gd name="T13" fmla="*/ 41 h 183"/>
                <a:gd name="T14" fmla="*/ 177 w 185"/>
                <a:gd name="T15" fmla="*/ 57 h 183"/>
                <a:gd name="T16" fmla="*/ 183 w 185"/>
                <a:gd name="T17" fmla="*/ 75 h 183"/>
                <a:gd name="T18" fmla="*/ 185 w 185"/>
                <a:gd name="T19" fmla="*/ 94 h 183"/>
                <a:gd name="T20" fmla="*/ 182 w 185"/>
                <a:gd name="T21" fmla="*/ 111 h 183"/>
                <a:gd name="T22" fmla="*/ 177 w 185"/>
                <a:gd name="T23" fmla="*/ 128 h 183"/>
                <a:gd name="T24" fmla="*/ 168 w 185"/>
                <a:gd name="T25" fmla="*/ 143 h 183"/>
                <a:gd name="T26" fmla="*/ 157 w 185"/>
                <a:gd name="T27" fmla="*/ 157 h 183"/>
                <a:gd name="T28" fmla="*/ 143 w 185"/>
                <a:gd name="T29" fmla="*/ 168 h 183"/>
                <a:gd name="T30" fmla="*/ 127 w 185"/>
                <a:gd name="T31" fmla="*/ 177 h 183"/>
                <a:gd name="T32" fmla="*/ 109 w 185"/>
                <a:gd name="T33" fmla="*/ 182 h 183"/>
                <a:gd name="T34" fmla="*/ 90 w 185"/>
                <a:gd name="T35" fmla="*/ 183 h 183"/>
                <a:gd name="T36" fmla="*/ 73 w 185"/>
                <a:gd name="T37" fmla="*/ 181 h 183"/>
                <a:gd name="T38" fmla="*/ 56 w 185"/>
                <a:gd name="T39" fmla="*/ 176 h 183"/>
                <a:gd name="T40" fmla="*/ 40 w 185"/>
                <a:gd name="T41" fmla="*/ 168 h 183"/>
                <a:gd name="T42" fmla="*/ 27 w 185"/>
                <a:gd name="T43" fmla="*/ 156 h 183"/>
                <a:gd name="T44" fmla="*/ 15 w 185"/>
                <a:gd name="T45" fmla="*/ 142 h 183"/>
                <a:gd name="T46" fmla="*/ 7 w 185"/>
                <a:gd name="T47" fmla="*/ 126 h 183"/>
                <a:gd name="T48" fmla="*/ 2 w 185"/>
                <a:gd name="T49" fmla="*/ 108 h 183"/>
                <a:gd name="T50" fmla="*/ 0 w 185"/>
                <a:gd name="T51" fmla="*/ 89 h 183"/>
                <a:gd name="T52" fmla="*/ 2 w 185"/>
                <a:gd name="T53" fmla="*/ 71 h 183"/>
                <a:gd name="T54" fmla="*/ 8 w 185"/>
                <a:gd name="T55" fmla="*/ 55 h 183"/>
                <a:gd name="T56" fmla="*/ 16 w 185"/>
                <a:gd name="T57" fmla="*/ 40 h 183"/>
                <a:gd name="T58" fmla="*/ 28 w 185"/>
                <a:gd name="T59" fmla="*/ 25 h 183"/>
                <a:gd name="T60" fmla="*/ 41 w 185"/>
                <a:gd name="T61" fmla="*/ 15 h 183"/>
                <a:gd name="T62" fmla="*/ 57 w 185"/>
                <a:gd name="T63" fmla="*/ 5 h 1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85" h="183">
                  <a:moveTo>
                    <a:pt x="67" y="3"/>
                  </a:moveTo>
                  <a:lnTo>
                    <a:pt x="76" y="1"/>
                  </a:lnTo>
                  <a:lnTo>
                    <a:pt x="84" y="0"/>
                  </a:lnTo>
                  <a:lnTo>
                    <a:pt x="94" y="0"/>
                  </a:lnTo>
                  <a:lnTo>
                    <a:pt x="103" y="0"/>
                  </a:lnTo>
                  <a:lnTo>
                    <a:pt x="112" y="1"/>
                  </a:lnTo>
                  <a:lnTo>
                    <a:pt x="121" y="3"/>
                  </a:lnTo>
                  <a:lnTo>
                    <a:pt x="129" y="7"/>
                  </a:lnTo>
                  <a:lnTo>
                    <a:pt x="136" y="10"/>
                  </a:lnTo>
                  <a:lnTo>
                    <a:pt x="144" y="15"/>
                  </a:lnTo>
                  <a:lnTo>
                    <a:pt x="152" y="21"/>
                  </a:lnTo>
                  <a:lnTo>
                    <a:pt x="157" y="27"/>
                  </a:lnTo>
                  <a:lnTo>
                    <a:pt x="163" y="34"/>
                  </a:lnTo>
                  <a:lnTo>
                    <a:pt x="169" y="41"/>
                  </a:lnTo>
                  <a:lnTo>
                    <a:pt x="174" y="48"/>
                  </a:lnTo>
                  <a:lnTo>
                    <a:pt x="177" y="57"/>
                  </a:lnTo>
                  <a:lnTo>
                    <a:pt x="181" y="65"/>
                  </a:lnTo>
                  <a:lnTo>
                    <a:pt x="183" y="75"/>
                  </a:lnTo>
                  <a:lnTo>
                    <a:pt x="185" y="84"/>
                  </a:lnTo>
                  <a:lnTo>
                    <a:pt x="185" y="94"/>
                  </a:lnTo>
                  <a:lnTo>
                    <a:pt x="183" y="102"/>
                  </a:lnTo>
                  <a:lnTo>
                    <a:pt x="182" y="111"/>
                  </a:lnTo>
                  <a:lnTo>
                    <a:pt x="180" y="120"/>
                  </a:lnTo>
                  <a:lnTo>
                    <a:pt x="177" y="128"/>
                  </a:lnTo>
                  <a:lnTo>
                    <a:pt x="173" y="136"/>
                  </a:lnTo>
                  <a:lnTo>
                    <a:pt x="168" y="143"/>
                  </a:lnTo>
                  <a:lnTo>
                    <a:pt x="163" y="150"/>
                  </a:lnTo>
                  <a:lnTo>
                    <a:pt x="157" y="157"/>
                  </a:lnTo>
                  <a:lnTo>
                    <a:pt x="150" y="163"/>
                  </a:lnTo>
                  <a:lnTo>
                    <a:pt x="143" y="168"/>
                  </a:lnTo>
                  <a:lnTo>
                    <a:pt x="135" y="173"/>
                  </a:lnTo>
                  <a:lnTo>
                    <a:pt x="127" y="177"/>
                  </a:lnTo>
                  <a:lnTo>
                    <a:pt x="117" y="180"/>
                  </a:lnTo>
                  <a:lnTo>
                    <a:pt x="109" y="182"/>
                  </a:lnTo>
                  <a:lnTo>
                    <a:pt x="100" y="183"/>
                  </a:lnTo>
                  <a:lnTo>
                    <a:pt x="90" y="183"/>
                  </a:lnTo>
                  <a:lnTo>
                    <a:pt x="81" y="183"/>
                  </a:lnTo>
                  <a:lnTo>
                    <a:pt x="73" y="181"/>
                  </a:lnTo>
                  <a:lnTo>
                    <a:pt x="64" y="178"/>
                  </a:lnTo>
                  <a:lnTo>
                    <a:pt x="56" y="176"/>
                  </a:lnTo>
                  <a:lnTo>
                    <a:pt x="48" y="171"/>
                  </a:lnTo>
                  <a:lnTo>
                    <a:pt x="40" y="168"/>
                  </a:lnTo>
                  <a:lnTo>
                    <a:pt x="33" y="162"/>
                  </a:lnTo>
                  <a:lnTo>
                    <a:pt x="27" y="156"/>
                  </a:lnTo>
                  <a:lnTo>
                    <a:pt x="21" y="149"/>
                  </a:lnTo>
                  <a:lnTo>
                    <a:pt x="15" y="142"/>
                  </a:lnTo>
                  <a:lnTo>
                    <a:pt x="10" y="134"/>
                  </a:lnTo>
                  <a:lnTo>
                    <a:pt x="7" y="126"/>
                  </a:lnTo>
                  <a:lnTo>
                    <a:pt x="3" y="117"/>
                  </a:lnTo>
                  <a:lnTo>
                    <a:pt x="2" y="108"/>
                  </a:lnTo>
                  <a:lnTo>
                    <a:pt x="1" y="98"/>
                  </a:lnTo>
                  <a:lnTo>
                    <a:pt x="0" y="89"/>
                  </a:lnTo>
                  <a:lnTo>
                    <a:pt x="1" y="81"/>
                  </a:lnTo>
                  <a:lnTo>
                    <a:pt x="2" y="71"/>
                  </a:lnTo>
                  <a:lnTo>
                    <a:pt x="4" y="63"/>
                  </a:lnTo>
                  <a:lnTo>
                    <a:pt x="8" y="55"/>
                  </a:lnTo>
                  <a:lnTo>
                    <a:pt x="11" y="47"/>
                  </a:lnTo>
                  <a:lnTo>
                    <a:pt x="16" y="40"/>
                  </a:lnTo>
                  <a:lnTo>
                    <a:pt x="22" y="33"/>
                  </a:lnTo>
                  <a:lnTo>
                    <a:pt x="28" y="25"/>
                  </a:lnTo>
                  <a:lnTo>
                    <a:pt x="34" y="20"/>
                  </a:lnTo>
                  <a:lnTo>
                    <a:pt x="41" y="15"/>
                  </a:lnTo>
                  <a:lnTo>
                    <a:pt x="49" y="10"/>
                  </a:lnTo>
                  <a:lnTo>
                    <a:pt x="57" y="5"/>
                  </a:lnTo>
                  <a:lnTo>
                    <a:pt x="67" y="3"/>
                  </a:lnTo>
                  <a:close/>
                </a:path>
              </a:pathLst>
            </a:custGeom>
            <a:solidFill>
              <a:srgbClr val="EEA52B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6653" tIns="58327" rIns="116653" bIns="58327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434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137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37" name="Freeform 107"/>
            <p:cNvSpPr>
              <a:spLocks/>
            </p:cNvSpPr>
            <p:nvPr/>
          </p:nvSpPr>
          <p:spPr bwMode="auto">
            <a:xfrm>
              <a:off x="2203" y="2308"/>
              <a:ext cx="30" cy="30"/>
            </a:xfrm>
            <a:custGeom>
              <a:avLst/>
              <a:gdLst>
                <a:gd name="T0" fmla="*/ 44 w 123"/>
                <a:gd name="T1" fmla="*/ 3 h 123"/>
                <a:gd name="T2" fmla="*/ 51 w 123"/>
                <a:gd name="T3" fmla="*/ 2 h 123"/>
                <a:gd name="T4" fmla="*/ 57 w 123"/>
                <a:gd name="T5" fmla="*/ 0 h 123"/>
                <a:gd name="T6" fmla="*/ 63 w 123"/>
                <a:gd name="T7" fmla="*/ 0 h 123"/>
                <a:gd name="T8" fmla="*/ 69 w 123"/>
                <a:gd name="T9" fmla="*/ 0 h 123"/>
                <a:gd name="T10" fmla="*/ 80 w 123"/>
                <a:gd name="T11" fmla="*/ 3 h 123"/>
                <a:gd name="T12" fmla="*/ 91 w 123"/>
                <a:gd name="T13" fmla="*/ 7 h 123"/>
                <a:gd name="T14" fmla="*/ 100 w 123"/>
                <a:gd name="T15" fmla="*/ 15 h 123"/>
                <a:gd name="T16" fmla="*/ 110 w 123"/>
                <a:gd name="T17" fmla="*/ 23 h 123"/>
                <a:gd name="T18" fmla="*/ 113 w 123"/>
                <a:gd name="T19" fmla="*/ 27 h 123"/>
                <a:gd name="T20" fmla="*/ 116 w 123"/>
                <a:gd name="T21" fmla="*/ 33 h 123"/>
                <a:gd name="T22" fmla="*/ 118 w 123"/>
                <a:gd name="T23" fmla="*/ 38 h 123"/>
                <a:gd name="T24" fmla="*/ 120 w 123"/>
                <a:gd name="T25" fmla="*/ 44 h 123"/>
                <a:gd name="T26" fmla="*/ 121 w 123"/>
                <a:gd name="T27" fmla="*/ 51 h 123"/>
                <a:gd name="T28" fmla="*/ 123 w 123"/>
                <a:gd name="T29" fmla="*/ 57 h 123"/>
                <a:gd name="T30" fmla="*/ 123 w 123"/>
                <a:gd name="T31" fmla="*/ 63 h 123"/>
                <a:gd name="T32" fmla="*/ 123 w 123"/>
                <a:gd name="T33" fmla="*/ 69 h 123"/>
                <a:gd name="T34" fmla="*/ 120 w 123"/>
                <a:gd name="T35" fmla="*/ 80 h 123"/>
                <a:gd name="T36" fmla="*/ 116 w 123"/>
                <a:gd name="T37" fmla="*/ 91 h 123"/>
                <a:gd name="T38" fmla="*/ 109 w 123"/>
                <a:gd name="T39" fmla="*/ 100 h 123"/>
                <a:gd name="T40" fmla="*/ 100 w 123"/>
                <a:gd name="T41" fmla="*/ 109 h 123"/>
                <a:gd name="T42" fmla="*/ 96 w 123"/>
                <a:gd name="T43" fmla="*/ 112 h 123"/>
                <a:gd name="T44" fmla="*/ 90 w 123"/>
                <a:gd name="T45" fmla="*/ 116 h 123"/>
                <a:gd name="T46" fmla="*/ 85 w 123"/>
                <a:gd name="T47" fmla="*/ 118 h 123"/>
                <a:gd name="T48" fmla="*/ 79 w 123"/>
                <a:gd name="T49" fmla="*/ 120 h 123"/>
                <a:gd name="T50" fmla="*/ 72 w 123"/>
                <a:gd name="T51" fmla="*/ 122 h 123"/>
                <a:gd name="T52" fmla="*/ 66 w 123"/>
                <a:gd name="T53" fmla="*/ 123 h 123"/>
                <a:gd name="T54" fmla="*/ 60 w 123"/>
                <a:gd name="T55" fmla="*/ 123 h 123"/>
                <a:gd name="T56" fmla="*/ 54 w 123"/>
                <a:gd name="T57" fmla="*/ 123 h 123"/>
                <a:gd name="T58" fmla="*/ 43 w 123"/>
                <a:gd name="T59" fmla="*/ 119 h 123"/>
                <a:gd name="T60" fmla="*/ 32 w 123"/>
                <a:gd name="T61" fmla="*/ 116 h 123"/>
                <a:gd name="T62" fmla="*/ 23 w 123"/>
                <a:gd name="T63" fmla="*/ 109 h 123"/>
                <a:gd name="T64" fmla="*/ 13 w 123"/>
                <a:gd name="T65" fmla="*/ 100 h 123"/>
                <a:gd name="T66" fmla="*/ 10 w 123"/>
                <a:gd name="T67" fmla="*/ 96 h 123"/>
                <a:gd name="T68" fmla="*/ 7 w 123"/>
                <a:gd name="T69" fmla="*/ 90 h 123"/>
                <a:gd name="T70" fmla="*/ 5 w 123"/>
                <a:gd name="T71" fmla="*/ 84 h 123"/>
                <a:gd name="T72" fmla="*/ 3 w 123"/>
                <a:gd name="T73" fmla="*/ 78 h 123"/>
                <a:gd name="T74" fmla="*/ 1 w 123"/>
                <a:gd name="T75" fmla="*/ 72 h 123"/>
                <a:gd name="T76" fmla="*/ 0 w 123"/>
                <a:gd name="T77" fmla="*/ 66 h 123"/>
                <a:gd name="T78" fmla="*/ 0 w 123"/>
                <a:gd name="T79" fmla="*/ 60 h 123"/>
                <a:gd name="T80" fmla="*/ 0 w 123"/>
                <a:gd name="T81" fmla="*/ 55 h 123"/>
                <a:gd name="T82" fmla="*/ 3 w 123"/>
                <a:gd name="T83" fmla="*/ 43 h 123"/>
                <a:gd name="T84" fmla="*/ 7 w 123"/>
                <a:gd name="T85" fmla="*/ 32 h 123"/>
                <a:gd name="T86" fmla="*/ 14 w 123"/>
                <a:gd name="T87" fmla="*/ 22 h 123"/>
                <a:gd name="T88" fmla="*/ 23 w 123"/>
                <a:gd name="T89" fmla="*/ 13 h 123"/>
                <a:gd name="T90" fmla="*/ 27 w 123"/>
                <a:gd name="T91" fmla="*/ 10 h 123"/>
                <a:gd name="T92" fmla="*/ 33 w 123"/>
                <a:gd name="T93" fmla="*/ 7 h 123"/>
                <a:gd name="T94" fmla="*/ 38 w 123"/>
                <a:gd name="T95" fmla="*/ 5 h 123"/>
                <a:gd name="T96" fmla="*/ 44 w 123"/>
                <a:gd name="T97" fmla="*/ 3 h 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123" h="123">
                  <a:moveTo>
                    <a:pt x="44" y="3"/>
                  </a:moveTo>
                  <a:lnTo>
                    <a:pt x="51" y="2"/>
                  </a:lnTo>
                  <a:lnTo>
                    <a:pt x="57" y="0"/>
                  </a:lnTo>
                  <a:lnTo>
                    <a:pt x="63" y="0"/>
                  </a:lnTo>
                  <a:lnTo>
                    <a:pt x="69" y="0"/>
                  </a:lnTo>
                  <a:lnTo>
                    <a:pt x="80" y="3"/>
                  </a:lnTo>
                  <a:lnTo>
                    <a:pt x="91" y="7"/>
                  </a:lnTo>
                  <a:lnTo>
                    <a:pt x="100" y="15"/>
                  </a:lnTo>
                  <a:lnTo>
                    <a:pt x="110" y="23"/>
                  </a:lnTo>
                  <a:lnTo>
                    <a:pt x="113" y="27"/>
                  </a:lnTo>
                  <a:lnTo>
                    <a:pt x="116" y="33"/>
                  </a:lnTo>
                  <a:lnTo>
                    <a:pt x="118" y="38"/>
                  </a:lnTo>
                  <a:lnTo>
                    <a:pt x="120" y="44"/>
                  </a:lnTo>
                  <a:lnTo>
                    <a:pt x="121" y="51"/>
                  </a:lnTo>
                  <a:lnTo>
                    <a:pt x="123" y="57"/>
                  </a:lnTo>
                  <a:lnTo>
                    <a:pt x="123" y="63"/>
                  </a:lnTo>
                  <a:lnTo>
                    <a:pt x="123" y="69"/>
                  </a:lnTo>
                  <a:lnTo>
                    <a:pt x="120" y="80"/>
                  </a:lnTo>
                  <a:lnTo>
                    <a:pt x="116" y="91"/>
                  </a:lnTo>
                  <a:lnTo>
                    <a:pt x="109" y="100"/>
                  </a:lnTo>
                  <a:lnTo>
                    <a:pt x="100" y="109"/>
                  </a:lnTo>
                  <a:lnTo>
                    <a:pt x="96" y="112"/>
                  </a:lnTo>
                  <a:lnTo>
                    <a:pt x="90" y="116"/>
                  </a:lnTo>
                  <a:lnTo>
                    <a:pt x="85" y="118"/>
                  </a:lnTo>
                  <a:lnTo>
                    <a:pt x="79" y="120"/>
                  </a:lnTo>
                  <a:lnTo>
                    <a:pt x="72" y="122"/>
                  </a:lnTo>
                  <a:lnTo>
                    <a:pt x="66" y="123"/>
                  </a:lnTo>
                  <a:lnTo>
                    <a:pt x="60" y="123"/>
                  </a:lnTo>
                  <a:lnTo>
                    <a:pt x="54" y="123"/>
                  </a:lnTo>
                  <a:lnTo>
                    <a:pt x="43" y="119"/>
                  </a:lnTo>
                  <a:lnTo>
                    <a:pt x="32" y="116"/>
                  </a:lnTo>
                  <a:lnTo>
                    <a:pt x="23" y="109"/>
                  </a:lnTo>
                  <a:lnTo>
                    <a:pt x="13" y="100"/>
                  </a:lnTo>
                  <a:lnTo>
                    <a:pt x="10" y="96"/>
                  </a:lnTo>
                  <a:lnTo>
                    <a:pt x="7" y="90"/>
                  </a:lnTo>
                  <a:lnTo>
                    <a:pt x="5" y="84"/>
                  </a:lnTo>
                  <a:lnTo>
                    <a:pt x="3" y="78"/>
                  </a:lnTo>
                  <a:lnTo>
                    <a:pt x="1" y="72"/>
                  </a:lnTo>
                  <a:lnTo>
                    <a:pt x="0" y="66"/>
                  </a:lnTo>
                  <a:lnTo>
                    <a:pt x="0" y="60"/>
                  </a:lnTo>
                  <a:lnTo>
                    <a:pt x="0" y="55"/>
                  </a:lnTo>
                  <a:lnTo>
                    <a:pt x="3" y="43"/>
                  </a:lnTo>
                  <a:lnTo>
                    <a:pt x="7" y="32"/>
                  </a:lnTo>
                  <a:lnTo>
                    <a:pt x="14" y="22"/>
                  </a:lnTo>
                  <a:lnTo>
                    <a:pt x="23" y="13"/>
                  </a:lnTo>
                  <a:lnTo>
                    <a:pt x="27" y="10"/>
                  </a:lnTo>
                  <a:lnTo>
                    <a:pt x="33" y="7"/>
                  </a:lnTo>
                  <a:lnTo>
                    <a:pt x="38" y="5"/>
                  </a:lnTo>
                  <a:lnTo>
                    <a:pt x="44" y="3"/>
                  </a:lnTo>
                  <a:close/>
                </a:path>
              </a:pathLst>
            </a:custGeom>
            <a:solidFill>
              <a:srgbClr val="EEA52B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6653" tIns="58327" rIns="116653" bIns="58327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434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137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38" name="Freeform 108"/>
            <p:cNvSpPr>
              <a:spLocks/>
            </p:cNvSpPr>
            <p:nvPr/>
          </p:nvSpPr>
          <p:spPr bwMode="auto">
            <a:xfrm>
              <a:off x="2215" y="2366"/>
              <a:ext cx="24" cy="24"/>
            </a:xfrm>
            <a:custGeom>
              <a:avLst/>
              <a:gdLst>
                <a:gd name="T0" fmla="*/ 35 w 96"/>
                <a:gd name="T1" fmla="*/ 1 h 97"/>
                <a:gd name="T2" fmla="*/ 44 w 96"/>
                <a:gd name="T3" fmla="*/ 0 h 97"/>
                <a:gd name="T4" fmla="*/ 54 w 96"/>
                <a:gd name="T5" fmla="*/ 0 h 97"/>
                <a:gd name="T6" fmla="*/ 63 w 96"/>
                <a:gd name="T7" fmla="*/ 3 h 97"/>
                <a:gd name="T8" fmla="*/ 71 w 96"/>
                <a:gd name="T9" fmla="*/ 6 h 97"/>
                <a:gd name="T10" fmla="*/ 79 w 96"/>
                <a:gd name="T11" fmla="*/ 11 h 97"/>
                <a:gd name="T12" fmla="*/ 86 w 96"/>
                <a:gd name="T13" fmla="*/ 18 h 97"/>
                <a:gd name="T14" fmla="*/ 90 w 96"/>
                <a:gd name="T15" fmla="*/ 26 h 97"/>
                <a:gd name="T16" fmla="*/ 95 w 96"/>
                <a:gd name="T17" fmla="*/ 34 h 97"/>
                <a:gd name="T18" fmla="*/ 96 w 96"/>
                <a:gd name="T19" fmla="*/ 45 h 97"/>
                <a:gd name="T20" fmla="*/ 96 w 96"/>
                <a:gd name="T21" fmla="*/ 54 h 97"/>
                <a:gd name="T22" fmla="*/ 94 w 96"/>
                <a:gd name="T23" fmla="*/ 63 h 97"/>
                <a:gd name="T24" fmla="*/ 90 w 96"/>
                <a:gd name="T25" fmla="*/ 71 h 97"/>
                <a:gd name="T26" fmla="*/ 86 w 96"/>
                <a:gd name="T27" fmla="*/ 79 h 97"/>
                <a:gd name="T28" fmla="*/ 79 w 96"/>
                <a:gd name="T29" fmla="*/ 86 h 97"/>
                <a:gd name="T30" fmla="*/ 70 w 96"/>
                <a:gd name="T31" fmla="*/ 91 h 97"/>
                <a:gd name="T32" fmla="*/ 62 w 96"/>
                <a:gd name="T33" fmla="*/ 94 h 97"/>
                <a:gd name="T34" fmla="*/ 51 w 96"/>
                <a:gd name="T35" fmla="*/ 97 h 97"/>
                <a:gd name="T36" fmla="*/ 42 w 96"/>
                <a:gd name="T37" fmla="*/ 96 h 97"/>
                <a:gd name="T38" fmla="*/ 34 w 96"/>
                <a:gd name="T39" fmla="*/ 94 h 97"/>
                <a:gd name="T40" fmla="*/ 24 w 96"/>
                <a:gd name="T41" fmla="*/ 91 h 97"/>
                <a:gd name="T42" fmla="*/ 17 w 96"/>
                <a:gd name="T43" fmla="*/ 85 h 97"/>
                <a:gd name="T44" fmla="*/ 10 w 96"/>
                <a:gd name="T45" fmla="*/ 79 h 97"/>
                <a:gd name="T46" fmla="*/ 6 w 96"/>
                <a:gd name="T47" fmla="*/ 71 h 97"/>
                <a:gd name="T48" fmla="*/ 2 w 96"/>
                <a:gd name="T49" fmla="*/ 61 h 97"/>
                <a:gd name="T50" fmla="*/ 0 w 96"/>
                <a:gd name="T51" fmla="*/ 52 h 97"/>
                <a:gd name="T52" fmla="*/ 0 w 96"/>
                <a:gd name="T53" fmla="*/ 43 h 97"/>
                <a:gd name="T54" fmla="*/ 2 w 96"/>
                <a:gd name="T55" fmla="*/ 33 h 97"/>
                <a:gd name="T56" fmla="*/ 6 w 96"/>
                <a:gd name="T57" fmla="*/ 25 h 97"/>
                <a:gd name="T58" fmla="*/ 11 w 96"/>
                <a:gd name="T59" fmla="*/ 17 h 97"/>
                <a:gd name="T60" fmla="*/ 17 w 96"/>
                <a:gd name="T61" fmla="*/ 11 h 97"/>
                <a:gd name="T62" fmla="*/ 26 w 96"/>
                <a:gd name="T63" fmla="*/ 5 h 97"/>
                <a:gd name="T64" fmla="*/ 35 w 96"/>
                <a:gd name="T65" fmla="*/ 1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96" h="97">
                  <a:moveTo>
                    <a:pt x="35" y="1"/>
                  </a:moveTo>
                  <a:lnTo>
                    <a:pt x="44" y="0"/>
                  </a:lnTo>
                  <a:lnTo>
                    <a:pt x="54" y="0"/>
                  </a:lnTo>
                  <a:lnTo>
                    <a:pt x="63" y="3"/>
                  </a:lnTo>
                  <a:lnTo>
                    <a:pt x="71" y="6"/>
                  </a:lnTo>
                  <a:lnTo>
                    <a:pt x="79" y="11"/>
                  </a:lnTo>
                  <a:lnTo>
                    <a:pt x="86" y="18"/>
                  </a:lnTo>
                  <a:lnTo>
                    <a:pt x="90" y="26"/>
                  </a:lnTo>
                  <a:lnTo>
                    <a:pt x="95" y="34"/>
                  </a:lnTo>
                  <a:lnTo>
                    <a:pt x="96" y="45"/>
                  </a:lnTo>
                  <a:lnTo>
                    <a:pt x="96" y="54"/>
                  </a:lnTo>
                  <a:lnTo>
                    <a:pt x="94" y="63"/>
                  </a:lnTo>
                  <a:lnTo>
                    <a:pt x="90" y="71"/>
                  </a:lnTo>
                  <a:lnTo>
                    <a:pt x="86" y="79"/>
                  </a:lnTo>
                  <a:lnTo>
                    <a:pt x="79" y="86"/>
                  </a:lnTo>
                  <a:lnTo>
                    <a:pt x="70" y="91"/>
                  </a:lnTo>
                  <a:lnTo>
                    <a:pt x="62" y="94"/>
                  </a:lnTo>
                  <a:lnTo>
                    <a:pt x="51" y="97"/>
                  </a:lnTo>
                  <a:lnTo>
                    <a:pt x="42" y="96"/>
                  </a:lnTo>
                  <a:lnTo>
                    <a:pt x="34" y="94"/>
                  </a:lnTo>
                  <a:lnTo>
                    <a:pt x="24" y="91"/>
                  </a:lnTo>
                  <a:lnTo>
                    <a:pt x="17" y="85"/>
                  </a:lnTo>
                  <a:lnTo>
                    <a:pt x="10" y="79"/>
                  </a:lnTo>
                  <a:lnTo>
                    <a:pt x="6" y="71"/>
                  </a:lnTo>
                  <a:lnTo>
                    <a:pt x="2" y="61"/>
                  </a:lnTo>
                  <a:lnTo>
                    <a:pt x="0" y="52"/>
                  </a:lnTo>
                  <a:lnTo>
                    <a:pt x="0" y="43"/>
                  </a:lnTo>
                  <a:lnTo>
                    <a:pt x="2" y="33"/>
                  </a:lnTo>
                  <a:lnTo>
                    <a:pt x="6" y="25"/>
                  </a:lnTo>
                  <a:lnTo>
                    <a:pt x="11" y="17"/>
                  </a:lnTo>
                  <a:lnTo>
                    <a:pt x="17" y="11"/>
                  </a:lnTo>
                  <a:lnTo>
                    <a:pt x="26" y="5"/>
                  </a:lnTo>
                  <a:lnTo>
                    <a:pt x="35" y="1"/>
                  </a:lnTo>
                  <a:close/>
                </a:path>
              </a:pathLst>
            </a:custGeom>
            <a:solidFill>
              <a:srgbClr val="EEA52B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6653" tIns="58327" rIns="116653" bIns="58327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434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137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39" name="Freeform 109"/>
            <p:cNvSpPr>
              <a:spLocks/>
            </p:cNvSpPr>
            <p:nvPr/>
          </p:nvSpPr>
          <p:spPr bwMode="auto">
            <a:xfrm>
              <a:off x="2462" y="2478"/>
              <a:ext cx="46" cy="46"/>
            </a:xfrm>
            <a:custGeom>
              <a:avLst/>
              <a:gdLst>
                <a:gd name="T0" fmla="*/ 75 w 184"/>
                <a:gd name="T1" fmla="*/ 2 h 185"/>
                <a:gd name="T2" fmla="*/ 94 w 184"/>
                <a:gd name="T3" fmla="*/ 0 h 185"/>
                <a:gd name="T4" fmla="*/ 111 w 184"/>
                <a:gd name="T5" fmla="*/ 2 h 185"/>
                <a:gd name="T6" fmla="*/ 128 w 184"/>
                <a:gd name="T7" fmla="*/ 8 h 185"/>
                <a:gd name="T8" fmla="*/ 143 w 184"/>
                <a:gd name="T9" fmla="*/ 16 h 185"/>
                <a:gd name="T10" fmla="*/ 157 w 184"/>
                <a:gd name="T11" fmla="*/ 28 h 185"/>
                <a:gd name="T12" fmla="*/ 169 w 184"/>
                <a:gd name="T13" fmla="*/ 42 h 185"/>
                <a:gd name="T14" fmla="*/ 177 w 184"/>
                <a:gd name="T15" fmla="*/ 58 h 185"/>
                <a:gd name="T16" fmla="*/ 182 w 184"/>
                <a:gd name="T17" fmla="*/ 76 h 185"/>
                <a:gd name="T18" fmla="*/ 184 w 184"/>
                <a:gd name="T19" fmla="*/ 94 h 185"/>
                <a:gd name="T20" fmla="*/ 182 w 184"/>
                <a:gd name="T21" fmla="*/ 113 h 185"/>
                <a:gd name="T22" fmla="*/ 176 w 184"/>
                <a:gd name="T23" fmla="*/ 129 h 185"/>
                <a:gd name="T24" fmla="*/ 168 w 184"/>
                <a:gd name="T25" fmla="*/ 145 h 185"/>
                <a:gd name="T26" fmla="*/ 156 w 184"/>
                <a:gd name="T27" fmla="*/ 159 h 185"/>
                <a:gd name="T28" fmla="*/ 142 w 184"/>
                <a:gd name="T29" fmla="*/ 169 h 185"/>
                <a:gd name="T30" fmla="*/ 127 w 184"/>
                <a:gd name="T31" fmla="*/ 178 h 185"/>
                <a:gd name="T32" fmla="*/ 108 w 184"/>
                <a:gd name="T33" fmla="*/ 184 h 185"/>
                <a:gd name="T34" fmla="*/ 90 w 184"/>
                <a:gd name="T35" fmla="*/ 185 h 185"/>
                <a:gd name="T36" fmla="*/ 73 w 184"/>
                <a:gd name="T37" fmla="*/ 182 h 185"/>
                <a:gd name="T38" fmla="*/ 55 w 184"/>
                <a:gd name="T39" fmla="*/ 178 h 185"/>
                <a:gd name="T40" fmla="*/ 40 w 184"/>
                <a:gd name="T41" fmla="*/ 168 h 185"/>
                <a:gd name="T42" fmla="*/ 27 w 184"/>
                <a:gd name="T43" fmla="*/ 158 h 185"/>
                <a:gd name="T44" fmla="*/ 15 w 184"/>
                <a:gd name="T45" fmla="*/ 144 h 185"/>
                <a:gd name="T46" fmla="*/ 7 w 184"/>
                <a:gd name="T47" fmla="*/ 127 h 185"/>
                <a:gd name="T48" fmla="*/ 1 w 184"/>
                <a:gd name="T49" fmla="*/ 109 h 185"/>
                <a:gd name="T50" fmla="*/ 0 w 184"/>
                <a:gd name="T51" fmla="*/ 91 h 185"/>
                <a:gd name="T52" fmla="*/ 2 w 184"/>
                <a:gd name="T53" fmla="*/ 73 h 185"/>
                <a:gd name="T54" fmla="*/ 7 w 184"/>
                <a:gd name="T55" fmla="*/ 56 h 185"/>
                <a:gd name="T56" fmla="*/ 16 w 184"/>
                <a:gd name="T57" fmla="*/ 41 h 185"/>
                <a:gd name="T58" fmla="*/ 27 w 184"/>
                <a:gd name="T59" fmla="*/ 27 h 185"/>
                <a:gd name="T60" fmla="*/ 41 w 184"/>
                <a:gd name="T61" fmla="*/ 15 h 185"/>
                <a:gd name="T62" fmla="*/ 57 w 184"/>
                <a:gd name="T63" fmla="*/ 7 h 1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84" h="185">
                  <a:moveTo>
                    <a:pt x="67" y="5"/>
                  </a:moveTo>
                  <a:lnTo>
                    <a:pt x="75" y="2"/>
                  </a:lnTo>
                  <a:lnTo>
                    <a:pt x="84" y="1"/>
                  </a:lnTo>
                  <a:lnTo>
                    <a:pt x="94" y="0"/>
                  </a:lnTo>
                  <a:lnTo>
                    <a:pt x="103" y="1"/>
                  </a:lnTo>
                  <a:lnTo>
                    <a:pt x="111" y="2"/>
                  </a:lnTo>
                  <a:lnTo>
                    <a:pt x="120" y="5"/>
                  </a:lnTo>
                  <a:lnTo>
                    <a:pt x="128" y="8"/>
                  </a:lnTo>
                  <a:lnTo>
                    <a:pt x="136" y="12"/>
                  </a:lnTo>
                  <a:lnTo>
                    <a:pt x="143" y="16"/>
                  </a:lnTo>
                  <a:lnTo>
                    <a:pt x="150" y="22"/>
                  </a:lnTo>
                  <a:lnTo>
                    <a:pt x="157" y="28"/>
                  </a:lnTo>
                  <a:lnTo>
                    <a:pt x="163" y="34"/>
                  </a:lnTo>
                  <a:lnTo>
                    <a:pt x="169" y="42"/>
                  </a:lnTo>
                  <a:lnTo>
                    <a:pt x="174" y="49"/>
                  </a:lnTo>
                  <a:lnTo>
                    <a:pt x="177" y="58"/>
                  </a:lnTo>
                  <a:lnTo>
                    <a:pt x="180" y="67"/>
                  </a:lnTo>
                  <a:lnTo>
                    <a:pt x="182" y="76"/>
                  </a:lnTo>
                  <a:lnTo>
                    <a:pt x="183" y="86"/>
                  </a:lnTo>
                  <a:lnTo>
                    <a:pt x="184" y="94"/>
                  </a:lnTo>
                  <a:lnTo>
                    <a:pt x="183" y="104"/>
                  </a:lnTo>
                  <a:lnTo>
                    <a:pt x="182" y="113"/>
                  </a:lnTo>
                  <a:lnTo>
                    <a:pt x="180" y="121"/>
                  </a:lnTo>
                  <a:lnTo>
                    <a:pt x="176" y="129"/>
                  </a:lnTo>
                  <a:lnTo>
                    <a:pt x="173" y="138"/>
                  </a:lnTo>
                  <a:lnTo>
                    <a:pt x="168" y="145"/>
                  </a:lnTo>
                  <a:lnTo>
                    <a:pt x="162" y="152"/>
                  </a:lnTo>
                  <a:lnTo>
                    <a:pt x="156" y="159"/>
                  </a:lnTo>
                  <a:lnTo>
                    <a:pt x="150" y="165"/>
                  </a:lnTo>
                  <a:lnTo>
                    <a:pt x="142" y="169"/>
                  </a:lnTo>
                  <a:lnTo>
                    <a:pt x="135" y="174"/>
                  </a:lnTo>
                  <a:lnTo>
                    <a:pt x="127" y="178"/>
                  </a:lnTo>
                  <a:lnTo>
                    <a:pt x="117" y="181"/>
                  </a:lnTo>
                  <a:lnTo>
                    <a:pt x="108" y="184"/>
                  </a:lnTo>
                  <a:lnTo>
                    <a:pt x="100" y="185"/>
                  </a:lnTo>
                  <a:lnTo>
                    <a:pt x="90" y="185"/>
                  </a:lnTo>
                  <a:lnTo>
                    <a:pt x="81" y="185"/>
                  </a:lnTo>
                  <a:lnTo>
                    <a:pt x="73" y="182"/>
                  </a:lnTo>
                  <a:lnTo>
                    <a:pt x="63" y="180"/>
                  </a:lnTo>
                  <a:lnTo>
                    <a:pt x="55" y="178"/>
                  </a:lnTo>
                  <a:lnTo>
                    <a:pt x="48" y="173"/>
                  </a:lnTo>
                  <a:lnTo>
                    <a:pt x="40" y="168"/>
                  </a:lnTo>
                  <a:lnTo>
                    <a:pt x="33" y="164"/>
                  </a:lnTo>
                  <a:lnTo>
                    <a:pt x="27" y="158"/>
                  </a:lnTo>
                  <a:lnTo>
                    <a:pt x="21" y="151"/>
                  </a:lnTo>
                  <a:lnTo>
                    <a:pt x="15" y="144"/>
                  </a:lnTo>
                  <a:lnTo>
                    <a:pt x="10" y="135"/>
                  </a:lnTo>
                  <a:lnTo>
                    <a:pt x="7" y="127"/>
                  </a:lnTo>
                  <a:lnTo>
                    <a:pt x="3" y="119"/>
                  </a:lnTo>
                  <a:lnTo>
                    <a:pt x="1" y="109"/>
                  </a:lnTo>
                  <a:lnTo>
                    <a:pt x="0" y="100"/>
                  </a:lnTo>
                  <a:lnTo>
                    <a:pt x="0" y="91"/>
                  </a:lnTo>
                  <a:lnTo>
                    <a:pt x="0" y="82"/>
                  </a:lnTo>
                  <a:lnTo>
                    <a:pt x="2" y="73"/>
                  </a:lnTo>
                  <a:lnTo>
                    <a:pt x="4" y="65"/>
                  </a:lnTo>
                  <a:lnTo>
                    <a:pt x="7" y="56"/>
                  </a:lnTo>
                  <a:lnTo>
                    <a:pt x="11" y="48"/>
                  </a:lnTo>
                  <a:lnTo>
                    <a:pt x="16" y="41"/>
                  </a:lnTo>
                  <a:lnTo>
                    <a:pt x="21" y="34"/>
                  </a:lnTo>
                  <a:lnTo>
                    <a:pt x="27" y="27"/>
                  </a:lnTo>
                  <a:lnTo>
                    <a:pt x="34" y="21"/>
                  </a:lnTo>
                  <a:lnTo>
                    <a:pt x="41" y="15"/>
                  </a:lnTo>
                  <a:lnTo>
                    <a:pt x="49" y="12"/>
                  </a:lnTo>
                  <a:lnTo>
                    <a:pt x="57" y="7"/>
                  </a:lnTo>
                  <a:lnTo>
                    <a:pt x="67" y="5"/>
                  </a:lnTo>
                  <a:close/>
                </a:path>
              </a:pathLst>
            </a:custGeom>
            <a:solidFill>
              <a:srgbClr val="EEA52B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6653" tIns="58327" rIns="116653" bIns="58327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434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137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40" name="Freeform 110"/>
            <p:cNvSpPr>
              <a:spLocks/>
            </p:cNvSpPr>
            <p:nvPr/>
          </p:nvSpPr>
          <p:spPr bwMode="auto">
            <a:xfrm>
              <a:off x="2426" y="2478"/>
              <a:ext cx="31" cy="31"/>
            </a:xfrm>
            <a:custGeom>
              <a:avLst/>
              <a:gdLst>
                <a:gd name="T0" fmla="*/ 45 w 124"/>
                <a:gd name="T1" fmla="*/ 2 h 123"/>
                <a:gd name="T2" fmla="*/ 51 w 124"/>
                <a:gd name="T3" fmla="*/ 1 h 123"/>
                <a:gd name="T4" fmla="*/ 58 w 124"/>
                <a:gd name="T5" fmla="*/ 1 h 123"/>
                <a:gd name="T6" fmla="*/ 64 w 124"/>
                <a:gd name="T7" fmla="*/ 0 h 123"/>
                <a:gd name="T8" fmla="*/ 69 w 124"/>
                <a:gd name="T9" fmla="*/ 1 h 123"/>
                <a:gd name="T10" fmla="*/ 81 w 124"/>
                <a:gd name="T11" fmla="*/ 3 h 123"/>
                <a:gd name="T12" fmla="*/ 92 w 124"/>
                <a:gd name="T13" fmla="*/ 8 h 123"/>
                <a:gd name="T14" fmla="*/ 101 w 124"/>
                <a:gd name="T15" fmla="*/ 15 h 123"/>
                <a:gd name="T16" fmla="*/ 109 w 124"/>
                <a:gd name="T17" fmla="*/ 23 h 123"/>
                <a:gd name="T18" fmla="*/ 113 w 124"/>
                <a:gd name="T19" fmla="*/ 28 h 123"/>
                <a:gd name="T20" fmla="*/ 116 w 124"/>
                <a:gd name="T21" fmla="*/ 33 h 123"/>
                <a:gd name="T22" fmla="*/ 119 w 124"/>
                <a:gd name="T23" fmla="*/ 39 h 123"/>
                <a:gd name="T24" fmla="*/ 121 w 124"/>
                <a:gd name="T25" fmla="*/ 45 h 123"/>
                <a:gd name="T26" fmla="*/ 122 w 124"/>
                <a:gd name="T27" fmla="*/ 50 h 123"/>
                <a:gd name="T28" fmla="*/ 124 w 124"/>
                <a:gd name="T29" fmla="*/ 57 h 123"/>
                <a:gd name="T30" fmla="*/ 124 w 124"/>
                <a:gd name="T31" fmla="*/ 63 h 123"/>
                <a:gd name="T32" fmla="*/ 124 w 124"/>
                <a:gd name="T33" fmla="*/ 69 h 123"/>
                <a:gd name="T34" fmla="*/ 120 w 124"/>
                <a:gd name="T35" fmla="*/ 81 h 123"/>
                <a:gd name="T36" fmla="*/ 115 w 124"/>
                <a:gd name="T37" fmla="*/ 92 h 123"/>
                <a:gd name="T38" fmla="*/ 109 w 124"/>
                <a:gd name="T39" fmla="*/ 101 h 123"/>
                <a:gd name="T40" fmla="*/ 101 w 124"/>
                <a:gd name="T41" fmla="*/ 109 h 123"/>
                <a:gd name="T42" fmla="*/ 95 w 124"/>
                <a:gd name="T43" fmla="*/ 113 h 123"/>
                <a:gd name="T44" fmla="*/ 91 w 124"/>
                <a:gd name="T45" fmla="*/ 116 h 123"/>
                <a:gd name="T46" fmla="*/ 85 w 124"/>
                <a:gd name="T47" fmla="*/ 119 h 123"/>
                <a:gd name="T48" fmla="*/ 79 w 124"/>
                <a:gd name="T49" fmla="*/ 121 h 123"/>
                <a:gd name="T50" fmla="*/ 73 w 124"/>
                <a:gd name="T51" fmla="*/ 122 h 123"/>
                <a:gd name="T52" fmla="*/ 67 w 124"/>
                <a:gd name="T53" fmla="*/ 123 h 123"/>
                <a:gd name="T54" fmla="*/ 61 w 124"/>
                <a:gd name="T55" fmla="*/ 123 h 123"/>
                <a:gd name="T56" fmla="*/ 55 w 124"/>
                <a:gd name="T57" fmla="*/ 123 h 123"/>
                <a:gd name="T58" fmla="*/ 44 w 124"/>
                <a:gd name="T59" fmla="*/ 120 h 123"/>
                <a:gd name="T60" fmla="*/ 33 w 124"/>
                <a:gd name="T61" fmla="*/ 115 h 123"/>
                <a:gd name="T62" fmla="*/ 22 w 124"/>
                <a:gd name="T63" fmla="*/ 109 h 123"/>
                <a:gd name="T64" fmla="*/ 14 w 124"/>
                <a:gd name="T65" fmla="*/ 101 h 123"/>
                <a:gd name="T66" fmla="*/ 11 w 124"/>
                <a:gd name="T67" fmla="*/ 96 h 123"/>
                <a:gd name="T68" fmla="*/ 7 w 124"/>
                <a:gd name="T69" fmla="*/ 90 h 123"/>
                <a:gd name="T70" fmla="*/ 5 w 124"/>
                <a:gd name="T71" fmla="*/ 85 h 123"/>
                <a:gd name="T72" fmla="*/ 3 w 124"/>
                <a:gd name="T73" fmla="*/ 79 h 123"/>
                <a:gd name="T74" fmla="*/ 1 w 124"/>
                <a:gd name="T75" fmla="*/ 73 h 123"/>
                <a:gd name="T76" fmla="*/ 1 w 124"/>
                <a:gd name="T77" fmla="*/ 67 h 123"/>
                <a:gd name="T78" fmla="*/ 0 w 124"/>
                <a:gd name="T79" fmla="*/ 61 h 123"/>
                <a:gd name="T80" fmla="*/ 1 w 124"/>
                <a:gd name="T81" fmla="*/ 55 h 123"/>
                <a:gd name="T82" fmla="*/ 3 w 124"/>
                <a:gd name="T83" fmla="*/ 43 h 123"/>
                <a:gd name="T84" fmla="*/ 8 w 124"/>
                <a:gd name="T85" fmla="*/ 33 h 123"/>
                <a:gd name="T86" fmla="*/ 15 w 124"/>
                <a:gd name="T87" fmla="*/ 22 h 123"/>
                <a:gd name="T88" fmla="*/ 23 w 124"/>
                <a:gd name="T89" fmla="*/ 14 h 123"/>
                <a:gd name="T90" fmla="*/ 28 w 124"/>
                <a:gd name="T91" fmla="*/ 10 h 123"/>
                <a:gd name="T92" fmla="*/ 33 w 124"/>
                <a:gd name="T93" fmla="*/ 7 h 123"/>
                <a:gd name="T94" fmla="*/ 39 w 124"/>
                <a:gd name="T95" fmla="*/ 4 h 123"/>
                <a:gd name="T96" fmla="*/ 45 w 124"/>
                <a:gd name="T97" fmla="*/ 2 h 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124" h="123">
                  <a:moveTo>
                    <a:pt x="45" y="2"/>
                  </a:moveTo>
                  <a:lnTo>
                    <a:pt x="51" y="1"/>
                  </a:lnTo>
                  <a:lnTo>
                    <a:pt x="58" y="1"/>
                  </a:lnTo>
                  <a:lnTo>
                    <a:pt x="64" y="0"/>
                  </a:lnTo>
                  <a:lnTo>
                    <a:pt x="69" y="1"/>
                  </a:lnTo>
                  <a:lnTo>
                    <a:pt x="81" y="3"/>
                  </a:lnTo>
                  <a:lnTo>
                    <a:pt x="92" y="8"/>
                  </a:lnTo>
                  <a:lnTo>
                    <a:pt x="101" y="15"/>
                  </a:lnTo>
                  <a:lnTo>
                    <a:pt x="109" y="23"/>
                  </a:lnTo>
                  <a:lnTo>
                    <a:pt x="113" y="28"/>
                  </a:lnTo>
                  <a:lnTo>
                    <a:pt x="116" y="33"/>
                  </a:lnTo>
                  <a:lnTo>
                    <a:pt x="119" y="39"/>
                  </a:lnTo>
                  <a:lnTo>
                    <a:pt x="121" y="45"/>
                  </a:lnTo>
                  <a:lnTo>
                    <a:pt x="122" y="50"/>
                  </a:lnTo>
                  <a:lnTo>
                    <a:pt x="124" y="57"/>
                  </a:lnTo>
                  <a:lnTo>
                    <a:pt x="124" y="63"/>
                  </a:lnTo>
                  <a:lnTo>
                    <a:pt x="124" y="69"/>
                  </a:lnTo>
                  <a:lnTo>
                    <a:pt x="120" y="81"/>
                  </a:lnTo>
                  <a:lnTo>
                    <a:pt x="115" y="92"/>
                  </a:lnTo>
                  <a:lnTo>
                    <a:pt x="109" y="101"/>
                  </a:lnTo>
                  <a:lnTo>
                    <a:pt x="101" y="109"/>
                  </a:lnTo>
                  <a:lnTo>
                    <a:pt x="95" y="113"/>
                  </a:lnTo>
                  <a:lnTo>
                    <a:pt x="91" y="116"/>
                  </a:lnTo>
                  <a:lnTo>
                    <a:pt x="85" y="119"/>
                  </a:lnTo>
                  <a:lnTo>
                    <a:pt x="79" y="121"/>
                  </a:lnTo>
                  <a:lnTo>
                    <a:pt x="73" y="122"/>
                  </a:lnTo>
                  <a:lnTo>
                    <a:pt x="67" y="123"/>
                  </a:lnTo>
                  <a:lnTo>
                    <a:pt x="61" y="123"/>
                  </a:lnTo>
                  <a:lnTo>
                    <a:pt x="55" y="123"/>
                  </a:lnTo>
                  <a:lnTo>
                    <a:pt x="44" y="120"/>
                  </a:lnTo>
                  <a:lnTo>
                    <a:pt x="33" y="115"/>
                  </a:lnTo>
                  <a:lnTo>
                    <a:pt x="22" y="109"/>
                  </a:lnTo>
                  <a:lnTo>
                    <a:pt x="14" y="101"/>
                  </a:lnTo>
                  <a:lnTo>
                    <a:pt x="11" y="96"/>
                  </a:lnTo>
                  <a:lnTo>
                    <a:pt x="7" y="90"/>
                  </a:lnTo>
                  <a:lnTo>
                    <a:pt x="5" y="85"/>
                  </a:lnTo>
                  <a:lnTo>
                    <a:pt x="3" y="79"/>
                  </a:lnTo>
                  <a:lnTo>
                    <a:pt x="1" y="73"/>
                  </a:lnTo>
                  <a:lnTo>
                    <a:pt x="1" y="67"/>
                  </a:lnTo>
                  <a:lnTo>
                    <a:pt x="0" y="61"/>
                  </a:lnTo>
                  <a:lnTo>
                    <a:pt x="1" y="55"/>
                  </a:lnTo>
                  <a:lnTo>
                    <a:pt x="3" y="43"/>
                  </a:lnTo>
                  <a:lnTo>
                    <a:pt x="8" y="33"/>
                  </a:lnTo>
                  <a:lnTo>
                    <a:pt x="15" y="22"/>
                  </a:lnTo>
                  <a:lnTo>
                    <a:pt x="23" y="14"/>
                  </a:lnTo>
                  <a:lnTo>
                    <a:pt x="28" y="10"/>
                  </a:lnTo>
                  <a:lnTo>
                    <a:pt x="33" y="7"/>
                  </a:lnTo>
                  <a:lnTo>
                    <a:pt x="39" y="4"/>
                  </a:lnTo>
                  <a:lnTo>
                    <a:pt x="45" y="2"/>
                  </a:lnTo>
                  <a:close/>
                </a:path>
              </a:pathLst>
            </a:custGeom>
            <a:solidFill>
              <a:srgbClr val="EEA52B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6653" tIns="58327" rIns="116653" bIns="58327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434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137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41" name="Freeform 111"/>
            <p:cNvSpPr>
              <a:spLocks/>
            </p:cNvSpPr>
            <p:nvPr/>
          </p:nvSpPr>
          <p:spPr bwMode="auto">
            <a:xfrm>
              <a:off x="2439" y="2513"/>
              <a:ext cx="24" cy="24"/>
            </a:xfrm>
            <a:custGeom>
              <a:avLst/>
              <a:gdLst>
                <a:gd name="T0" fmla="*/ 34 w 96"/>
                <a:gd name="T1" fmla="*/ 2 h 96"/>
                <a:gd name="T2" fmla="*/ 44 w 96"/>
                <a:gd name="T3" fmla="*/ 0 h 96"/>
                <a:gd name="T4" fmla="*/ 54 w 96"/>
                <a:gd name="T5" fmla="*/ 0 h 96"/>
                <a:gd name="T6" fmla="*/ 62 w 96"/>
                <a:gd name="T7" fmla="*/ 2 h 96"/>
                <a:gd name="T8" fmla="*/ 71 w 96"/>
                <a:gd name="T9" fmla="*/ 6 h 96"/>
                <a:gd name="T10" fmla="*/ 78 w 96"/>
                <a:gd name="T11" fmla="*/ 12 h 96"/>
                <a:gd name="T12" fmla="*/ 86 w 96"/>
                <a:gd name="T13" fmla="*/ 18 h 96"/>
                <a:gd name="T14" fmla="*/ 90 w 96"/>
                <a:gd name="T15" fmla="*/ 26 h 96"/>
                <a:gd name="T16" fmla="*/ 94 w 96"/>
                <a:gd name="T17" fmla="*/ 35 h 96"/>
                <a:gd name="T18" fmla="*/ 96 w 96"/>
                <a:gd name="T19" fmla="*/ 45 h 96"/>
                <a:gd name="T20" fmla="*/ 96 w 96"/>
                <a:gd name="T21" fmla="*/ 54 h 96"/>
                <a:gd name="T22" fmla="*/ 94 w 96"/>
                <a:gd name="T23" fmla="*/ 63 h 96"/>
                <a:gd name="T24" fmla="*/ 90 w 96"/>
                <a:gd name="T25" fmla="*/ 72 h 96"/>
                <a:gd name="T26" fmla="*/ 84 w 96"/>
                <a:gd name="T27" fmla="*/ 79 h 96"/>
                <a:gd name="T28" fmla="*/ 78 w 96"/>
                <a:gd name="T29" fmla="*/ 86 h 96"/>
                <a:gd name="T30" fmla="*/ 70 w 96"/>
                <a:gd name="T31" fmla="*/ 91 h 96"/>
                <a:gd name="T32" fmla="*/ 61 w 96"/>
                <a:gd name="T33" fmla="*/ 94 h 96"/>
                <a:gd name="T34" fmla="*/ 51 w 96"/>
                <a:gd name="T35" fmla="*/ 96 h 96"/>
                <a:gd name="T36" fmla="*/ 42 w 96"/>
                <a:gd name="T37" fmla="*/ 96 h 96"/>
                <a:gd name="T38" fmla="*/ 33 w 96"/>
                <a:gd name="T39" fmla="*/ 94 h 96"/>
                <a:gd name="T40" fmla="*/ 24 w 96"/>
                <a:gd name="T41" fmla="*/ 91 h 96"/>
                <a:gd name="T42" fmla="*/ 17 w 96"/>
                <a:gd name="T43" fmla="*/ 86 h 96"/>
                <a:gd name="T44" fmla="*/ 10 w 96"/>
                <a:gd name="T45" fmla="*/ 79 h 96"/>
                <a:gd name="T46" fmla="*/ 5 w 96"/>
                <a:gd name="T47" fmla="*/ 71 h 96"/>
                <a:gd name="T48" fmla="*/ 1 w 96"/>
                <a:gd name="T49" fmla="*/ 62 h 96"/>
                <a:gd name="T50" fmla="*/ 0 w 96"/>
                <a:gd name="T51" fmla="*/ 52 h 96"/>
                <a:gd name="T52" fmla="*/ 0 w 96"/>
                <a:gd name="T53" fmla="*/ 42 h 96"/>
                <a:gd name="T54" fmla="*/ 2 w 96"/>
                <a:gd name="T55" fmla="*/ 34 h 96"/>
                <a:gd name="T56" fmla="*/ 5 w 96"/>
                <a:gd name="T57" fmla="*/ 25 h 96"/>
                <a:gd name="T58" fmla="*/ 10 w 96"/>
                <a:gd name="T59" fmla="*/ 18 h 96"/>
                <a:gd name="T60" fmla="*/ 17 w 96"/>
                <a:gd name="T61" fmla="*/ 10 h 96"/>
                <a:gd name="T62" fmla="*/ 25 w 96"/>
                <a:gd name="T63" fmla="*/ 6 h 96"/>
                <a:gd name="T64" fmla="*/ 34 w 96"/>
                <a:gd name="T65" fmla="*/ 2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96" h="96">
                  <a:moveTo>
                    <a:pt x="34" y="2"/>
                  </a:moveTo>
                  <a:lnTo>
                    <a:pt x="44" y="0"/>
                  </a:lnTo>
                  <a:lnTo>
                    <a:pt x="54" y="0"/>
                  </a:lnTo>
                  <a:lnTo>
                    <a:pt x="62" y="2"/>
                  </a:lnTo>
                  <a:lnTo>
                    <a:pt x="71" y="6"/>
                  </a:lnTo>
                  <a:lnTo>
                    <a:pt x="78" y="12"/>
                  </a:lnTo>
                  <a:lnTo>
                    <a:pt x="86" y="18"/>
                  </a:lnTo>
                  <a:lnTo>
                    <a:pt x="90" y="26"/>
                  </a:lnTo>
                  <a:lnTo>
                    <a:pt x="94" y="35"/>
                  </a:lnTo>
                  <a:lnTo>
                    <a:pt x="96" y="45"/>
                  </a:lnTo>
                  <a:lnTo>
                    <a:pt x="96" y="54"/>
                  </a:lnTo>
                  <a:lnTo>
                    <a:pt x="94" y="63"/>
                  </a:lnTo>
                  <a:lnTo>
                    <a:pt x="90" y="72"/>
                  </a:lnTo>
                  <a:lnTo>
                    <a:pt x="84" y="79"/>
                  </a:lnTo>
                  <a:lnTo>
                    <a:pt x="78" y="86"/>
                  </a:lnTo>
                  <a:lnTo>
                    <a:pt x="70" y="91"/>
                  </a:lnTo>
                  <a:lnTo>
                    <a:pt x="61" y="94"/>
                  </a:lnTo>
                  <a:lnTo>
                    <a:pt x="51" y="96"/>
                  </a:lnTo>
                  <a:lnTo>
                    <a:pt x="42" y="96"/>
                  </a:lnTo>
                  <a:lnTo>
                    <a:pt x="33" y="94"/>
                  </a:lnTo>
                  <a:lnTo>
                    <a:pt x="24" y="91"/>
                  </a:lnTo>
                  <a:lnTo>
                    <a:pt x="17" y="86"/>
                  </a:lnTo>
                  <a:lnTo>
                    <a:pt x="10" y="79"/>
                  </a:lnTo>
                  <a:lnTo>
                    <a:pt x="5" y="71"/>
                  </a:lnTo>
                  <a:lnTo>
                    <a:pt x="1" y="62"/>
                  </a:lnTo>
                  <a:lnTo>
                    <a:pt x="0" y="52"/>
                  </a:lnTo>
                  <a:lnTo>
                    <a:pt x="0" y="42"/>
                  </a:lnTo>
                  <a:lnTo>
                    <a:pt x="2" y="34"/>
                  </a:lnTo>
                  <a:lnTo>
                    <a:pt x="5" y="25"/>
                  </a:lnTo>
                  <a:lnTo>
                    <a:pt x="10" y="18"/>
                  </a:lnTo>
                  <a:lnTo>
                    <a:pt x="17" y="10"/>
                  </a:lnTo>
                  <a:lnTo>
                    <a:pt x="25" y="6"/>
                  </a:lnTo>
                  <a:lnTo>
                    <a:pt x="34" y="2"/>
                  </a:lnTo>
                  <a:close/>
                </a:path>
              </a:pathLst>
            </a:custGeom>
            <a:solidFill>
              <a:srgbClr val="EEA52B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6653" tIns="58327" rIns="116653" bIns="58327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434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137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42" name="Freeform 112"/>
            <p:cNvSpPr>
              <a:spLocks/>
            </p:cNvSpPr>
            <p:nvPr/>
          </p:nvSpPr>
          <p:spPr bwMode="auto">
            <a:xfrm>
              <a:off x="2105" y="2342"/>
              <a:ext cx="231" cy="80"/>
            </a:xfrm>
            <a:custGeom>
              <a:avLst/>
              <a:gdLst>
                <a:gd name="T0" fmla="*/ 4 w 924"/>
                <a:gd name="T1" fmla="*/ 269 h 321"/>
                <a:gd name="T2" fmla="*/ 17 w 924"/>
                <a:gd name="T3" fmla="*/ 227 h 321"/>
                <a:gd name="T4" fmla="*/ 39 w 924"/>
                <a:gd name="T5" fmla="*/ 188 h 321"/>
                <a:gd name="T6" fmla="*/ 68 w 924"/>
                <a:gd name="T7" fmla="*/ 150 h 321"/>
                <a:gd name="T8" fmla="*/ 105 w 924"/>
                <a:gd name="T9" fmla="*/ 117 h 321"/>
                <a:gd name="T10" fmla="*/ 148 w 924"/>
                <a:gd name="T11" fmla="*/ 88 h 321"/>
                <a:gd name="T12" fmla="*/ 199 w 924"/>
                <a:gd name="T13" fmla="*/ 62 h 321"/>
                <a:gd name="T14" fmla="*/ 254 w 924"/>
                <a:gd name="T15" fmla="*/ 40 h 321"/>
                <a:gd name="T16" fmla="*/ 315 w 924"/>
                <a:gd name="T17" fmla="*/ 22 h 321"/>
                <a:gd name="T18" fmla="*/ 382 w 924"/>
                <a:gd name="T19" fmla="*/ 9 h 321"/>
                <a:gd name="T20" fmla="*/ 453 w 924"/>
                <a:gd name="T21" fmla="*/ 2 h 321"/>
                <a:gd name="T22" fmla="*/ 524 w 924"/>
                <a:gd name="T23" fmla="*/ 1 h 321"/>
                <a:gd name="T24" fmla="*/ 591 w 924"/>
                <a:gd name="T25" fmla="*/ 6 h 321"/>
                <a:gd name="T26" fmla="*/ 653 w 924"/>
                <a:gd name="T27" fmla="*/ 17 h 321"/>
                <a:gd name="T28" fmla="*/ 711 w 924"/>
                <a:gd name="T29" fmla="*/ 35 h 321"/>
                <a:gd name="T30" fmla="*/ 763 w 924"/>
                <a:gd name="T31" fmla="*/ 59 h 321"/>
                <a:gd name="T32" fmla="*/ 809 w 924"/>
                <a:gd name="T33" fmla="*/ 86 h 321"/>
                <a:gd name="T34" fmla="*/ 847 w 924"/>
                <a:gd name="T35" fmla="*/ 117 h 321"/>
                <a:gd name="T36" fmla="*/ 879 w 924"/>
                <a:gd name="T37" fmla="*/ 152 h 321"/>
                <a:gd name="T38" fmla="*/ 903 w 924"/>
                <a:gd name="T39" fmla="*/ 189 h 321"/>
                <a:gd name="T40" fmla="*/ 918 w 924"/>
                <a:gd name="T41" fmla="*/ 230 h 321"/>
                <a:gd name="T42" fmla="*/ 924 w 924"/>
                <a:gd name="T43" fmla="*/ 263 h 321"/>
                <a:gd name="T44" fmla="*/ 913 w 924"/>
                <a:gd name="T45" fmla="*/ 278 h 321"/>
                <a:gd name="T46" fmla="*/ 892 w 924"/>
                <a:gd name="T47" fmla="*/ 283 h 321"/>
                <a:gd name="T48" fmla="*/ 870 w 924"/>
                <a:gd name="T49" fmla="*/ 283 h 321"/>
                <a:gd name="T50" fmla="*/ 850 w 924"/>
                <a:gd name="T51" fmla="*/ 276 h 321"/>
                <a:gd name="T52" fmla="*/ 840 w 924"/>
                <a:gd name="T53" fmla="*/ 262 h 321"/>
                <a:gd name="T54" fmla="*/ 833 w 924"/>
                <a:gd name="T55" fmla="*/ 227 h 321"/>
                <a:gd name="T56" fmla="*/ 819 w 924"/>
                <a:gd name="T57" fmla="*/ 194 h 321"/>
                <a:gd name="T58" fmla="*/ 798 w 924"/>
                <a:gd name="T59" fmla="*/ 165 h 321"/>
                <a:gd name="T60" fmla="*/ 771 w 924"/>
                <a:gd name="T61" fmla="*/ 137 h 321"/>
                <a:gd name="T62" fmla="*/ 738 w 924"/>
                <a:gd name="T63" fmla="*/ 114 h 321"/>
                <a:gd name="T64" fmla="*/ 699 w 924"/>
                <a:gd name="T65" fmla="*/ 94 h 321"/>
                <a:gd name="T66" fmla="*/ 640 w 924"/>
                <a:gd name="T67" fmla="*/ 72 h 321"/>
                <a:gd name="T68" fmla="*/ 538 w 924"/>
                <a:gd name="T69" fmla="*/ 54 h 321"/>
                <a:gd name="T70" fmla="*/ 439 w 924"/>
                <a:gd name="T71" fmla="*/ 53 h 321"/>
                <a:gd name="T72" fmla="*/ 381 w 924"/>
                <a:gd name="T73" fmla="*/ 60 h 321"/>
                <a:gd name="T74" fmla="*/ 326 w 924"/>
                <a:gd name="T75" fmla="*/ 72 h 321"/>
                <a:gd name="T76" fmla="*/ 276 w 924"/>
                <a:gd name="T77" fmla="*/ 89 h 321"/>
                <a:gd name="T78" fmla="*/ 232 w 924"/>
                <a:gd name="T79" fmla="*/ 109 h 321"/>
                <a:gd name="T80" fmla="*/ 192 w 924"/>
                <a:gd name="T81" fmla="*/ 134 h 321"/>
                <a:gd name="T82" fmla="*/ 157 w 924"/>
                <a:gd name="T83" fmla="*/ 161 h 321"/>
                <a:gd name="T84" fmla="*/ 129 w 924"/>
                <a:gd name="T85" fmla="*/ 190 h 321"/>
                <a:gd name="T86" fmla="*/ 108 w 924"/>
                <a:gd name="T87" fmla="*/ 221 h 321"/>
                <a:gd name="T88" fmla="*/ 93 w 924"/>
                <a:gd name="T89" fmla="*/ 252 h 321"/>
                <a:gd name="T90" fmla="*/ 85 w 924"/>
                <a:gd name="T91" fmla="*/ 283 h 321"/>
                <a:gd name="T92" fmla="*/ 79 w 924"/>
                <a:gd name="T93" fmla="*/ 305 h 321"/>
                <a:gd name="T94" fmla="*/ 62 w 924"/>
                <a:gd name="T95" fmla="*/ 316 h 321"/>
                <a:gd name="T96" fmla="*/ 40 w 924"/>
                <a:gd name="T97" fmla="*/ 321 h 321"/>
                <a:gd name="T98" fmla="*/ 17 w 924"/>
                <a:gd name="T99" fmla="*/ 319 h 321"/>
                <a:gd name="T100" fmla="*/ 3 w 924"/>
                <a:gd name="T101" fmla="*/ 309 h 3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924" h="321">
                  <a:moveTo>
                    <a:pt x="0" y="299"/>
                  </a:moveTo>
                  <a:lnTo>
                    <a:pt x="1" y="283"/>
                  </a:lnTo>
                  <a:lnTo>
                    <a:pt x="4" y="269"/>
                  </a:lnTo>
                  <a:lnTo>
                    <a:pt x="8" y="255"/>
                  </a:lnTo>
                  <a:lnTo>
                    <a:pt x="12" y="241"/>
                  </a:lnTo>
                  <a:lnTo>
                    <a:pt x="17" y="227"/>
                  </a:lnTo>
                  <a:lnTo>
                    <a:pt x="23" y="214"/>
                  </a:lnTo>
                  <a:lnTo>
                    <a:pt x="30" y="200"/>
                  </a:lnTo>
                  <a:lnTo>
                    <a:pt x="39" y="188"/>
                  </a:lnTo>
                  <a:lnTo>
                    <a:pt x="48" y="175"/>
                  </a:lnTo>
                  <a:lnTo>
                    <a:pt x="57" y="163"/>
                  </a:lnTo>
                  <a:lnTo>
                    <a:pt x="68" y="150"/>
                  </a:lnTo>
                  <a:lnTo>
                    <a:pt x="80" y="140"/>
                  </a:lnTo>
                  <a:lnTo>
                    <a:pt x="92" y="128"/>
                  </a:lnTo>
                  <a:lnTo>
                    <a:pt x="105" y="117"/>
                  </a:lnTo>
                  <a:lnTo>
                    <a:pt x="119" y="107"/>
                  </a:lnTo>
                  <a:lnTo>
                    <a:pt x="133" y="97"/>
                  </a:lnTo>
                  <a:lnTo>
                    <a:pt x="148" y="88"/>
                  </a:lnTo>
                  <a:lnTo>
                    <a:pt x="165" y="79"/>
                  </a:lnTo>
                  <a:lnTo>
                    <a:pt x="181" y="70"/>
                  </a:lnTo>
                  <a:lnTo>
                    <a:pt x="199" y="62"/>
                  </a:lnTo>
                  <a:lnTo>
                    <a:pt x="216" y="54"/>
                  </a:lnTo>
                  <a:lnTo>
                    <a:pt x="235" y="47"/>
                  </a:lnTo>
                  <a:lnTo>
                    <a:pt x="254" y="40"/>
                  </a:lnTo>
                  <a:lnTo>
                    <a:pt x="274" y="34"/>
                  </a:lnTo>
                  <a:lnTo>
                    <a:pt x="295" y="28"/>
                  </a:lnTo>
                  <a:lnTo>
                    <a:pt x="315" y="22"/>
                  </a:lnTo>
                  <a:lnTo>
                    <a:pt x="338" y="17"/>
                  </a:lnTo>
                  <a:lnTo>
                    <a:pt x="360" y="13"/>
                  </a:lnTo>
                  <a:lnTo>
                    <a:pt x="382" y="9"/>
                  </a:lnTo>
                  <a:lnTo>
                    <a:pt x="405" y="7"/>
                  </a:lnTo>
                  <a:lnTo>
                    <a:pt x="428" y="3"/>
                  </a:lnTo>
                  <a:lnTo>
                    <a:pt x="453" y="2"/>
                  </a:lnTo>
                  <a:lnTo>
                    <a:pt x="477" y="1"/>
                  </a:lnTo>
                  <a:lnTo>
                    <a:pt x="500" y="0"/>
                  </a:lnTo>
                  <a:lnTo>
                    <a:pt x="524" y="1"/>
                  </a:lnTo>
                  <a:lnTo>
                    <a:pt x="546" y="2"/>
                  </a:lnTo>
                  <a:lnTo>
                    <a:pt x="568" y="3"/>
                  </a:lnTo>
                  <a:lnTo>
                    <a:pt x="591" y="6"/>
                  </a:lnTo>
                  <a:lnTo>
                    <a:pt x="612" y="9"/>
                  </a:lnTo>
                  <a:lnTo>
                    <a:pt x="633" y="13"/>
                  </a:lnTo>
                  <a:lnTo>
                    <a:pt x="653" y="17"/>
                  </a:lnTo>
                  <a:lnTo>
                    <a:pt x="673" y="23"/>
                  </a:lnTo>
                  <a:lnTo>
                    <a:pt x="692" y="29"/>
                  </a:lnTo>
                  <a:lnTo>
                    <a:pt x="711" y="35"/>
                  </a:lnTo>
                  <a:lnTo>
                    <a:pt x="728" y="42"/>
                  </a:lnTo>
                  <a:lnTo>
                    <a:pt x="746" y="50"/>
                  </a:lnTo>
                  <a:lnTo>
                    <a:pt x="763" y="59"/>
                  </a:lnTo>
                  <a:lnTo>
                    <a:pt x="779" y="67"/>
                  </a:lnTo>
                  <a:lnTo>
                    <a:pt x="794" y="76"/>
                  </a:lnTo>
                  <a:lnTo>
                    <a:pt x="809" y="86"/>
                  </a:lnTo>
                  <a:lnTo>
                    <a:pt x="823" y="95"/>
                  </a:lnTo>
                  <a:lnTo>
                    <a:pt x="836" y="106"/>
                  </a:lnTo>
                  <a:lnTo>
                    <a:pt x="847" y="117"/>
                  </a:lnTo>
                  <a:lnTo>
                    <a:pt x="859" y="128"/>
                  </a:lnTo>
                  <a:lnTo>
                    <a:pt x="870" y="140"/>
                  </a:lnTo>
                  <a:lnTo>
                    <a:pt x="879" y="152"/>
                  </a:lnTo>
                  <a:lnTo>
                    <a:pt x="889" y="165"/>
                  </a:lnTo>
                  <a:lnTo>
                    <a:pt x="896" y="178"/>
                  </a:lnTo>
                  <a:lnTo>
                    <a:pt x="903" y="189"/>
                  </a:lnTo>
                  <a:lnTo>
                    <a:pt x="910" y="203"/>
                  </a:lnTo>
                  <a:lnTo>
                    <a:pt x="914" y="216"/>
                  </a:lnTo>
                  <a:lnTo>
                    <a:pt x="918" y="230"/>
                  </a:lnTo>
                  <a:lnTo>
                    <a:pt x="922" y="245"/>
                  </a:lnTo>
                  <a:lnTo>
                    <a:pt x="924" y="258"/>
                  </a:lnTo>
                  <a:lnTo>
                    <a:pt x="924" y="263"/>
                  </a:lnTo>
                  <a:lnTo>
                    <a:pt x="922" y="269"/>
                  </a:lnTo>
                  <a:lnTo>
                    <a:pt x="918" y="273"/>
                  </a:lnTo>
                  <a:lnTo>
                    <a:pt x="913" y="278"/>
                  </a:lnTo>
                  <a:lnTo>
                    <a:pt x="906" y="280"/>
                  </a:lnTo>
                  <a:lnTo>
                    <a:pt x="900" y="282"/>
                  </a:lnTo>
                  <a:lnTo>
                    <a:pt x="892" y="283"/>
                  </a:lnTo>
                  <a:lnTo>
                    <a:pt x="885" y="285"/>
                  </a:lnTo>
                  <a:lnTo>
                    <a:pt x="877" y="285"/>
                  </a:lnTo>
                  <a:lnTo>
                    <a:pt x="870" y="283"/>
                  </a:lnTo>
                  <a:lnTo>
                    <a:pt x="863" y="282"/>
                  </a:lnTo>
                  <a:lnTo>
                    <a:pt x="856" y="280"/>
                  </a:lnTo>
                  <a:lnTo>
                    <a:pt x="850" y="276"/>
                  </a:lnTo>
                  <a:lnTo>
                    <a:pt x="845" y="273"/>
                  </a:lnTo>
                  <a:lnTo>
                    <a:pt x="843" y="268"/>
                  </a:lnTo>
                  <a:lnTo>
                    <a:pt x="840" y="262"/>
                  </a:lnTo>
                  <a:lnTo>
                    <a:pt x="839" y="250"/>
                  </a:lnTo>
                  <a:lnTo>
                    <a:pt x="837" y="239"/>
                  </a:lnTo>
                  <a:lnTo>
                    <a:pt x="833" y="227"/>
                  </a:lnTo>
                  <a:lnTo>
                    <a:pt x="829" y="216"/>
                  </a:lnTo>
                  <a:lnTo>
                    <a:pt x="824" y="205"/>
                  </a:lnTo>
                  <a:lnTo>
                    <a:pt x="819" y="194"/>
                  </a:lnTo>
                  <a:lnTo>
                    <a:pt x="812" y="185"/>
                  </a:lnTo>
                  <a:lnTo>
                    <a:pt x="805" y="174"/>
                  </a:lnTo>
                  <a:lnTo>
                    <a:pt x="798" y="165"/>
                  </a:lnTo>
                  <a:lnTo>
                    <a:pt x="790" y="155"/>
                  </a:lnTo>
                  <a:lnTo>
                    <a:pt x="780" y="146"/>
                  </a:lnTo>
                  <a:lnTo>
                    <a:pt x="771" y="137"/>
                  </a:lnTo>
                  <a:lnTo>
                    <a:pt x="760" y="129"/>
                  </a:lnTo>
                  <a:lnTo>
                    <a:pt x="750" y="121"/>
                  </a:lnTo>
                  <a:lnTo>
                    <a:pt x="738" y="114"/>
                  </a:lnTo>
                  <a:lnTo>
                    <a:pt x="725" y="107"/>
                  </a:lnTo>
                  <a:lnTo>
                    <a:pt x="713" y="100"/>
                  </a:lnTo>
                  <a:lnTo>
                    <a:pt x="699" y="94"/>
                  </a:lnTo>
                  <a:lnTo>
                    <a:pt x="685" y="87"/>
                  </a:lnTo>
                  <a:lnTo>
                    <a:pt x="671" y="82"/>
                  </a:lnTo>
                  <a:lnTo>
                    <a:pt x="640" y="72"/>
                  </a:lnTo>
                  <a:lnTo>
                    <a:pt x="608" y="65"/>
                  </a:lnTo>
                  <a:lnTo>
                    <a:pt x="573" y="59"/>
                  </a:lnTo>
                  <a:lnTo>
                    <a:pt x="538" y="54"/>
                  </a:lnTo>
                  <a:lnTo>
                    <a:pt x="499" y="52"/>
                  </a:lnTo>
                  <a:lnTo>
                    <a:pt x="460" y="53"/>
                  </a:lnTo>
                  <a:lnTo>
                    <a:pt x="439" y="53"/>
                  </a:lnTo>
                  <a:lnTo>
                    <a:pt x="419" y="55"/>
                  </a:lnTo>
                  <a:lnTo>
                    <a:pt x="400" y="57"/>
                  </a:lnTo>
                  <a:lnTo>
                    <a:pt x="381" y="60"/>
                  </a:lnTo>
                  <a:lnTo>
                    <a:pt x="362" y="63"/>
                  </a:lnTo>
                  <a:lnTo>
                    <a:pt x="343" y="68"/>
                  </a:lnTo>
                  <a:lnTo>
                    <a:pt x="326" y="72"/>
                  </a:lnTo>
                  <a:lnTo>
                    <a:pt x="309" y="77"/>
                  </a:lnTo>
                  <a:lnTo>
                    <a:pt x="293" y="83"/>
                  </a:lnTo>
                  <a:lnTo>
                    <a:pt x="276" y="89"/>
                  </a:lnTo>
                  <a:lnTo>
                    <a:pt x="261" y="95"/>
                  </a:lnTo>
                  <a:lnTo>
                    <a:pt x="246" y="102"/>
                  </a:lnTo>
                  <a:lnTo>
                    <a:pt x="232" y="109"/>
                  </a:lnTo>
                  <a:lnTo>
                    <a:pt x="218" y="117"/>
                  </a:lnTo>
                  <a:lnTo>
                    <a:pt x="205" y="126"/>
                  </a:lnTo>
                  <a:lnTo>
                    <a:pt x="192" y="134"/>
                  </a:lnTo>
                  <a:lnTo>
                    <a:pt x="180" y="142"/>
                  </a:lnTo>
                  <a:lnTo>
                    <a:pt x="168" y="152"/>
                  </a:lnTo>
                  <a:lnTo>
                    <a:pt x="157" y="161"/>
                  </a:lnTo>
                  <a:lnTo>
                    <a:pt x="148" y="170"/>
                  </a:lnTo>
                  <a:lnTo>
                    <a:pt x="139" y="180"/>
                  </a:lnTo>
                  <a:lnTo>
                    <a:pt x="129" y="190"/>
                  </a:lnTo>
                  <a:lnTo>
                    <a:pt x="121" y="200"/>
                  </a:lnTo>
                  <a:lnTo>
                    <a:pt x="114" y="210"/>
                  </a:lnTo>
                  <a:lnTo>
                    <a:pt x="108" y="221"/>
                  </a:lnTo>
                  <a:lnTo>
                    <a:pt x="102" y="232"/>
                  </a:lnTo>
                  <a:lnTo>
                    <a:pt x="96" y="241"/>
                  </a:lnTo>
                  <a:lnTo>
                    <a:pt x="93" y="252"/>
                  </a:lnTo>
                  <a:lnTo>
                    <a:pt x="89" y="262"/>
                  </a:lnTo>
                  <a:lnTo>
                    <a:pt x="86" y="273"/>
                  </a:lnTo>
                  <a:lnTo>
                    <a:pt x="85" y="283"/>
                  </a:lnTo>
                  <a:lnTo>
                    <a:pt x="83" y="294"/>
                  </a:lnTo>
                  <a:lnTo>
                    <a:pt x="82" y="300"/>
                  </a:lnTo>
                  <a:lnTo>
                    <a:pt x="79" y="305"/>
                  </a:lnTo>
                  <a:lnTo>
                    <a:pt x="74" y="309"/>
                  </a:lnTo>
                  <a:lnTo>
                    <a:pt x="69" y="313"/>
                  </a:lnTo>
                  <a:lnTo>
                    <a:pt x="62" y="316"/>
                  </a:lnTo>
                  <a:lnTo>
                    <a:pt x="55" y="319"/>
                  </a:lnTo>
                  <a:lnTo>
                    <a:pt x="48" y="320"/>
                  </a:lnTo>
                  <a:lnTo>
                    <a:pt x="40" y="321"/>
                  </a:lnTo>
                  <a:lnTo>
                    <a:pt x="32" y="321"/>
                  </a:lnTo>
                  <a:lnTo>
                    <a:pt x="24" y="320"/>
                  </a:lnTo>
                  <a:lnTo>
                    <a:pt x="17" y="319"/>
                  </a:lnTo>
                  <a:lnTo>
                    <a:pt x="12" y="316"/>
                  </a:lnTo>
                  <a:lnTo>
                    <a:pt x="7" y="313"/>
                  </a:lnTo>
                  <a:lnTo>
                    <a:pt x="3" y="309"/>
                  </a:lnTo>
                  <a:lnTo>
                    <a:pt x="1" y="305"/>
                  </a:lnTo>
                  <a:lnTo>
                    <a:pt x="0" y="299"/>
                  </a:lnTo>
                  <a:close/>
                </a:path>
              </a:pathLst>
            </a:custGeom>
            <a:solidFill>
              <a:srgbClr val="EEA52B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6653" tIns="58327" rIns="116653" bIns="58327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434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137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43" name="Freeform 113"/>
            <p:cNvSpPr>
              <a:spLocks/>
            </p:cNvSpPr>
            <p:nvPr/>
          </p:nvSpPr>
          <p:spPr bwMode="auto">
            <a:xfrm>
              <a:off x="2147" y="2447"/>
              <a:ext cx="118" cy="39"/>
            </a:xfrm>
            <a:custGeom>
              <a:avLst/>
              <a:gdLst>
                <a:gd name="T0" fmla="*/ 392 w 473"/>
                <a:gd name="T1" fmla="*/ 60 h 153"/>
                <a:gd name="T2" fmla="*/ 345 w 473"/>
                <a:gd name="T3" fmla="*/ 71 h 153"/>
                <a:gd name="T4" fmla="*/ 300 w 473"/>
                <a:gd name="T5" fmla="*/ 76 h 153"/>
                <a:gd name="T6" fmla="*/ 256 w 473"/>
                <a:gd name="T7" fmla="*/ 75 h 153"/>
                <a:gd name="T8" fmla="*/ 214 w 473"/>
                <a:gd name="T9" fmla="*/ 67 h 153"/>
                <a:gd name="T10" fmla="*/ 172 w 473"/>
                <a:gd name="T11" fmla="*/ 56 h 153"/>
                <a:gd name="T12" fmla="*/ 129 w 473"/>
                <a:gd name="T13" fmla="*/ 39 h 153"/>
                <a:gd name="T14" fmla="*/ 86 w 473"/>
                <a:gd name="T15" fmla="*/ 18 h 153"/>
                <a:gd name="T16" fmla="*/ 55 w 473"/>
                <a:gd name="T17" fmla="*/ 3 h 153"/>
                <a:gd name="T18" fmla="*/ 40 w 473"/>
                <a:gd name="T19" fmla="*/ 0 h 153"/>
                <a:gd name="T20" fmla="*/ 24 w 473"/>
                <a:gd name="T21" fmla="*/ 5 h 153"/>
                <a:gd name="T22" fmla="*/ 13 w 473"/>
                <a:gd name="T23" fmla="*/ 13 h 153"/>
                <a:gd name="T24" fmla="*/ 4 w 473"/>
                <a:gd name="T25" fmla="*/ 26 h 153"/>
                <a:gd name="T26" fmla="*/ 0 w 473"/>
                <a:gd name="T27" fmla="*/ 39 h 153"/>
                <a:gd name="T28" fmla="*/ 2 w 473"/>
                <a:gd name="T29" fmla="*/ 53 h 153"/>
                <a:gd name="T30" fmla="*/ 10 w 473"/>
                <a:gd name="T31" fmla="*/ 65 h 153"/>
                <a:gd name="T32" fmla="*/ 46 w 473"/>
                <a:gd name="T33" fmla="*/ 85 h 153"/>
                <a:gd name="T34" fmla="*/ 99 w 473"/>
                <a:gd name="T35" fmla="*/ 111 h 153"/>
                <a:gd name="T36" fmla="*/ 150 w 473"/>
                <a:gd name="T37" fmla="*/ 130 h 153"/>
                <a:gd name="T38" fmla="*/ 202 w 473"/>
                <a:gd name="T39" fmla="*/ 144 h 153"/>
                <a:gd name="T40" fmla="*/ 255 w 473"/>
                <a:gd name="T41" fmla="*/ 152 h 153"/>
                <a:gd name="T42" fmla="*/ 308 w 473"/>
                <a:gd name="T43" fmla="*/ 153 h 153"/>
                <a:gd name="T44" fmla="*/ 364 w 473"/>
                <a:gd name="T45" fmla="*/ 148 h 153"/>
                <a:gd name="T46" fmla="*/ 421 w 473"/>
                <a:gd name="T47" fmla="*/ 133 h 153"/>
                <a:gd name="T48" fmla="*/ 459 w 473"/>
                <a:gd name="T49" fmla="*/ 120 h 153"/>
                <a:gd name="T50" fmla="*/ 469 w 473"/>
                <a:gd name="T51" fmla="*/ 110 h 153"/>
                <a:gd name="T52" fmla="*/ 473 w 473"/>
                <a:gd name="T53" fmla="*/ 96 h 153"/>
                <a:gd name="T54" fmla="*/ 472 w 473"/>
                <a:gd name="T55" fmla="*/ 82 h 153"/>
                <a:gd name="T56" fmla="*/ 465 w 473"/>
                <a:gd name="T57" fmla="*/ 69 h 153"/>
                <a:gd name="T58" fmla="*/ 454 w 473"/>
                <a:gd name="T59" fmla="*/ 58 h 153"/>
                <a:gd name="T60" fmla="*/ 441 w 473"/>
                <a:gd name="T61" fmla="*/ 51 h 153"/>
                <a:gd name="T62" fmla="*/ 425 w 473"/>
                <a:gd name="T63" fmla="*/ 50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73" h="153">
                  <a:moveTo>
                    <a:pt x="416" y="52"/>
                  </a:moveTo>
                  <a:lnTo>
                    <a:pt x="392" y="60"/>
                  </a:lnTo>
                  <a:lnTo>
                    <a:pt x="368" y="66"/>
                  </a:lnTo>
                  <a:lnTo>
                    <a:pt x="345" y="71"/>
                  </a:lnTo>
                  <a:lnTo>
                    <a:pt x="322" y="75"/>
                  </a:lnTo>
                  <a:lnTo>
                    <a:pt x="300" y="76"/>
                  </a:lnTo>
                  <a:lnTo>
                    <a:pt x="279" y="76"/>
                  </a:lnTo>
                  <a:lnTo>
                    <a:pt x="256" y="75"/>
                  </a:lnTo>
                  <a:lnTo>
                    <a:pt x="235" y="71"/>
                  </a:lnTo>
                  <a:lnTo>
                    <a:pt x="214" y="67"/>
                  </a:lnTo>
                  <a:lnTo>
                    <a:pt x="193" y="62"/>
                  </a:lnTo>
                  <a:lnTo>
                    <a:pt x="172" y="56"/>
                  </a:lnTo>
                  <a:lnTo>
                    <a:pt x="150" y="47"/>
                  </a:lnTo>
                  <a:lnTo>
                    <a:pt x="129" y="39"/>
                  </a:lnTo>
                  <a:lnTo>
                    <a:pt x="107" y="29"/>
                  </a:lnTo>
                  <a:lnTo>
                    <a:pt x="86" y="18"/>
                  </a:lnTo>
                  <a:lnTo>
                    <a:pt x="63" y="6"/>
                  </a:lnTo>
                  <a:lnTo>
                    <a:pt x="55" y="3"/>
                  </a:lnTo>
                  <a:lnTo>
                    <a:pt x="47" y="0"/>
                  </a:lnTo>
                  <a:lnTo>
                    <a:pt x="40" y="0"/>
                  </a:lnTo>
                  <a:lnTo>
                    <a:pt x="32" y="2"/>
                  </a:lnTo>
                  <a:lnTo>
                    <a:pt x="24" y="5"/>
                  </a:lnTo>
                  <a:lnTo>
                    <a:pt x="19" y="9"/>
                  </a:lnTo>
                  <a:lnTo>
                    <a:pt x="13" y="13"/>
                  </a:lnTo>
                  <a:lnTo>
                    <a:pt x="8" y="19"/>
                  </a:lnTo>
                  <a:lnTo>
                    <a:pt x="4" y="26"/>
                  </a:lnTo>
                  <a:lnTo>
                    <a:pt x="1" y="32"/>
                  </a:lnTo>
                  <a:lnTo>
                    <a:pt x="0" y="39"/>
                  </a:lnTo>
                  <a:lnTo>
                    <a:pt x="1" y="46"/>
                  </a:lnTo>
                  <a:lnTo>
                    <a:pt x="2" y="53"/>
                  </a:lnTo>
                  <a:lnTo>
                    <a:pt x="6" y="59"/>
                  </a:lnTo>
                  <a:lnTo>
                    <a:pt x="10" y="65"/>
                  </a:lnTo>
                  <a:lnTo>
                    <a:pt x="19" y="71"/>
                  </a:lnTo>
                  <a:lnTo>
                    <a:pt x="46" y="85"/>
                  </a:lnTo>
                  <a:lnTo>
                    <a:pt x="72" y="98"/>
                  </a:lnTo>
                  <a:lnTo>
                    <a:pt x="99" y="111"/>
                  </a:lnTo>
                  <a:lnTo>
                    <a:pt x="125" y="122"/>
                  </a:lnTo>
                  <a:lnTo>
                    <a:pt x="150" y="130"/>
                  </a:lnTo>
                  <a:lnTo>
                    <a:pt x="176" y="138"/>
                  </a:lnTo>
                  <a:lnTo>
                    <a:pt x="202" y="144"/>
                  </a:lnTo>
                  <a:lnTo>
                    <a:pt x="229" y="149"/>
                  </a:lnTo>
                  <a:lnTo>
                    <a:pt x="255" y="152"/>
                  </a:lnTo>
                  <a:lnTo>
                    <a:pt x="281" y="153"/>
                  </a:lnTo>
                  <a:lnTo>
                    <a:pt x="308" y="153"/>
                  </a:lnTo>
                  <a:lnTo>
                    <a:pt x="335" y="151"/>
                  </a:lnTo>
                  <a:lnTo>
                    <a:pt x="364" y="148"/>
                  </a:lnTo>
                  <a:lnTo>
                    <a:pt x="392" y="142"/>
                  </a:lnTo>
                  <a:lnTo>
                    <a:pt x="421" y="133"/>
                  </a:lnTo>
                  <a:lnTo>
                    <a:pt x="451" y="124"/>
                  </a:lnTo>
                  <a:lnTo>
                    <a:pt x="459" y="120"/>
                  </a:lnTo>
                  <a:lnTo>
                    <a:pt x="465" y="115"/>
                  </a:lnTo>
                  <a:lnTo>
                    <a:pt x="469" y="110"/>
                  </a:lnTo>
                  <a:lnTo>
                    <a:pt x="472" y="103"/>
                  </a:lnTo>
                  <a:lnTo>
                    <a:pt x="473" y="96"/>
                  </a:lnTo>
                  <a:lnTo>
                    <a:pt x="473" y="89"/>
                  </a:lnTo>
                  <a:lnTo>
                    <a:pt x="472" y="82"/>
                  </a:lnTo>
                  <a:lnTo>
                    <a:pt x="469" y="76"/>
                  </a:lnTo>
                  <a:lnTo>
                    <a:pt x="465" y="69"/>
                  </a:lnTo>
                  <a:lnTo>
                    <a:pt x="460" y="63"/>
                  </a:lnTo>
                  <a:lnTo>
                    <a:pt x="454" y="58"/>
                  </a:lnTo>
                  <a:lnTo>
                    <a:pt x="448" y="55"/>
                  </a:lnTo>
                  <a:lnTo>
                    <a:pt x="441" y="51"/>
                  </a:lnTo>
                  <a:lnTo>
                    <a:pt x="433" y="50"/>
                  </a:lnTo>
                  <a:lnTo>
                    <a:pt x="425" y="50"/>
                  </a:lnTo>
                  <a:lnTo>
                    <a:pt x="416" y="52"/>
                  </a:lnTo>
                  <a:close/>
                </a:path>
              </a:pathLst>
            </a:custGeom>
            <a:solidFill>
              <a:srgbClr val="EEA52B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6653" tIns="58327" rIns="116653" bIns="58327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434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137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44" name="Freeform 114"/>
            <p:cNvSpPr>
              <a:spLocks/>
            </p:cNvSpPr>
            <p:nvPr/>
          </p:nvSpPr>
          <p:spPr bwMode="auto">
            <a:xfrm>
              <a:off x="1854" y="1954"/>
              <a:ext cx="733" cy="667"/>
            </a:xfrm>
            <a:custGeom>
              <a:avLst/>
              <a:gdLst>
                <a:gd name="T0" fmla="*/ 2573 w 2932"/>
                <a:gd name="T1" fmla="*/ 1614 h 2669"/>
                <a:gd name="T2" fmla="*/ 2659 w 2932"/>
                <a:gd name="T3" fmla="*/ 1375 h 2669"/>
                <a:gd name="T4" fmla="*/ 2872 w 2932"/>
                <a:gd name="T5" fmla="*/ 919 h 2669"/>
                <a:gd name="T6" fmla="*/ 2855 w 2932"/>
                <a:gd name="T7" fmla="*/ 560 h 2669"/>
                <a:gd name="T8" fmla="*/ 2730 w 2932"/>
                <a:gd name="T9" fmla="*/ 391 h 2669"/>
                <a:gd name="T10" fmla="*/ 2534 w 2932"/>
                <a:gd name="T11" fmla="*/ 332 h 2669"/>
                <a:gd name="T12" fmla="*/ 2151 w 2932"/>
                <a:gd name="T13" fmla="*/ 418 h 2669"/>
                <a:gd name="T14" fmla="*/ 1917 w 2932"/>
                <a:gd name="T15" fmla="*/ 392 h 2669"/>
                <a:gd name="T16" fmla="*/ 1651 w 2932"/>
                <a:gd name="T17" fmla="*/ 90 h 2669"/>
                <a:gd name="T18" fmla="*/ 1435 w 2932"/>
                <a:gd name="T19" fmla="*/ 2 h 2669"/>
                <a:gd name="T20" fmla="*/ 1204 w 2932"/>
                <a:gd name="T21" fmla="*/ 105 h 2669"/>
                <a:gd name="T22" fmla="*/ 936 w 2932"/>
                <a:gd name="T23" fmla="*/ 424 h 2669"/>
                <a:gd name="T24" fmla="*/ 755 w 2932"/>
                <a:gd name="T25" fmla="*/ 562 h 2669"/>
                <a:gd name="T26" fmla="*/ 421 w 2932"/>
                <a:gd name="T27" fmla="*/ 485 h 2669"/>
                <a:gd name="T28" fmla="*/ 124 w 2932"/>
                <a:gd name="T29" fmla="*/ 523 h 2669"/>
                <a:gd name="T30" fmla="*/ 10 w 2932"/>
                <a:gd name="T31" fmla="*/ 701 h 2669"/>
                <a:gd name="T32" fmla="*/ 57 w 2932"/>
                <a:gd name="T33" fmla="*/ 1055 h 2669"/>
                <a:gd name="T34" fmla="*/ 321 w 2932"/>
                <a:gd name="T35" fmla="*/ 1411 h 2669"/>
                <a:gd name="T36" fmla="*/ 558 w 2932"/>
                <a:gd name="T37" fmla="*/ 1647 h 2669"/>
                <a:gd name="T38" fmla="*/ 411 w 2932"/>
                <a:gd name="T39" fmla="*/ 1729 h 2669"/>
                <a:gd name="T40" fmla="*/ 261 w 2932"/>
                <a:gd name="T41" fmla="*/ 1923 h 2669"/>
                <a:gd name="T42" fmla="*/ 255 w 2932"/>
                <a:gd name="T43" fmla="*/ 2244 h 2669"/>
                <a:gd name="T44" fmla="*/ 464 w 2932"/>
                <a:gd name="T45" fmla="*/ 2551 h 2669"/>
                <a:gd name="T46" fmla="*/ 786 w 2932"/>
                <a:gd name="T47" fmla="*/ 2596 h 2669"/>
                <a:gd name="T48" fmla="*/ 1185 w 2932"/>
                <a:gd name="T49" fmla="*/ 2376 h 2669"/>
                <a:gd name="T50" fmla="*/ 1435 w 2932"/>
                <a:gd name="T51" fmla="*/ 2361 h 2669"/>
                <a:gd name="T52" fmla="*/ 1945 w 2932"/>
                <a:gd name="T53" fmla="*/ 2602 h 2669"/>
                <a:gd name="T54" fmla="*/ 2450 w 2932"/>
                <a:gd name="T55" fmla="*/ 2666 h 2669"/>
                <a:gd name="T56" fmla="*/ 2800 w 2932"/>
                <a:gd name="T57" fmla="*/ 2561 h 2669"/>
                <a:gd name="T58" fmla="*/ 2932 w 2932"/>
                <a:gd name="T59" fmla="*/ 2342 h 2669"/>
                <a:gd name="T60" fmla="*/ 2807 w 2932"/>
                <a:gd name="T61" fmla="*/ 1997 h 2669"/>
                <a:gd name="T62" fmla="*/ 2840 w 2932"/>
                <a:gd name="T63" fmla="*/ 2135 h 2669"/>
                <a:gd name="T64" fmla="*/ 2874 w 2932"/>
                <a:gd name="T65" fmla="*/ 2412 h 2669"/>
                <a:gd name="T66" fmla="*/ 2670 w 2932"/>
                <a:gd name="T67" fmla="*/ 2578 h 2669"/>
                <a:gd name="T68" fmla="*/ 2302 w 2932"/>
                <a:gd name="T69" fmla="*/ 2626 h 2669"/>
                <a:gd name="T70" fmla="*/ 1717 w 2932"/>
                <a:gd name="T71" fmla="*/ 2467 h 2669"/>
                <a:gd name="T72" fmla="*/ 1404 w 2932"/>
                <a:gd name="T73" fmla="*/ 2309 h 2669"/>
                <a:gd name="T74" fmla="*/ 1140 w 2932"/>
                <a:gd name="T75" fmla="*/ 2351 h 2669"/>
                <a:gd name="T76" fmla="*/ 764 w 2932"/>
                <a:gd name="T77" fmla="*/ 2558 h 2669"/>
                <a:gd name="T78" fmla="*/ 465 w 2932"/>
                <a:gd name="T79" fmla="*/ 2502 h 2669"/>
                <a:gd name="T80" fmla="*/ 278 w 2932"/>
                <a:gd name="T81" fmla="*/ 2143 h 2669"/>
                <a:gd name="T82" fmla="*/ 342 w 2932"/>
                <a:gd name="T83" fmla="*/ 1851 h 2669"/>
                <a:gd name="T84" fmla="*/ 484 w 2932"/>
                <a:gd name="T85" fmla="*/ 1738 h 2669"/>
                <a:gd name="T86" fmla="*/ 598 w 2932"/>
                <a:gd name="T87" fmla="*/ 1625 h 2669"/>
                <a:gd name="T88" fmla="*/ 376 w 2932"/>
                <a:gd name="T89" fmla="*/ 1404 h 2669"/>
                <a:gd name="T90" fmla="*/ 105 w 2932"/>
                <a:gd name="T91" fmla="*/ 1062 h 2669"/>
                <a:gd name="T92" fmla="*/ 50 w 2932"/>
                <a:gd name="T93" fmla="*/ 710 h 2669"/>
                <a:gd name="T94" fmla="*/ 157 w 2932"/>
                <a:gd name="T95" fmla="*/ 551 h 2669"/>
                <a:gd name="T96" fmla="*/ 441 w 2932"/>
                <a:gd name="T97" fmla="*/ 530 h 2669"/>
                <a:gd name="T98" fmla="*/ 770 w 2932"/>
                <a:gd name="T99" fmla="*/ 605 h 2669"/>
                <a:gd name="T100" fmla="*/ 959 w 2932"/>
                <a:gd name="T101" fmla="*/ 469 h 2669"/>
                <a:gd name="T102" fmla="*/ 1215 w 2932"/>
                <a:gd name="T103" fmla="*/ 149 h 2669"/>
                <a:gd name="T104" fmla="*/ 1451 w 2932"/>
                <a:gd name="T105" fmla="*/ 43 h 2669"/>
                <a:gd name="T106" fmla="*/ 1713 w 2932"/>
                <a:gd name="T107" fmla="*/ 223 h 2669"/>
                <a:gd name="T108" fmla="*/ 1970 w 2932"/>
                <a:gd name="T109" fmla="*/ 471 h 2669"/>
                <a:gd name="T110" fmla="*/ 2189 w 2932"/>
                <a:gd name="T111" fmla="*/ 449 h 2669"/>
                <a:gd name="T112" fmla="*/ 2562 w 2932"/>
                <a:gd name="T113" fmla="*/ 376 h 2669"/>
                <a:gd name="T114" fmla="*/ 2737 w 2932"/>
                <a:gd name="T115" fmla="*/ 450 h 2669"/>
                <a:gd name="T116" fmla="*/ 2838 w 2932"/>
                <a:gd name="T117" fmla="*/ 689 h 2669"/>
                <a:gd name="T118" fmla="*/ 2762 w 2932"/>
                <a:gd name="T119" fmla="*/ 1143 h 2669"/>
                <a:gd name="T120" fmla="*/ 2537 w 2932"/>
                <a:gd name="T121" fmla="*/ 1494 h 2669"/>
                <a:gd name="T122" fmla="*/ 2581 w 2932"/>
                <a:gd name="T123" fmla="*/ 1756 h 26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932" h="2669">
                  <a:moveTo>
                    <a:pt x="2745" y="1946"/>
                  </a:moveTo>
                  <a:lnTo>
                    <a:pt x="2760" y="1933"/>
                  </a:lnTo>
                  <a:lnTo>
                    <a:pt x="2727" y="1892"/>
                  </a:lnTo>
                  <a:lnTo>
                    <a:pt x="2694" y="1850"/>
                  </a:lnTo>
                  <a:lnTo>
                    <a:pt x="2677" y="1827"/>
                  </a:lnTo>
                  <a:lnTo>
                    <a:pt x="2661" y="1805"/>
                  </a:lnTo>
                  <a:lnTo>
                    <a:pt x="2646" y="1783"/>
                  </a:lnTo>
                  <a:lnTo>
                    <a:pt x="2632" y="1759"/>
                  </a:lnTo>
                  <a:lnTo>
                    <a:pt x="2617" y="1736"/>
                  </a:lnTo>
                  <a:lnTo>
                    <a:pt x="2606" y="1712"/>
                  </a:lnTo>
                  <a:lnTo>
                    <a:pt x="2595" y="1688"/>
                  </a:lnTo>
                  <a:lnTo>
                    <a:pt x="2586" y="1664"/>
                  </a:lnTo>
                  <a:lnTo>
                    <a:pt x="2579" y="1639"/>
                  </a:lnTo>
                  <a:lnTo>
                    <a:pt x="2573" y="1614"/>
                  </a:lnTo>
                  <a:lnTo>
                    <a:pt x="2569" y="1590"/>
                  </a:lnTo>
                  <a:lnTo>
                    <a:pt x="2568" y="1565"/>
                  </a:lnTo>
                  <a:lnTo>
                    <a:pt x="2568" y="1559"/>
                  </a:lnTo>
                  <a:lnTo>
                    <a:pt x="2568" y="1553"/>
                  </a:lnTo>
                  <a:lnTo>
                    <a:pt x="2570" y="1538"/>
                  </a:lnTo>
                  <a:lnTo>
                    <a:pt x="2573" y="1523"/>
                  </a:lnTo>
                  <a:lnTo>
                    <a:pt x="2577" y="1507"/>
                  </a:lnTo>
                  <a:lnTo>
                    <a:pt x="2583" y="1492"/>
                  </a:lnTo>
                  <a:lnTo>
                    <a:pt x="2589" y="1477"/>
                  </a:lnTo>
                  <a:lnTo>
                    <a:pt x="2597" y="1462"/>
                  </a:lnTo>
                  <a:lnTo>
                    <a:pt x="2606" y="1447"/>
                  </a:lnTo>
                  <a:lnTo>
                    <a:pt x="2616" y="1433"/>
                  </a:lnTo>
                  <a:lnTo>
                    <a:pt x="2636" y="1404"/>
                  </a:lnTo>
                  <a:lnTo>
                    <a:pt x="2659" y="1375"/>
                  </a:lnTo>
                  <a:lnTo>
                    <a:pt x="2681" y="1347"/>
                  </a:lnTo>
                  <a:lnTo>
                    <a:pt x="2702" y="1320"/>
                  </a:lnTo>
                  <a:lnTo>
                    <a:pt x="2725" y="1289"/>
                  </a:lnTo>
                  <a:lnTo>
                    <a:pt x="2746" y="1258"/>
                  </a:lnTo>
                  <a:lnTo>
                    <a:pt x="2766" y="1226"/>
                  </a:lnTo>
                  <a:lnTo>
                    <a:pt x="2783" y="1194"/>
                  </a:lnTo>
                  <a:lnTo>
                    <a:pt x="2800" y="1161"/>
                  </a:lnTo>
                  <a:lnTo>
                    <a:pt x="2814" y="1127"/>
                  </a:lnTo>
                  <a:lnTo>
                    <a:pt x="2827" y="1094"/>
                  </a:lnTo>
                  <a:lnTo>
                    <a:pt x="2839" y="1060"/>
                  </a:lnTo>
                  <a:lnTo>
                    <a:pt x="2849" y="1025"/>
                  </a:lnTo>
                  <a:lnTo>
                    <a:pt x="2859" y="989"/>
                  </a:lnTo>
                  <a:lnTo>
                    <a:pt x="2866" y="954"/>
                  </a:lnTo>
                  <a:lnTo>
                    <a:pt x="2872" y="919"/>
                  </a:lnTo>
                  <a:lnTo>
                    <a:pt x="2876" y="882"/>
                  </a:lnTo>
                  <a:lnTo>
                    <a:pt x="2880" y="846"/>
                  </a:lnTo>
                  <a:lnTo>
                    <a:pt x="2882" y="809"/>
                  </a:lnTo>
                  <a:lnTo>
                    <a:pt x="2882" y="773"/>
                  </a:lnTo>
                  <a:lnTo>
                    <a:pt x="2882" y="743"/>
                  </a:lnTo>
                  <a:lnTo>
                    <a:pt x="2881" y="715"/>
                  </a:lnTo>
                  <a:lnTo>
                    <a:pt x="2879" y="686"/>
                  </a:lnTo>
                  <a:lnTo>
                    <a:pt x="2876" y="657"/>
                  </a:lnTo>
                  <a:lnTo>
                    <a:pt x="2874" y="640"/>
                  </a:lnTo>
                  <a:lnTo>
                    <a:pt x="2872" y="623"/>
                  </a:lnTo>
                  <a:lnTo>
                    <a:pt x="2868" y="607"/>
                  </a:lnTo>
                  <a:lnTo>
                    <a:pt x="2865" y="590"/>
                  </a:lnTo>
                  <a:lnTo>
                    <a:pt x="2861" y="575"/>
                  </a:lnTo>
                  <a:lnTo>
                    <a:pt x="2855" y="560"/>
                  </a:lnTo>
                  <a:lnTo>
                    <a:pt x="2850" y="544"/>
                  </a:lnTo>
                  <a:lnTo>
                    <a:pt x="2845" y="530"/>
                  </a:lnTo>
                  <a:lnTo>
                    <a:pt x="2838" y="516"/>
                  </a:lnTo>
                  <a:lnTo>
                    <a:pt x="2830" y="502"/>
                  </a:lnTo>
                  <a:lnTo>
                    <a:pt x="2822" y="489"/>
                  </a:lnTo>
                  <a:lnTo>
                    <a:pt x="2814" y="476"/>
                  </a:lnTo>
                  <a:lnTo>
                    <a:pt x="2806" y="463"/>
                  </a:lnTo>
                  <a:lnTo>
                    <a:pt x="2796" y="451"/>
                  </a:lnTo>
                  <a:lnTo>
                    <a:pt x="2787" y="441"/>
                  </a:lnTo>
                  <a:lnTo>
                    <a:pt x="2776" y="429"/>
                  </a:lnTo>
                  <a:lnTo>
                    <a:pt x="2766" y="419"/>
                  </a:lnTo>
                  <a:lnTo>
                    <a:pt x="2754" y="409"/>
                  </a:lnTo>
                  <a:lnTo>
                    <a:pt x="2742" y="399"/>
                  </a:lnTo>
                  <a:lnTo>
                    <a:pt x="2730" y="391"/>
                  </a:lnTo>
                  <a:lnTo>
                    <a:pt x="2717" y="383"/>
                  </a:lnTo>
                  <a:lnTo>
                    <a:pt x="2705" y="376"/>
                  </a:lnTo>
                  <a:lnTo>
                    <a:pt x="2690" y="369"/>
                  </a:lnTo>
                  <a:lnTo>
                    <a:pt x="2676" y="362"/>
                  </a:lnTo>
                  <a:lnTo>
                    <a:pt x="2662" y="356"/>
                  </a:lnTo>
                  <a:lnTo>
                    <a:pt x="2647" y="351"/>
                  </a:lnTo>
                  <a:lnTo>
                    <a:pt x="2632" y="347"/>
                  </a:lnTo>
                  <a:lnTo>
                    <a:pt x="2616" y="343"/>
                  </a:lnTo>
                  <a:lnTo>
                    <a:pt x="2600" y="339"/>
                  </a:lnTo>
                  <a:lnTo>
                    <a:pt x="2583" y="337"/>
                  </a:lnTo>
                  <a:lnTo>
                    <a:pt x="2566" y="335"/>
                  </a:lnTo>
                  <a:lnTo>
                    <a:pt x="2549" y="334"/>
                  </a:lnTo>
                  <a:lnTo>
                    <a:pt x="2549" y="334"/>
                  </a:lnTo>
                  <a:lnTo>
                    <a:pt x="2534" y="332"/>
                  </a:lnTo>
                  <a:lnTo>
                    <a:pt x="2520" y="332"/>
                  </a:lnTo>
                  <a:lnTo>
                    <a:pt x="2500" y="334"/>
                  </a:lnTo>
                  <a:lnTo>
                    <a:pt x="2481" y="334"/>
                  </a:lnTo>
                  <a:lnTo>
                    <a:pt x="2462" y="336"/>
                  </a:lnTo>
                  <a:lnTo>
                    <a:pt x="2443" y="338"/>
                  </a:lnTo>
                  <a:lnTo>
                    <a:pt x="2405" y="344"/>
                  </a:lnTo>
                  <a:lnTo>
                    <a:pt x="2368" y="351"/>
                  </a:lnTo>
                  <a:lnTo>
                    <a:pt x="2330" y="361"/>
                  </a:lnTo>
                  <a:lnTo>
                    <a:pt x="2294" y="371"/>
                  </a:lnTo>
                  <a:lnTo>
                    <a:pt x="2258" y="382"/>
                  </a:lnTo>
                  <a:lnTo>
                    <a:pt x="2223" y="392"/>
                  </a:lnTo>
                  <a:lnTo>
                    <a:pt x="2198" y="402"/>
                  </a:lnTo>
                  <a:lnTo>
                    <a:pt x="2175" y="410"/>
                  </a:lnTo>
                  <a:lnTo>
                    <a:pt x="2151" y="418"/>
                  </a:lnTo>
                  <a:lnTo>
                    <a:pt x="2128" y="427"/>
                  </a:lnTo>
                  <a:lnTo>
                    <a:pt x="2105" y="434"/>
                  </a:lnTo>
                  <a:lnTo>
                    <a:pt x="2084" y="438"/>
                  </a:lnTo>
                  <a:lnTo>
                    <a:pt x="2062" y="442"/>
                  </a:lnTo>
                  <a:lnTo>
                    <a:pt x="2041" y="444"/>
                  </a:lnTo>
                  <a:lnTo>
                    <a:pt x="2023" y="443"/>
                  </a:lnTo>
                  <a:lnTo>
                    <a:pt x="2004" y="440"/>
                  </a:lnTo>
                  <a:lnTo>
                    <a:pt x="1995" y="436"/>
                  </a:lnTo>
                  <a:lnTo>
                    <a:pt x="1985" y="434"/>
                  </a:lnTo>
                  <a:lnTo>
                    <a:pt x="1975" y="429"/>
                  </a:lnTo>
                  <a:lnTo>
                    <a:pt x="1965" y="424"/>
                  </a:lnTo>
                  <a:lnTo>
                    <a:pt x="1949" y="415"/>
                  </a:lnTo>
                  <a:lnTo>
                    <a:pt x="1933" y="404"/>
                  </a:lnTo>
                  <a:lnTo>
                    <a:pt x="1917" y="392"/>
                  </a:lnTo>
                  <a:lnTo>
                    <a:pt x="1902" y="379"/>
                  </a:lnTo>
                  <a:lnTo>
                    <a:pt x="1887" y="365"/>
                  </a:lnTo>
                  <a:lnTo>
                    <a:pt x="1872" y="351"/>
                  </a:lnTo>
                  <a:lnTo>
                    <a:pt x="1858" y="335"/>
                  </a:lnTo>
                  <a:lnTo>
                    <a:pt x="1844" y="319"/>
                  </a:lnTo>
                  <a:lnTo>
                    <a:pt x="1823" y="295"/>
                  </a:lnTo>
                  <a:lnTo>
                    <a:pt x="1802" y="269"/>
                  </a:lnTo>
                  <a:lnTo>
                    <a:pt x="1780" y="242"/>
                  </a:lnTo>
                  <a:lnTo>
                    <a:pt x="1760" y="216"/>
                  </a:lnTo>
                  <a:lnTo>
                    <a:pt x="1739" y="189"/>
                  </a:lnTo>
                  <a:lnTo>
                    <a:pt x="1718" y="163"/>
                  </a:lnTo>
                  <a:lnTo>
                    <a:pt x="1696" y="137"/>
                  </a:lnTo>
                  <a:lnTo>
                    <a:pt x="1673" y="113"/>
                  </a:lnTo>
                  <a:lnTo>
                    <a:pt x="1651" y="90"/>
                  </a:lnTo>
                  <a:lnTo>
                    <a:pt x="1626" y="69"/>
                  </a:lnTo>
                  <a:lnTo>
                    <a:pt x="1613" y="59"/>
                  </a:lnTo>
                  <a:lnTo>
                    <a:pt x="1601" y="50"/>
                  </a:lnTo>
                  <a:lnTo>
                    <a:pt x="1587" y="42"/>
                  </a:lnTo>
                  <a:lnTo>
                    <a:pt x="1574" y="33"/>
                  </a:lnTo>
                  <a:lnTo>
                    <a:pt x="1560" y="26"/>
                  </a:lnTo>
                  <a:lnTo>
                    <a:pt x="1546" y="19"/>
                  </a:lnTo>
                  <a:lnTo>
                    <a:pt x="1531" y="15"/>
                  </a:lnTo>
                  <a:lnTo>
                    <a:pt x="1515" y="10"/>
                  </a:lnTo>
                  <a:lnTo>
                    <a:pt x="1500" y="5"/>
                  </a:lnTo>
                  <a:lnTo>
                    <a:pt x="1484" y="3"/>
                  </a:lnTo>
                  <a:lnTo>
                    <a:pt x="1467" y="2"/>
                  </a:lnTo>
                  <a:lnTo>
                    <a:pt x="1451" y="0"/>
                  </a:lnTo>
                  <a:lnTo>
                    <a:pt x="1435" y="2"/>
                  </a:lnTo>
                  <a:lnTo>
                    <a:pt x="1419" y="3"/>
                  </a:lnTo>
                  <a:lnTo>
                    <a:pt x="1402" y="5"/>
                  </a:lnTo>
                  <a:lnTo>
                    <a:pt x="1386" y="9"/>
                  </a:lnTo>
                  <a:lnTo>
                    <a:pt x="1370" y="13"/>
                  </a:lnTo>
                  <a:lnTo>
                    <a:pt x="1352" y="18"/>
                  </a:lnTo>
                  <a:lnTo>
                    <a:pt x="1334" y="25"/>
                  </a:lnTo>
                  <a:lnTo>
                    <a:pt x="1317" y="32"/>
                  </a:lnTo>
                  <a:lnTo>
                    <a:pt x="1299" y="40"/>
                  </a:lnTo>
                  <a:lnTo>
                    <a:pt x="1282" y="50"/>
                  </a:lnTo>
                  <a:lnTo>
                    <a:pt x="1266" y="59"/>
                  </a:lnTo>
                  <a:lnTo>
                    <a:pt x="1249" y="70"/>
                  </a:lnTo>
                  <a:lnTo>
                    <a:pt x="1234" y="80"/>
                  </a:lnTo>
                  <a:lnTo>
                    <a:pt x="1219" y="92"/>
                  </a:lnTo>
                  <a:lnTo>
                    <a:pt x="1204" y="105"/>
                  </a:lnTo>
                  <a:lnTo>
                    <a:pt x="1188" y="117"/>
                  </a:lnTo>
                  <a:lnTo>
                    <a:pt x="1160" y="143"/>
                  </a:lnTo>
                  <a:lnTo>
                    <a:pt x="1133" y="170"/>
                  </a:lnTo>
                  <a:lnTo>
                    <a:pt x="1107" y="197"/>
                  </a:lnTo>
                  <a:lnTo>
                    <a:pt x="1083" y="224"/>
                  </a:lnTo>
                  <a:lnTo>
                    <a:pt x="1062" y="248"/>
                  </a:lnTo>
                  <a:lnTo>
                    <a:pt x="1042" y="271"/>
                  </a:lnTo>
                  <a:lnTo>
                    <a:pt x="1023" y="296"/>
                  </a:lnTo>
                  <a:lnTo>
                    <a:pt x="1005" y="321"/>
                  </a:lnTo>
                  <a:lnTo>
                    <a:pt x="987" y="345"/>
                  </a:lnTo>
                  <a:lnTo>
                    <a:pt x="969" y="370"/>
                  </a:lnTo>
                  <a:lnTo>
                    <a:pt x="953" y="397"/>
                  </a:lnTo>
                  <a:lnTo>
                    <a:pt x="936" y="424"/>
                  </a:lnTo>
                  <a:lnTo>
                    <a:pt x="936" y="424"/>
                  </a:lnTo>
                  <a:lnTo>
                    <a:pt x="923" y="448"/>
                  </a:lnTo>
                  <a:lnTo>
                    <a:pt x="908" y="470"/>
                  </a:lnTo>
                  <a:lnTo>
                    <a:pt x="894" y="492"/>
                  </a:lnTo>
                  <a:lnTo>
                    <a:pt x="879" y="515"/>
                  </a:lnTo>
                  <a:lnTo>
                    <a:pt x="868" y="529"/>
                  </a:lnTo>
                  <a:lnTo>
                    <a:pt x="857" y="540"/>
                  </a:lnTo>
                  <a:lnTo>
                    <a:pt x="847" y="548"/>
                  </a:lnTo>
                  <a:lnTo>
                    <a:pt x="836" y="555"/>
                  </a:lnTo>
                  <a:lnTo>
                    <a:pt x="826" y="560"/>
                  </a:lnTo>
                  <a:lnTo>
                    <a:pt x="815" y="562"/>
                  </a:lnTo>
                  <a:lnTo>
                    <a:pt x="803" y="564"/>
                  </a:lnTo>
                  <a:lnTo>
                    <a:pt x="791" y="565"/>
                  </a:lnTo>
                  <a:lnTo>
                    <a:pt x="774" y="564"/>
                  </a:lnTo>
                  <a:lnTo>
                    <a:pt x="755" y="562"/>
                  </a:lnTo>
                  <a:lnTo>
                    <a:pt x="735" y="557"/>
                  </a:lnTo>
                  <a:lnTo>
                    <a:pt x="714" y="553"/>
                  </a:lnTo>
                  <a:lnTo>
                    <a:pt x="695" y="548"/>
                  </a:lnTo>
                  <a:lnTo>
                    <a:pt x="674" y="543"/>
                  </a:lnTo>
                  <a:lnTo>
                    <a:pt x="653" y="537"/>
                  </a:lnTo>
                  <a:lnTo>
                    <a:pt x="629" y="531"/>
                  </a:lnTo>
                  <a:lnTo>
                    <a:pt x="605" y="524"/>
                  </a:lnTo>
                  <a:lnTo>
                    <a:pt x="581" y="518"/>
                  </a:lnTo>
                  <a:lnTo>
                    <a:pt x="555" y="512"/>
                  </a:lnTo>
                  <a:lnTo>
                    <a:pt x="529" y="505"/>
                  </a:lnTo>
                  <a:lnTo>
                    <a:pt x="503" y="500"/>
                  </a:lnTo>
                  <a:lnTo>
                    <a:pt x="476" y="495"/>
                  </a:lnTo>
                  <a:lnTo>
                    <a:pt x="448" y="490"/>
                  </a:lnTo>
                  <a:lnTo>
                    <a:pt x="421" y="485"/>
                  </a:lnTo>
                  <a:lnTo>
                    <a:pt x="392" y="482"/>
                  </a:lnTo>
                  <a:lnTo>
                    <a:pt x="365" y="478"/>
                  </a:lnTo>
                  <a:lnTo>
                    <a:pt x="338" y="477"/>
                  </a:lnTo>
                  <a:lnTo>
                    <a:pt x="311" y="476"/>
                  </a:lnTo>
                  <a:lnTo>
                    <a:pt x="277" y="477"/>
                  </a:lnTo>
                  <a:lnTo>
                    <a:pt x="244" y="481"/>
                  </a:lnTo>
                  <a:lnTo>
                    <a:pt x="228" y="483"/>
                  </a:lnTo>
                  <a:lnTo>
                    <a:pt x="211" y="487"/>
                  </a:lnTo>
                  <a:lnTo>
                    <a:pt x="196" y="491"/>
                  </a:lnTo>
                  <a:lnTo>
                    <a:pt x="180" y="496"/>
                  </a:lnTo>
                  <a:lnTo>
                    <a:pt x="165" y="501"/>
                  </a:lnTo>
                  <a:lnTo>
                    <a:pt x="151" y="508"/>
                  </a:lnTo>
                  <a:lnTo>
                    <a:pt x="137" y="515"/>
                  </a:lnTo>
                  <a:lnTo>
                    <a:pt x="124" y="523"/>
                  </a:lnTo>
                  <a:lnTo>
                    <a:pt x="110" y="533"/>
                  </a:lnTo>
                  <a:lnTo>
                    <a:pt x="98" y="542"/>
                  </a:lnTo>
                  <a:lnTo>
                    <a:pt x="86" y="554"/>
                  </a:lnTo>
                  <a:lnTo>
                    <a:pt x="75" y="565"/>
                  </a:lnTo>
                  <a:lnTo>
                    <a:pt x="65" y="577"/>
                  </a:lnTo>
                  <a:lnTo>
                    <a:pt x="57" y="590"/>
                  </a:lnTo>
                  <a:lnTo>
                    <a:pt x="49" y="603"/>
                  </a:lnTo>
                  <a:lnTo>
                    <a:pt x="40" y="616"/>
                  </a:lnTo>
                  <a:lnTo>
                    <a:pt x="33" y="630"/>
                  </a:lnTo>
                  <a:lnTo>
                    <a:pt x="27" y="643"/>
                  </a:lnTo>
                  <a:lnTo>
                    <a:pt x="23" y="657"/>
                  </a:lnTo>
                  <a:lnTo>
                    <a:pt x="18" y="671"/>
                  </a:lnTo>
                  <a:lnTo>
                    <a:pt x="13" y="687"/>
                  </a:lnTo>
                  <a:lnTo>
                    <a:pt x="10" y="701"/>
                  </a:lnTo>
                  <a:lnTo>
                    <a:pt x="7" y="716"/>
                  </a:lnTo>
                  <a:lnTo>
                    <a:pt x="5" y="730"/>
                  </a:lnTo>
                  <a:lnTo>
                    <a:pt x="2" y="761"/>
                  </a:lnTo>
                  <a:lnTo>
                    <a:pt x="0" y="791"/>
                  </a:lnTo>
                  <a:lnTo>
                    <a:pt x="2" y="819"/>
                  </a:lnTo>
                  <a:lnTo>
                    <a:pt x="3" y="846"/>
                  </a:lnTo>
                  <a:lnTo>
                    <a:pt x="6" y="873"/>
                  </a:lnTo>
                  <a:lnTo>
                    <a:pt x="11" y="899"/>
                  </a:lnTo>
                  <a:lnTo>
                    <a:pt x="17" y="926"/>
                  </a:lnTo>
                  <a:lnTo>
                    <a:pt x="23" y="953"/>
                  </a:lnTo>
                  <a:lnTo>
                    <a:pt x="31" y="979"/>
                  </a:lnTo>
                  <a:lnTo>
                    <a:pt x="38" y="1005"/>
                  </a:lnTo>
                  <a:lnTo>
                    <a:pt x="47" y="1029"/>
                  </a:lnTo>
                  <a:lnTo>
                    <a:pt x="57" y="1055"/>
                  </a:lnTo>
                  <a:lnTo>
                    <a:pt x="67" y="1079"/>
                  </a:lnTo>
                  <a:lnTo>
                    <a:pt x="78" y="1102"/>
                  </a:lnTo>
                  <a:lnTo>
                    <a:pt x="89" y="1125"/>
                  </a:lnTo>
                  <a:lnTo>
                    <a:pt x="100" y="1147"/>
                  </a:lnTo>
                  <a:lnTo>
                    <a:pt x="112" y="1168"/>
                  </a:lnTo>
                  <a:lnTo>
                    <a:pt x="124" y="1188"/>
                  </a:lnTo>
                  <a:lnTo>
                    <a:pt x="145" y="1220"/>
                  </a:lnTo>
                  <a:lnTo>
                    <a:pt x="168" y="1251"/>
                  </a:lnTo>
                  <a:lnTo>
                    <a:pt x="191" y="1280"/>
                  </a:lnTo>
                  <a:lnTo>
                    <a:pt x="215" y="1308"/>
                  </a:lnTo>
                  <a:lnTo>
                    <a:pt x="241" y="1335"/>
                  </a:lnTo>
                  <a:lnTo>
                    <a:pt x="266" y="1361"/>
                  </a:lnTo>
                  <a:lnTo>
                    <a:pt x="294" y="1386"/>
                  </a:lnTo>
                  <a:lnTo>
                    <a:pt x="321" y="1411"/>
                  </a:lnTo>
                  <a:lnTo>
                    <a:pt x="349" y="1435"/>
                  </a:lnTo>
                  <a:lnTo>
                    <a:pt x="376" y="1459"/>
                  </a:lnTo>
                  <a:lnTo>
                    <a:pt x="403" y="1482"/>
                  </a:lnTo>
                  <a:lnTo>
                    <a:pt x="431" y="1506"/>
                  </a:lnTo>
                  <a:lnTo>
                    <a:pt x="458" y="1531"/>
                  </a:lnTo>
                  <a:lnTo>
                    <a:pt x="485" y="1554"/>
                  </a:lnTo>
                  <a:lnTo>
                    <a:pt x="511" y="1579"/>
                  </a:lnTo>
                  <a:lnTo>
                    <a:pt x="537" y="1605"/>
                  </a:lnTo>
                  <a:lnTo>
                    <a:pt x="537" y="1605"/>
                  </a:lnTo>
                  <a:lnTo>
                    <a:pt x="548" y="1618"/>
                  </a:lnTo>
                  <a:lnTo>
                    <a:pt x="555" y="1627"/>
                  </a:lnTo>
                  <a:lnTo>
                    <a:pt x="558" y="1636"/>
                  </a:lnTo>
                  <a:lnTo>
                    <a:pt x="560" y="1641"/>
                  </a:lnTo>
                  <a:lnTo>
                    <a:pt x="558" y="1647"/>
                  </a:lnTo>
                  <a:lnTo>
                    <a:pt x="555" y="1653"/>
                  </a:lnTo>
                  <a:lnTo>
                    <a:pt x="549" y="1659"/>
                  </a:lnTo>
                  <a:lnTo>
                    <a:pt x="542" y="1664"/>
                  </a:lnTo>
                  <a:lnTo>
                    <a:pt x="532" y="1671"/>
                  </a:lnTo>
                  <a:lnTo>
                    <a:pt x="522" y="1677"/>
                  </a:lnTo>
                  <a:lnTo>
                    <a:pt x="510" y="1683"/>
                  </a:lnTo>
                  <a:lnTo>
                    <a:pt x="496" y="1687"/>
                  </a:lnTo>
                  <a:lnTo>
                    <a:pt x="483" y="1693"/>
                  </a:lnTo>
                  <a:lnTo>
                    <a:pt x="469" y="1699"/>
                  </a:lnTo>
                  <a:lnTo>
                    <a:pt x="469" y="1699"/>
                  </a:lnTo>
                  <a:lnTo>
                    <a:pt x="454" y="1705"/>
                  </a:lnTo>
                  <a:lnTo>
                    <a:pt x="439" y="1712"/>
                  </a:lnTo>
                  <a:lnTo>
                    <a:pt x="425" y="1720"/>
                  </a:lnTo>
                  <a:lnTo>
                    <a:pt x="411" y="1729"/>
                  </a:lnTo>
                  <a:lnTo>
                    <a:pt x="398" y="1737"/>
                  </a:lnTo>
                  <a:lnTo>
                    <a:pt x="385" y="1746"/>
                  </a:lnTo>
                  <a:lnTo>
                    <a:pt x="372" y="1757"/>
                  </a:lnTo>
                  <a:lnTo>
                    <a:pt x="361" y="1767"/>
                  </a:lnTo>
                  <a:lnTo>
                    <a:pt x="349" y="1778"/>
                  </a:lnTo>
                  <a:lnTo>
                    <a:pt x="338" y="1790"/>
                  </a:lnTo>
                  <a:lnTo>
                    <a:pt x="328" y="1801"/>
                  </a:lnTo>
                  <a:lnTo>
                    <a:pt x="317" y="1814"/>
                  </a:lnTo>
                  <a:lnTo>
                    <a:pt x="308" y="1827"/>
                  </a:lnTo>
                  <a:lnTo>
                    <a:pt x="298" y="1842"/>
                  </a:lnTo>
                  <a:lnTo>
                    <a:pt x="290" y="1856"/>
                  </a:lnTo>
                  <a:lnTo>
                    <a:pt x="283" y="1870"/>
                  </a:lnTo>
                  <a:lnTo>
                    <a:pt x="271" y="1896"/>
                  </a:lnTo>
                  <a:lnTo>
                    <a:pt x="261" y="1923"/>
                  </a:lnTo>
                  <a:lnTo>
                    <a:pt x="252" y="1950"/>
                  </a:lnTo>
                  <a:lnTo>
                    <a:pt x="245" y="1977"/>
                  </a:lnTo>
                  <a:lnTo>
                    <a:pt x="241" y="2005"/>
                  </a:lnTo>
                  <a:lnTo>
                    <a:pt x="237" y="2032"/>
                  </a:lnTo>
                  <a:lnTo>
                    <a:pt x="235" y="2060"/>
                  </a:lnTo>
                  <a:lnTo>
                    <a:pt x="233" y="2089"/>
                  </a:lnTo>
                  <a:lnTo>
                    <a:pt x="235" y="2109"/>
                  </a:lnTo>
                  <a:lnTo>
                    <a:pt x="235" y="2128"/>
                  </a:lnTo>
                  <a:lnTo>
                    <a:pt x="237" y="2148"/>
                  </a:lnTo>
                  <a:lnTo>
                    <a:pt x="239" y="2166"/>
                  </a:lnTo>
                  <a:lnTo>
                    <a:pt x="242" y="2186"/>
                  </a:lnTo>
                  <a:lnTo>
                    <a:pt x="245" y="2205"/>
                  </a:lnTo>
                  <a:lnTo>
                    <a:pt x="250" y="2225"/>
                  </a:lnTo>
                  <a:lnTo>
                    <a:pt x="255" y="2244"/>
                  </a:lnTo>
                  <a:lnTo>
                    <a:pt x="261" y="2263"/>
                  </a:lnTo>
                  <a:lnTo>
                    <a:pt x="266" y="2282"/>
                  </a:lnTo>
                  <a:lnTo>
                    <a:pt x="272" y="2299"/>
                  </a:lnTo>
                  <a:lnTo>
                    <a:pt x="279" y="2318"/>
                  </a:lnTo>
                  <a:lnTo>
                    <a:pt x="296" y="2354"/>
                  </a:lnTo>
                  <a:lnTo>
                    <a:pt x="314" y="2389"/>
                  </a:lnTo>
                  <a:lnTo>
                    <a:pt x="328" y="2414"/>
                  </a:lnTo>
                  <a:lnTo>
                    <a:pt x="344" y="2437"/>
                  </a:lnTo>
                  <a:lnTo>
                    <a:pt x="361" y="2460"/>
                  </a:lnTo>
                  <a:lnTo>
                    <a:pt x="379" y="2481"/>
                  </a:lnTo>
                  <a:lnTo>
                    <a:pt x="399" y="2501"/>
                  </a:lnTo>
                  <a:lnTo>
                    <a:pt x="419" y="2520"/>
                  </a:lnTo>
                  <a:lnTo>
                    <a:pt x="442" y="2536"/>
                  </a:lnTo>
                  <a:lnTo>
                    <a:pt x="464" y="2551"/>
                  </a:lnTo>
                  <a:lnTo>
                    <a:pt x="488" y="2564"/>
                  </a:lnTo>
                  <a:lnTo>
                    <a:pt x="512" y="2577"/>
                  </a:lnTo>
                  <a:lnTo>
                    <a:pt x="537" y="2587"/>
                  </a:lnTo>
                  <a:lnTo>
                    <a:pt x="563" y="2595"/>
                  </a:lnTo>
                  <a:lnTo>
                    <a:pt x="590" y="2602"/>
                  </a:lnTo>
                  <a:lnTo>
                    <a:pt x="617" y="2607"/>
                  </a:lnTo>
                  <a:lnTo>
                    <a:pt x="646" y="2610"/>
                  </a:lnTo>
                  <a:lnTo>
                    <a:pt x="674" y="2611"/>
                  </a:lnTo>
                  <a:lnTo>
                    <a:pt x="690" y="2610"/>
                  </a:lnTo>
                  <a:lnTo>
                    <a:pt x="708" y="2609"/>
                  </a:lnTo>
                  <a:lnTo>
                    <a:pt x="726" y="2608"/>
                  </a:lnTo>
                  <a:lnTo>
                    <a:pt x="743" y="2606"/>
                  </a:lnTo>
                  <a:lnTo>
                    <a:pt x="764" y="2601"/>
                  </a:lnTo>
                  <a:lnTo>
                    <a:pt x="786" y="2596"/>
                  </a:lnTo>
                  <a:lnTo>
                    <a:pt x="806" y="2589"/>
                  </a:lnTo>
                  <a:lnTo>
                    <a:pt x="826" y="2582"/>
                  </a:lnTo>
                  <a:lnTo>
                    <a:pt x="844" y="2574"/>
                  </a:lnTo>
                  <a:lnTo>
                    <a:pt x="864" y="2565"/>
                  </a:lnTo>
                  <a:lnTo>
                    <a:pt x="883" y="2556"/>
                  </a:lnTo>
                  <a:lnTo>
                    <a:pt x="902" y="2547"/>
                  </a:lnTo>
                  <a:lnTo>
                    <a:pt x="939" y="2525"/>
                  </a:lnTo>
                  <a:lnTo>
                    <a:pt x="975" y="2503"/>
                  </a:lnTo>
                  <a:lnTo>
                    <a:pt x="1010" y="2480"/>
                  </a:lnTo>
                  <a:lnTo>
                    <a:pt x="1046" y="2456"/>
                  </a:lnTo>
                  <a:lnTo>
                    <a:pt x="1080" y="2434"/>
                  </a:lnTo>
                  <a:lnTo>
                    <a:pt x="1115" y="2412"/>
                  </a:lnTo>
                  <a:lnTo>
                    <a:pt x="1151" y="2392"/>
                  </a:lnTo>
                  <a:lnTo>
                    <a:pt x="1185" y="2376"/>
                  </a:lnTo>
                  <a:lnTo>
                    <a:pt x="1202" y="2368"/>
                  </a:lnTo>
                  <a:lnTo>
                    <a:pt x="1220" y="2362"/>
                  </a:lnTo>
                  <a:lnTo>
                    <a:pt x="1238" y="2356"/>
                  </a:lnTo>
                  <a:lnTo>
                    <a:pt x="1256" y="2350"/>
                  </a:lnTo>
                  <a:lnTo>
                    <a:pt x="1274" y="2347"/>
                  </a:lnTo>
                  <a:lnTo>
                    <a:pt x="1292" y="2344"/>
                  </a:lnTo>
                  <a:lnTo>
                    <a:pt x="1311" y="2342"/>
                  </a:lnTo>
                  <a:lnTo>
                    <a:pt x="1329" y="2342"/>
                  </a:lnTo>
                  <a:lnTo>
                    <a:pt x="1354" y="2343"/>
                  </a:lnTo>
                  <a:lnTo>
                    <a:pt x="1380" y="2347"/>
                  </a:lnTo>
                  <a:lnTo>
                    <a:pt x="1394" y="2349"/>
                  </a:lnTo>
                  <a:lnTo>
                    <a:pt x="1407" y="2352"/>
                  </a:lnTo>
                  <a:lnTo>
                    <a:pt x="1421" y="2356"/>
                  </a:lnTo>
                  <a:lnTo>
                    <a:pt x="1435" y="2361"/>
                  </a:lnTo>
                  <a:lnTo>
                    <a:pt x="1435" y="2361"/>
                  </a:lnTo>
                  <a:lnTo>
                    <a:pt x="1468" y="2375"/>
                  </a:lnTo>
                  <a:lnTo>
                    <a:pt x="1501" y="2391"/>
                  </a:lnTo>
                  <a:lnTo>
                    <a:pt x="1533" y="2409"/>
                  </a:lnTo>
                  <a:lnTo>
                    <a:pt x="1566" y="2428"/>
                  </a:lnTo>
                  <a:lnTo>
                    <a:pt x="1599" y="2447"/>
                  </a:lnTo>
                  <a:lnTo>
                    <a:pt x="1631" y="2467"/>
                  </a:lnTo>
                  <a:lnTo>
                    <a:pt x="1665" y="2485"/>
                  </a:lnTo>
                  <a:lnTo>
                    <a:pt x="1698" y="2504"/>
                  </a:lnTo>
                  <a:lnTo>
                    <a:pt x="1746" y="2527"/>
                  </a:lnTo>
                  <a:lnTo>
                    <a:pt x="1796" y="2548"/>
                  </a:lnTo>
                  <a:lnTo>
                    <a:pt x="1845" y="2568"/>
                  </a:lnTo>
                  <a:lnTo>
                    <a:pt x="1895" y="2587"/>
                  </a:lnTo>
                  <a:lnTo>
                    <a:pt x="1945" y="2602"/>
                  </a:lnTo>
                  <a:lnTo>
                    <a:pt x="1996" y="2617"/>
                  </a:lnTo>
                  <a:lnTo>
                    <a:pt x="2048" y="2630"/>
                  </a:lnTo>
                  <a:lnTo>
                    <a:pt x="2099" y="2641"/>
                  </a:lnTo>
                  <a:lnTo>
                    <a:pt x="2131" y="2647"/>
                  </a:lnTo>
                  <a:lnTo>
                    <a:pt x="2164" y="2653"/>
                  </a:lnTo>
                  <a:lnTo>
                    <a:pt x="2197" y="2657"/>
                  </a:lnTo>
                  <a:lnTo>
                    <a:pt x="2231" y="2661"/>
                  </a:lnTo>
                  <a:lnTo>
                    <a:pt x="2265" y="2664"/>
                  </a:lnTo>
                  <a:lnTo>
                    <a:pt x="2300" y="2667"/>
                  </a:lnTo>
                  <a:lnTo>
                    <a:pt x="2335" y="2668"/>
                  </a:lnTo>
                  <a:lnTo>
                    <a:pt x="2369" y="2669"/>
                  </a:lnTo>
                  <a:lnTo>
                    <a:pt x="2396" y="2669"/>
                  </a:lnTo>
                  <a:lnTo>
                    <a:pt x="2423" y="2668"/>
                  </a:lnTo>
                  <a:lnTo>
                    <a:pt x="2450" y="2666"/>
                  </a:lnTo>
                  <a:lnTo>
                    <a:pt x="2477" y="2664"/>
                  </a:lnTo>
                  <a:lnTo>
                    <a:pt x="2503" y="2661"/>
                  </a:lnTo>
                  <a:lnTo>
                    <a:pt x="2530" y="2657"/>
                  </a:lnTo>
                  <a:lnTo>
                    <a:pt x="2556" y="2653"/>
                  </a:lnTo>
                  <a:lnTo>
                    <a:pt x="2583" y="2647"/>
                  </a:lnTo>
                  <a:lnTo>
                    <a:pt x="2609" y="2641"/>
                  </a:lnTo>
                  <a:lnTo>
                    <a:pt x="2634" y="2634"/>
                  </a:lnTo>
                  <a:lnTo>
                    <a:pt x="2660" y="2627"/>
                  </a:lnTo>
                  <a:lnTo>
                    <a:pt x="2684" y="2617"/>
                  </a:lnTo>
                  <a:lnTo>
                    <a:pt x="2709" y="2608"/>
                  </a:lnTo>
                  <a:lnTo>
                    <a:pt x="2733" y="2597"/>
                  </a:lnTo>
                  <a:lnTo>
                    <a:pt x="2757" y="2585"/>
                  </a:lnTo>
                  <a:lnTo>
                    <a:pt x="2780" y="2573"/>
                  </a:lnTo>
                  <a:lnTo>
                    <a:pt x="2800" y="2561"/>
                  </a:lnTo>
                  <a:lnTo>
                    <a:pt x="2818" y="2548"/>
                  </a:lnTo>
                  <a:lnTo>
                    <a:pt x="2834" y="2535"/>
                  </a:lnTo>
                  <a:lnTo>
                    <a:pt x="2849" y="2521"/>
                  </a:lnTo>
                  <a:lnTo>
                    <a:pt x="2863" y="2507"/>
                  </a:lnTo>
                  <a:lnTo>
                    <a:pt x="2876" y="2491"/>
                  </a:lnTo>
                  <a:lnTo>
                    <a:pt x="2887" y="2476"/>
                  </a:lnTo>
                  <a:lnTo>
                    <a:pt x="2896" y="2461"/>
                  </a:lnTo>
                  <a:lnTo>
                    <a:pt x="2906" y="2444"/>
                  </a:lnTo>
                  <a:lnTo>
                    <a:pt x="2913" y="2428"/>
                  </a:lnTo>
                  <a:lnTo>
                    <a:pt x="2919" y="2411"/>
                  </a:lnTo>
                  <a:lnTo>
                    <a:pt x="2923" y="2395"/>
                  </a:lnTo>
                  <a:lnTo>
                    <a:pt x="2927" y="2377"/>
                  </a:lnTo>
                  <a:lnTo>
                    <a:pt x="2929" y="2359"/>
                  </a:lnTo>
                  <a:lnTo>
                    <a:pt x="2932" y="2342"/>
                  </a:lnTo>
                  <a:lnTo>
                    <a:pt x="2932" y="2324"/>
                  </a:lnTo>
                  <a:lnTo>
                    <a:pt x="2931" y="2298"/>
                  </a:lnTo>
                  <a:lnTo>
                    <a:pt x="2928" y="2272"/>
                  </a:lnTo>
                  <a:lnTo>
                    <a:pt x="2923" y="2245"/>
                  </a:lnTo>
                  <a:lnTo>
                    <a:pt x="2916" y="2219"/>
                  </a:lnTo>
                  <a:lnTo>
                    <a:pt x="2909" y="2193"/>
                  </a:lnTo>
                  <a:lnTo>
                    <a:pt x="2900" y="2168"/>
                  </a:lnTo>
                  <a:lnTo>
                    <a:pt x="2889" y="2142"/>
                  </a:lnTo>
                  <a:lnTo>
                    <a:pt x="2878" y="2117"/>
                  </a:lnTo>
                  <a:lnTo>
                    <a:pt x="2865" y="2091"/>
                  </a:lnTo>
                  <a:lnTo>
                    <a:pt x="2852" y="2068"/>
                  </a:lnTo>
                  <a:lnTo>
                    <a:pt x="2838" y="2043"/>
                  </a:lnTo>
                  <a:lnTo>
                    <a:pt x="2822" y="2019"/>
                  </a:lnTo>
                  <a:lnTo>
                    <a:pt x="2807" y="1997"/>
                  </a:lnTo>
                  <a:lnTo>
                    <a:pt x="2792" y="1975"/>
                  </a:lnTo>
                  <a:lnTo>
                    <a:pt x="2776" y="1953"/>
                  </a:lnTo>
                  <a:lnTo>
                    <a:pt x="2760" y="1933"/>
                  </a:lnTo>
                  <a:lnTo>
                    <a:pt x="2760" y="1933"/>
                  </a:lnTo>
                  <a:lnTo>
                    <a:pt x="2745" y="1946"/>
                  </a:lnTo>
                  <a:lnTo>
                    <a:pt x="2728" y="1959"/>
                  </a:lnTo>
                  <a:lnTo>
                    <a:pt x="2743" y="1979"/>
                  </a:lnTo>
                  <a:lnTo>
                    <a:pt x="2759" y="1999"/>
                  </a:lnTo>
                  <a:lnTo>
                    <a:pt x="2773" y="2020"/>
                  </a:lnTo>
                  <a:lnTo>
                    <a:pt x="2788" y="2042"/>
                  </a:lnTo>
                  <a:lnTo>
                    <a:pt x="2802" y="2065"/>
                  </a:lnTo>
                  <a:lnTo>
                    <a:pt x="2815" y="2088"/>
                  </a:lnTo>
                  <a:lnTo>
                    <a:pt x="2828" y="2111"/>
                  </a:lnTo>
                  <a:lnTo>
                    <a:pt x="2840" y="2135"/>
                  </a:lnTo>
                  <a:lnTo>
                    <a:pt x="2850" y="2158"/>
                  </a:lnTo>
                  <a:lnTo>
                    <a:pt x="2861" y="2183"/>
                  </a:lnTo>
                  <a:lnTo>
                    <a:pt x="2869" y="2206"/>
                  </a:lnTo>
                  <a:lnTo>
                    <a:pt x="2876" y="2230"/>
                  </a:lnTo>
                  <a:lnTo>
                    <a:pt x="2882" y="2255"/>
                  </a:lnTo>
                  <a:lnTo>
                    <a:pt x="2887" y="2278"/>
                  </a:lnTo>
                  <a:lnTo>
                    <a:pt x="2889" y="2302"/>
                  </a:lnTo>
                  <a:lnTo>
                    <a:pt x="2891" y="2324"/>
                  </a:lnTo>
                  <a:lnTo>
                    <a:pt x="2889" y="2339"/>
                  </a:lnTo>
                  <a:lnTo>
                    <a:pt x="2888" y="2355"/>
                  </a:lnTo>
                  <a:lnTo>
                    <a:pt x="2887" y="2370"/>
                  </a:lnTo>
                  <a:lnTo>
                    <a:pt x="2883" y="2384"/>
                  </a:lnTo>
                  <a:lnTo>
                    <a:pt x="2879" y="2398"/>
                  </a:lnTo>
                  <a:lnTo>
                    <a:pt x="2874" y="2412"/>
                  </a:lnTo>
                  <a:lnTo>
                    <a:pt x="2868" y="2427"/>
                  </a:lnTo>
                  <a:lnTo>
                    <a:pt x="2861" y="2441"/>
                  </a:lnTo>
                  <a:lnTo>
                    <a:pt x="2853" y="2454"/>
                  </a:lnTo>
                  <a:lnTo>
                    <a:pt x="2843" y="2467"/>
                  </a:lnTo>
                  <a:lnTo>
                    <a:pt x="2833" y="2478"/>
                  </a:lnTo>
                  <a:lnTo>
                    <a:pt x="2821" y="2491"/>
                  </a:lnTo>
                  <a:lnTo>
                    <a:pt x="2807" y="2503"/>
                  </a:lnTo>
                  <a:lnTo>
                    <a:pt x="2793" y="2515"/>
                  </a:lnTo>
                  <a:lnTo>
                    <a:pt x="2776" y="2527"/>
                  </a:lnTo>
                  <a:lnTo>
                    <a:pt x="2759" y="2537"/>
                  </a:lnTo>
                  <a:lnTo>
                    <a:pt x="2737" y="2549"/>
                  </a:lnTo>
                  <a:lnTo>
                    <a:pt x="2716" y="2560"/>
                  </a:lnTo>
                  <a:lnTo>
                    <a:pt x="2693" y="2569"/>
                  </a:lnTo>
                  <a:lnTo>
                    <a:pt x="2670" y="2578"/>
                  </a:lnTo>
                  <a:lnTo>
                    <a:pt x="2647" y="2587"/>
                  </a:lnTo>
                  <a:lnTo>
                    <a:pt x="2623" y="2594"/>
                  </a:lnTo>
                  <a:lnTo>
                    <a:pt x="2599" y="2601"/>
                  </a:lnTo>
                  <a:lnTo>
                    <a:pt x="2574" y="2607"/>
                  </a:lnTo>
                  <a:lnTo>
                    <a:pt x="2549" y="2611"/>
                  </a:lnTo>
                  <a:lnTo>
                    <a:pt x="2523" y="2616"/>
                  </a:lnTo>
                  <a:lnTo>
                    <a:pt x="2498" y="2620"/>
                  </a:lnTo>
                  <a:lnTo>
                    <a:pt x="2473" y="2622"/>
                  </a:lnTo>
                  <a:lnTo>
                    <a:pt x="2447" y="2624"/>
                  </a:lnTo>
                  <a:lnTo>
                    <a:pt x="2421" y="2627"/>
                  </a:lnTo>
                  <a:lnTo>
                    <a:pt x="2395" y="2627"/>
                  </a:lnTo>
                  <a:lnTo>
                    <a:pt x="2369" y="2628"/>
                  </a:lnTo>
                  <a:lnTo>
                    <a:pt x="2336" y="2627"/>
                  </a:lnTo>
                  <a:lnTo>
                    <a:pt x="2302" y="2626"/>
                  </a:lnTo>
                  <a:lnTo>
                    <a:pt x="2269" y="2623"/>
                  </a:lnTo>
                  <a:lnTo>
                    <a:pt x="2236" y="2620"/>
                  </a:lnTo>
                  <a:lnTo>
                    <a:pt x="2203" y="2616"/>
                  </a:lnTo>
                  <a:lnTo>
                    <a:pt x="2171" y="2611"/>
                  </a:lnTo>
                  <a:lnTo>
                    <a:pt x="2138" y="2607"/>
                  </a:lnTo>
                  <a:lnTo>
                    <a:pt x="2108" y="2601"/>
                  </a:lnTo>
                  <a:lnTo>
                    <a:pt x="2057" y="2589"/>
                  </a:lnTo>
                  <a:lnTo>
                    <a:pt x="2006" y="2577"/>
                  </a:lnTo>
                  <a:lnTo>
                    <a:pt x="1957" y="2563"/>
                  </a:lnTo>
                  <a:lnTo>
                    <a:pt x="1908" y="2547"/>
                  </a:lnTo>
                  <a:lnTo>
                    <a:pt x="1859" y="2529"/>
                  </a:lnTo>
                  <a:lnTo>
                    <a:pt x="1811" y="2510"/>
                  </a:lnTo>
                  <a:lnTo>
                    <a:pt x="1764" y="2489"/>
                  </a:lnTo>
                  <a:lnTo>
                    <a:pt x="1717" y="2467"/>
                  </a:lnTo>
                  <a:lnTo>
                    <a:pt x="1685" y="2449"/>
                  </a:lnTo>
                  <a:lnTo>
                    <a:pt x="1652" y="2431"/>
                  </a:lnTo>
                  <a:lnTo>
                    <a:pt x="1620" y="2411"/>
                  </a:lnTo>
                  <a:lnTo>
                    <a:pt x="1587" y="2391"/>
                  </a:lnTo>
                  <a:lnTo>
                    <a:pt x="1554" y="2372"/>
                  </a:lnTo>
                  <a:lnTo>
                    <a:pt x="1520" y="2354"/>
                  </a:lnTo>
                  <a:lnTo>
                    <a:pt x="1503" y="2345"/>
                  </a:lnTo>
                  <a:lnTo>
                    <a:pt x="1485" y="2337"/>
                  </a:lnTo>
                  <a:lnTo>
                    <a:pt x="1467" y="2329"/>
                  </a:lnTo>
                  <a:lnTo>
                    <a:pt x="1450" y="2322"/>
                  </a:lnTo>
                  <a:lnTo>
                    <a:pt x="1450" y="2322"/>
                  </a:lnTo>
                  <a:lnTo>
                    <a:pt x="1434" y="2317"/>
                  </a:lnTo>
                  <a:lnTo>
                    <a:pt x="1419" y="2312"/>
                  </a:lnTo>
                  <a:lnTo>
                    <a:pt x="1404" y="2309"/>
                  </a:lnTo>
                  <a:lnTo>
                    <a:pt x="1388" y="2305"/>
                  </a:lnTo>
                  <a:lnTo>
                    <a:pt x="1373" y="2303"/>
                  </a:lnTo>
                  <a:lnTo>
                    <a:pt x="1359" y="2301"/>
                  </a:lnTo>
                  <a:lnTo>
                    <a:pt x="1344" y="2301"/>
                  </a:lnTo>
                  <a:lnTo>
                    <a:pt x="1329" y="2299"/>
                  </a:lnTo>
                  <a:lnTo>
                    <a:pt x="1308" y="2301"/>
                  </a:lnTo>
                  <a:lnTo>
                    <a:pt x="1287" y="2303"/>
                  </a:lnTo>
                  <a:lnTo>
                    <a:pt x="1266" y="2305"/>
                  </a:lnTo>
                  <a:lnTo>
                    <a:pt x="1246" y="2310"/>
                  </a:lnTo>
                  <a:lnTo>
                    <a:pt x="1226" y="2316"/>
                  </a:lnTo>
                  <a:lnTo>
                    <a:pt x="1206" y="2322"/>
                  </a:lnTo>
                  <a:lnTo>
                    <a:pt x="1187" y="2330"/>
                  </a:lnTo>
                  <a:lnTo>
                    <a:pt x="1168" y="2338"/>
                  </a:lnTo>
                  <a:lnTo>
                    <a:pt x="1140" y="2351"/>
                  </a:lnTo>
                  <a:lnTo>
                    <a:pt x="1113" y="2367"/>
                  </a:lnTo>
                  <a:lnTo>
                    <a:pt x="1085" y="2382"/>
                  </a:lnTo>
                  <a:lnTo>
                    <a:pt x="1059" y="2398"/>
                  </a:lnTo>
                  <a:lnTo>
                    <a:pt x="1032" y="2416"/>
                  </a:lnTo>
                  <a:lnTo>
                    <a:pt x="1005" y="2434"/>
                  </a:lnTo>
                  <a:lnTo>
                    <a:pt x="979" y="2450"/>
                  </a:lnTo>
                  <a:lnTo>
                    <a:pt x="953" y="2468"/>
                  </a:lnTo>
                  <a:lnTo>
                    <a:pt x="926" y="2484"/>
                  </a:lnTo>
                  <a:lnTo>
                    <a:pt x="900" y="2500"/>
                  </a:lnTo>
                  <a:lnTo>
                    <a:pt x="873" y="2515"/>
                  </a:lnTo>
                  <a:lnTo>
                    <a:pt x="847" y="2528"/>
                  </a:lnTo>
                  <a:lnTo>
                    <a:pt x="820" y="2540"/>
                  </a:lnTo>
                  <a:lnTo>
                    <a:pt x="793" y="2550"/>
                  </a:lnTo>
                  <a:lnTo>
                    <a:pt x="764" y="2558"/>
                  </a:lnTo>
                  <a:lnTo>
                    <a:pt x="736" y="2564"/>
                  </a:lnTo>
                  <a:lnTo>
                    <a:pt x="721" y="2567"/>
                  </a:lnTo>
                  <a:lnTo>
                    <a:pt x="704" y="2568"/>
                  </a:lnTo>
                  <a:lnTo>
                    <a:pt x="689" y="2569"/>
                  </a:lnTo>
                  <a:lnTo>
                    <a:pt x="674" y="2569"/>
                  </a:lnTo>
                  <a:lnTo>
                    <a:pt x="648" y="2569"/>
                  </a:lnTo>
                  <a:lnTo>
                    <a:pt x="623" y="2565"/>
                  </a:lnTo>
                  <a:lnTo>
                    <a:pt x="598" y="2562"/>
                  </a:lnTo>
                  <a:lnTo>
                    <a:pt x="575" y="2556"/>
                  </a:lnTo>
                  <a:lnTo>
                    <a:pt x="552" y="2548"/>
                  </a:lnTo>
                  <a:lnTo>
                    <a:pt x="529" y="2538"/>
                  </a:lnTo>
                  <a:lnTo>
                    <a:pt x="508" y="2528"/>
                  </a:lnTo>
                  <a:lnTo>
                    <a:pt x="487" y="2516"/>
                  </a:lnTo>
                  <a:lnTo>
                    <a:pt x="465" y="2502"/>
                  </a:lnTo>
                  <a:lnTo>
                    <a:pt x="447" y="2488"/>
                  </a:lnTo>
                  <a:lnTo>
                    <a:pt x="428" y="2471"/>
                  </a:lnTo>
                  <a:lnTo>
                    <a:pt x="410" y="2452"/>
                  </a:lnTo>
                  <a:lnTo>
                    <a:pt x="394" y="2434"/>
                  </a:lnTo>
                  <a:lnTo>
                    <a:pt x="377" y="2414"/>
                  </a:lnTo>
                  <a:lnTo>
                    <a:pt x="363" y="2391"/>
                  </a:lnTo>
                  <a:lnTo>
                    <a:pt x="349" y="2369"/>
                  </a:lnTo>
                  <a:lnTo>
                    <a:pt x="332" y="2336"/>
                  </a:lnTo>
                  <a:lnTo>
                    <a:pt x="318" y="2303"/>
                  </a:lnTo>
                  <a:lnTo>
                    <a:pt x="305" y="2268"/>
                  </a:lnTo>
                  <a:lnTo>
                    <a:pt x="295" y="2234"/>
                  </a:lnTo>
                  <a:lnTo>
                    <a:pt x="286" y="2197"/>
                  </a:lnTo>
                  <a:lnTo>
                    <a:pt x="281" y="2162"/>
                  </a:lnTo>
                  <a:lnTo>
                    <a:pt x="278" y="2143"/>
                  </a:lnTo>
                  <a:lnTo>
                    <a:pt x="277" y="2125"/>
                  </a:lnTo>
                  <a:lnTo>
                    <a:pt x="276" y="2108"/>
                  </a:lnTo>
                  <a:lnTo>
                    <a:pt x="275" y="2089"/>
                  </a:lnTo>
                  <a:lnTo>
                    <a:pt x="276" y="2063"/>
                  </a:lnTo>
                  <a:lnTo>
                    <a:pt x="278" y="2037"/>
                  </a:lnTo>
                  <a:lnTo>
                    <a:pt x="282" y="2011"/>
                  </a:lnTo>
                  <a:lnTo>
                    <a:pt x="286" y="1986"/>
                  </a:lnTo>
                  <a:lnTo>
                    <a:pt x="292" y="1960"/>
                  </a:lnTo>
                  <a:lnTo>
                    <a:pt x="301" y="1936"/>
                  </a:lnTo>
                  <a:lnTo>
                    <a:pt x="310" y="1912"/>
                  </a:lnTo>
                  <a:lnTo>
                    <a:pt x="321" y="1889"/>
                  </a:lnTo>
                  <a:lnTo>
                    <a:pt x="326" y="1876"/>
                  </a:lnTo>
                  <a:lnTo>
                    <a:pt x="334" y="1863"/>
                  </a:lnTo>
                  <a:lnTo>
                    <a:pt x="342" y="1851"/>
                  </a:lnTo>
                  <a:lnTo>
                    <a:pt x="350" y="1839"/>
                  </a:lnTo>
                  <a:lnTo>
                    <a:pt x="359" y="1829"/>
                  </a:lnTo>
                  <a:lnTo>
                    <a:pt x="369" y="1818"/>
                  </a:lnTo>
                  <a:lnTo>
                    <a:pt x="378" y="1807"/>
                  </a:lnTo>
                  <a:lnTo>
                    <a:pt x="389" y="1798"/>
                  </a:lnTo>
                  <a:lnTo>
                    <a:pt x="399" y="1789"/>
                  </a:lnTo>
                  <a:lnTo>
                    <a:pt x="410" y="1780"/>
                  </a:lnTo>
                  <a:lnTo>
                    <a:pt x="422" y="1771"/>
                  </a:lnTo>
                  <a:lnTo>
                    <a:pt x="434" y="1764"/>
                  </a:lnTo>
                  <a:lnTo>
                    <a:pt x="445" y="1757"/>
                  </a:lnTo>
                  <a:lnTo>
                    <a:pt x="458" y="1750"/>
                  </a:lnTo>
                  <a:lnTo>
                    <a:pt x="471" y="1744"/>
                  </a:lnTo>
                  <a:lnTo>
                    <a:pt x="484" y="1738"/>
                  </a:lnTo>
                  <a:lnTo>
                    <a:pt x="484" y="1738"/>
                  </a:lnTo>
                  <a:lnTo>
                    <a:pt x="503" y="1730"/>
                  </a:lnTo>
                  <a:lnTo>
                    <a:pt x="522" y="1721"/>
                  </a:lnTo>
                  <a:lnTo>
                    <a:pt x="541" y="1713"/>
                  </a:lnTo>
                  <a:lnTo>
                    <a:pt x="558" y="1704"/>
                  </a:lnTo>
                  <a:lnTo>
                    <a:pt x="565" y="1698"/>
                  </a:lnTo>
                  <a:lnTo>
                    <a:pt x="574" y="1692"/>
                  </a:lnTo>
                  <a:lnTo>
                    <a:pt x="581" y="1686"/>
                  </a:lnTo>
                  <a:lnTo>
                    <a:pt x="587" y="1679"/>
                  </a:lnTo>
                  <a:lnTo>
                    <a:pt x="593" y="1671"/>
                  </a:lnTo>
                  <a:lnTo>
                    <a:pt x="597" y="1661"/>
                  </a:lnTo>
                  <a:lnTo>
                    <a:pt x="600" y="1652"/>
                  </a:lnTo>
                  <a:lnTo>
                    <a:pt x="601" y="1641"/>
                  </a:lnTo>
                  <a:lnTo>
                    <a:pt x="600" y="1633"/>
                  </a:lnTo>
                  <a:lnTo>
                    <a:pt x="598" y="1625"/>
                  </a:lnTo>
                  <a:lnTo>
                    <a:pt x="595" y="1617"/>
                  </a:lnTo>
                  <a:lnTo>
                    <a:pt x="591" y="1608"/>
                  </a:lnTo>
                  <a:lnTo>
                    <a:pt x="587" y="1600"/>
                  </a:lnTo>
                  <a:lnTo>
                    <a:pt x="581" y="1592"/>
                  </a:lnTo>
                  <a:lnTo>
                    <a:pt x="575" y="1584"/>
                  </a:lnTo>
                  <a:lnTo>
                    <a:pt x="567" y="1575"/>
                  </a:lnTo>
                  <a:lnTo>
                    <a:pt x="567" y="1575"/>
                  </a:lnTo>
                  <a:lnTo>
                    <a:pt x="541" y="1550"/>
                  </a:lnTo>
                  <a:lnTo>
                    <a:pt x="514" y="1524"/>
                  </a:lnTo>
                  <a:lnTo>
                    <a:pt x="485" y="1499"/>
                  </a:lnTo>
                  <a:lnTo>
                    <a:pt x="458" y="1475"/>
                  </a:lnTo>
                  <a:lnTo>
                    <a:pt x="430" y="1451"/>
                  </a:lnTo>
                  <a:lnTo>
                    <a:pt x="403" y="1427"/>
                  </a:lnTo>
                  <a:lnTo>
                    <a:pt x="376" y="1404"/>
                  </a:lnTo>
                  <a:lnTo>
                    <a:pt x="349" y="1380"/>
                  </a:lnTo>
                  <a:lnTo>
                    <a:pt x="322" y="1355"/>
                  </a:lnTo>
                  <a:lnTo>
                    <a:pt x="296" y="1332"/>
                  </a:lnTo>
                  <a:lnTo>
                    <a:pt x="270" y="1306"/>
                  </a:lnTo>
                  <a:lnTo>
                    <a:pt x="246" y="1280"/>
                  </a:lnTo>
                  <a:lnTo>
                    <a:pt x="223" y="1254"/>
                  </a:lnTo>
                  <a:lnTo>
                    <a:pt x="201" y="1226"/>
                  </a:lnTo>
                  <a:lnTo>
                    <a:pt x="179" y="1196"/>
                  </a:lnTo>
                  <a:lnTo>
                    <a:pt x="159" y="1166"/>
                  </a:lnTo>
                  <a:lnTo>
                    <a:pt x="148" y="1147"/>
                  </a:lnTo>
                  <a:lnTo>
                    <a:pt x="137" y="1127"/>
                  </a:lnTo>
                  <a:lnTo>
                    <a:pt x="126" y="1107"/>
                  </a:lnTo>
                  <a:lnTo>
                    <a:pt x="116" y="1085"/>
                  </a:lnTo>
                  <a:lnTo>
                    <a:pt x="105" y="1062"/>
                  </a:lnTo>
                  <a:lnTo>
                    <a:pt x="96" y="1039"/>
                  </a:lnTo>
                  <a:lnTo>
                    <a:pt x="86" y="1015"/>
                  </a:lnTo>
                  <a:lnTo>
                    <a:pt x="78" y="992"/>
                  </a:lnTo>
                  <a:lnTo>
                    <a:pt x="70" y="967"/>
                  </a:lnTo>
                  <a:lnTo>
                    <a:pt x="63" y="942"/>
                  </a:lnTo>
                  <a:lnTo>
                    <a:pt x="57" y="916"/>
                  </a:lnTo>
                  <a:lnTo>
                    <a:pt x="52" y="892"/>
                  </a:lnTo>
                  <a:lnTo>
                    <a:pt x="47" y="867"/>
                  </a:lnTo>
                  <a:lnTo>
                    <a:pt x="44" y="841"/>
                  </a:lnTo>
                  <a:lnTo>
                    <a:pt x="43" y="816"/>
                  </a:lnTo>
                  <a:lnTo>
                    <a:pt x="42" y="791"/>
                  </a:lnTo>
                  <a:lnTo>
                    <a:pt x="43" y="763"/>
                  </a:lnTo>
                  <a:lnTo>
                    <a:pt x="45" y="736"/>
                  </a:lnTo>
                  <a:lnTo>
                    <a:pt x="50" y="710"/>
                  </a:lnTo>
                  <a:lnTo>
                    <a:pt x="57" y="684"/>
                  </a:lnTo>
                  <a:lnTo>
                    <a:pt x="62" y="671"/>
                  </a:lnTo>
                  <a:lnTo>
                    <a:pt x="66" y="660"/>
                  </a:lnTo>
                  <a:lnTo>
                    <a:pt x="71" y="648"/>
                  </a:lnTo>
                  <a:lnTo>
                    <a:pt x="77" y="636"/>
                  </a:lnTo>
                  <a:lnTo>
                    <a:pt x="84" y="624"/>
                  </a:lnTo>
                  <a:lnTo>
                    <a:pt x="91" y="614"/>
                  </a:lnTo>
                  <a:lnTo>
                    <a:pt x="98" y="603"/>
                  </a:lnTo>
                  <a:lnTo>
                    <a:pt x="106" y="593"/>
                  </a:lnTo>
                  <a:lnTo>
                    <a:pt x="116" y="583"/>
                  </a:lnTo>
                  <a:lnTo>
                    <a:pt x="125" y="574"/>
                  </a:lnTo>
                  <a:lnTo>
                    <a:pt x="136" y="565"/>
                  </a:lnTo>
                  <a:lnTo>
                    <a:pt x="146" y="558"/>
                  </a:lnTo>
                  <a:lnTo>
                    <a:pt x="157" y="551"/>
                  </a:lnTo>
                  <a:lnTo>
                    <a:pt x="169" y="545"/>
                  </a:lnTo>
                  <a:lnTo>
                    <a:pt x="182" y="540"/>
                  </a:lnTo>
                  <a:lnTo>
                    <a:pt x="193" y="535"/>
                  </a:lnTo>
                  <a:lnTo>
                    <a:pt x="208" y="531"/>
                  </a:lnTo>
                  <a:lnTo>
                    <a:pt x="221" y="528"/>
                  </a:lnTo>
                  <a:lnTo>
                    <a:pt x="235" y="524"/>
                  </a:lnTo>
                  <a:lnTo>
                    <a:pt x="250" y="522"/>
                  </a:lnTo>
                  <a:lnTo>
                    <a:pt x="279" y="520"/>
                  </a:lnTo>
                  <a:lnTo>
                    <a:pt x="311" y="518"/>
                  </a:lnTo>
                  <a:lnTo>
                    <a:pt x="336" y="518"/>
                  </a:lnTo>
                  <a:lnTo>
                    <a:pt x="362" y="521"/>
                  </a:lnTo>
                  <a:lnTo>
                    <a:pt x="388" y="523"/>
                  </a:lnTo>
                  <a:lnTo>
                    <a:pt x="415" y="527"/>
                  </a:lnTo>
                  <a:lnTo>
                    <a:pt x="441" y="530"/>
                  </a:lnTo>
                  <a:lnTo>
                    <a:pt x="468" y="535"/>
                  </a:lnTo>
                  <a:lnTo>
                    <a:pt x="494" y="541"/>
                  </a:lnTo>
                  <a:lnTo>
                    <a:pt x="520" y="547"/>
                  </a:lnTo>
                  <a:lnTo>
                    <a:pt x="545" y="553"/>
                  </a:lnTo>
                  <a:lnTo>
                    <a:pt x="570" y="558"/>
                  </a:lnTo>
                  <a:lnTo>
                    <a:pt x="595" y="564"/>
                  </a:lnTo>
                  <a:lnTo>
                    <a:pt x="618" y="571"/>
                  </a:lnTo>
                  <a:lnTo>
                    <a:pt x="642" y="577"/>
                  </a:lnTo>
                  <a:lnTo>
                    <a:pt x="664" y="583"/>
                  </a:lnTo>
                  <a:lnTo>
                    <a:pt x="684" y="588"/>
                  </a:lnTo>
                  <a:lnTo>
                    <a:pt x="704" y="593"/>
                  </a:lnTo>
                  <a:lnTo>
                    <a:pt x="727" y="598"/>
                  </a:lnTo>
                  <a:lnTo>
                    <a:pt x="748" y="602"/>
                  </a:lnTo>
                  <a:lnTo>
                    <a:pt x="770" y="605"/>
                  </a:lnTo>
                  <a:lnTo>
                    <a:pt x="791" y="607"/>
                  </a:lnTo>
                  <a:lnTo>
                    <a:pt x="808" y="605"/>
                  </a:lnTo>
                  <a:lnTo>
                    <a:pt x="824" y="603"/>
                  </a:lnTo>
                  <a:lnTo>
                    <a:pt x="840" y="598"/>
                  </a:lnTo>
                  <a:lnTo>
                    <a:pt x="855" y="591"/>
                  </a:lnTo>
                  <a:lnTo>
                    <a:pt x="863" y="587"/>
                  </a:lnTo>
                  <a:lnTo>
                    <a:pt x="870" y="582"/>
                  </a:lnTo>
                  <a:lnTo>
                    <a:pt x="879" y="576"/>
                  </a:lnTo>
                  <a:lnTo>
                    <a:pt x="886" y="570"/>
                  </a:lnTo>
                  <a:lnTo>
                    <a:pt x="899" y="556"/>
                  </a:lnTo>
                  <a:lnTo>
                    <a:pt x="913" y="538"/>
                  </a:lnTo>
                  <a:lnTo>
                    <a:pt x="928" y="516"/>
                  </a:lnTo>
                  <a:lnTo>
                    <a:pt x="943" y="492"/>
                  </a:lnTo>
                  <a:lnTo>
                    <a:pt x="959" y="469"/>
                  </a:lnTo>
                  <a:lnTo>
                    <a:pt x="973" y="444"/>
                  </a:lnTo>
                  <a:lnTo>
                    <a:pt x="973" y="444"/>
                  </a:lnTo>
                  <a:lnTo>
                    <a:pt x="988" y="418"/>
                  </a:lnTo>
                  <a:lnTo>
                    <a:pt x="1005" y="394"/>
                  </a:lnTo>
                  <a:lnTo>
                    <a:pt x="1021" y="369"/>
                  </a:lnTo>
                  <a:lnTo>
                    <a:pt x="1038" y="344"/>
                  </a:lnTo>
                  <a:lnTo>
                    <a:pt x="1056" y="321"/>
                  </a:lnTo>
                  <a:lnTo>
                    <a:pt x="1074" y="298"/>
                  </a:lnTo>
                  <a:lnTo>
                    <a:pt x="1094" y="275"/>
                  </a:lnTo>
                  <a:lnTo>
                    <a:pt x="1114" y="251"/>
                  </a:lnTo>
                  <a:lnTo>
                    <a:pt x="1138" y="225"/>
                  </a:lnTo>
                  <a:lnTo>
                    <a:pt x="1162" y="198"/>
                  </a:lnTo>
                  <a:lnTo>
                    <a:pt x="1188" y="173"/>
                  </a:lnTo>
                  <a:lnTo>
                    <a:pt x="1215" y="149"/>
                  </a:lnTo>
                  <a:lnTo>
                    <a:pt x="1244" y="125"/>
                  </a:lnTo>
                  <a:lnTo>
                    <a:pt x="1273" y="104"/>
                  </a:lnTo>
                  <a:lnTo>
                    <a:pt x="1287" y="95"/>
                  </a:lnTo>
                  <a:lnTo>
                    <a:pt x="1302" y="86"/>
                  </a:lnTo>
                  <a:lnTo>
                    <a:pt x="1318" y="78"/>
                  </a:lnTo>
                  <a:lnTo>
                    <a:pt x="1333" y="70"/>
                  </a:lnTo>
                  <a:lnTo>
                    <a:pt x="1349" y="64"/>
                  </a:lnTo>
                  <a:lnTo>
                    <a:pt x="1366" y="58"/>
                  </a:lnTo>
                  <a:lnTo>
                    <a:pt x="1381" y="52"/>
                  </a:lnTo>
                  <a:lnTo>
                    <a:pt x="1395" y="49"/>
                  </a:lnTo>
                  <a:lnTo>
                    <a:pt x="1410" y="46"/>
                  </a:lnTo>
                  <a:lnTo>
                    <a:pt x="1424" y="44"/>
                  </a:lnTo>
                  <a:lnTo>
                    <a:pt x="1438" y="43"/>
                  </a:lnTo>
                  <a:lnTo>
                    <a:pt x="1451" y="43"/>
                  </a:lnTo>
                  <a:lnTo>
                    <a:pt x="1470" y="43"/>
                  </a:lnTo>
                  <a:lnTo>
                    <a:pt x="1487" y="45"/>
                  </a:lnTo>
                  <a:lnTo>
                    <a:pt x="1505" y="50"/>
                  </a:lnTo>
                  <a:lnTo>
                    <a:pt x="1521" y="55"/>
                  </a:lnTo>
                  <a:lnTo>
                    <a:pt x="1538" y="62"/>
                  </a:lnTo>
                  <a:lnTo>
                    <a:pt x="1554" y="70"/>
                  </a:lnTo>
                  <a:lnTo>
                    <a:pt x="1570" y="79"/>
                  </a:lnTo>
                  <a:lnTo>
                    <a:pt x="1585" y="90"/>
                  </a:lnTo>
                  <a:lnTo>
                    <a:pt x="1607" y="108"/>
                  </a:lnTo>
                  <a:lnTo>
                    <a:pt x="1630" y="128"/>
                  </a:lnTo>
                  <a:lnTo>
                    <a:pt x="1651" y="149"/>
                  </a:lnTo>
                  <a:lnTo>
                    <a:pt x="1672" y="172"/>
                  </a:lnTo>
                  <a:lnTo>
                    <a:pt x="1693" y="198"/>
                  </a:lnTo>
                  <a:lnTo>
                    <a:pt x="1713" y="223"/>
                  </a:lnTo>
                  <a:lnTo>
                    <a:pt x="1734" y="250"/>
                  </a:lnTo>
                  <a:lnTo>
                    <a:pt x="1754" y="277"/>
                  </a:lnTo>
                  <a:lnTo>
                    <a:pt x="1776" y="303"/>
                  </a:lnTo>
                  <a:lnTo>
                    <a:pt x="1798" y="330"/>
                  </a:lnTo>
                  <a:lnTo>
                    <a:pt x="1819" y="355"/>
                  </a:lnTo>
                  <a:lnTo>
                    <a:pt x="1843" y="379"/>
                  </a:lnTo>
                  <a:lnTo>
                    <a:pt x="1866" y="403"/>
                  </a:lnTo>
                  <a:lnTo>
                    <a:pt x="1891" y="424"/>
                  </a:lnTo>
                  <a:lnTo>
                    <a:pt x="1904" y="435"/>
                  </a:lnTo>
                  <a:lnTo>
                    <a:pt x="1918" y="444"/>
                  </a:lnTo>
                  <a:lnTo>
                    <a:pt x="1931" y="452"/>
                  </a:lnTo>
                  <a:lnTo>
                    <a:pt x="1945" y="461"/>
                  </a:lnTo>
                  <a:lnTo>
                    <a:pt x="1958" y="467"/>
                  </a:lnTo>
                  <a:lnTo>
                    <a:pt x="1970" y="471"/>
                  </a:lnTo>
                  <a:lnTo>
                    <a:pt x="1982" y="476"/>
                  </a:lnTo>
                  <a:lnTo>
                    <a:pt x="1993" y="480"/>
                  </a:lnTo>
                  <a:lnTo>
                    <a:pt x="2005" y="482"/>
                  </a:lnTo>
                  <a:lnTo>
                    <a:pt x="2017" y="484"/>
                  </a:lnTo>
                  <a:lnTo>
                    <a:pt x="2029" y="484"/>
                  </a:lnTo>
                  <a:lnTo>
                    <a:pt x="2041" y="485"/>
                  </a:lnTo>
                  <a:lnTo>
                    <a:pt x="2053" y="484"/>
                  </a:lnTo>
                  <a:lnTo>
                    <a:pt x="2066" y="483"/>
                  </a:lnTo>
                  <a:lnTo>
                    <a:pt x="2079" y="482"/>
                  </a:lnTo>
                  <a:lnTo>
                    <a:pt x="2092" y="480"/>
                  </a:lnTo>
                  <a:lnTo>
                    <a:pt x="2117" y="474"/>
                  </a:lnTo>
                  <a:lnTo>
                    <a:pt x="2141" y="467"/>
                  </a:lnTo>
                  <a:lnTo>
                    <a:pt x="2165" y="457"/>
                  </a:lnTo>
                  <a:lnTo>
                    <a:pt x="2189" y="449"/>
                  </a:lnTo>
                  <a:lnTo>
                    <a:pt x="2212" y="441"/>
                  </a:lnTo>
                  <a:lnTo>
                    <a:pt x="2236" y="432"/>
                  </a:lnTo>
                  <a:lnTo>
                    <a:pt x="2270" y="422"/>
                  </a:lnTo>
                  <a:lnTo>
                    <a:pt x="2305" y="411"/>
                  </a:lnTo>
                  <a:lnTo>
                    <a:pt x="2341" y="401"/>
                  </a:lnTo>
                  <a:lnTo>
                    <a:pt x="2377" y="392"/>
                  </a:lnTo>
                  <a:lnTo>
                    <a:pt x="2413" y="384"/>
                  </a:lnTo>
                  <a:lnTo>
                    <a:pt x="2448" y="379"/>
                  </a:lnTo>
                  <a:lnTo>
                    <a:pt x="2484" y="376"/>
                  </a:lnTo>
                  <a:lnTo>
                    <a:pt x="2520" y="375"/>
                  </a:lnTo>
                  <a:lnTo>
                    <a:pt x="2533" y="375"/>
                  </a:lnTo>
                  <a:lnTo>
                    <a:pt x="2547" y="375"/>
                  </a:lnTo>
                  <a:lnTo>
                    <a:pt x="2547" y="375"/>
                  </a:lnTo>
                  <a:lnTo>
                    <a:pt x="2562" y="376"/>
                  </a:lnTo>
                  <a:lnTo>
                    <a:pt x="2577" y="378"/>
                  </a:lnTo>
                  <a:lnTo>
                    <a:pt x="2593" y="381"/>
                  </a:lnTo>
                  <a:lnTo>
                    <a:pt x="2607" y="383"/>
                  </a:lnTo>
                  <a:lnTo>
                    <a:pt x="2621" y="387"/>
                  </a:lnTo>
                  <a:lnTo>
                    <a:pt x="2634" y="391"/>
                  </a:lnTo>
                  <a:lnTo>
                    <a:pt x="2647" y="395"/>
                  </a:lnTo>
                  <a:lnTo>
                    <a:pt x="2660" y="401"/>
                  </a:lnTo>
                  <a:lnTo>
                    <a:pt x="2673" y="405"/>
                  </a:lnTo>
                  <a:lnTo>
                    <a:pt x="2684" y="412"/>
                  </a:lnTo>
                  <a:lnTo>
                    <a:pt x="2696" y="418"/>
                  </a:lnTo>
                  <a:lnTo>
                    <a:pt x="2707" y="425"/>
                  </a:lnTo>
                  <a:lnTo>
                    <a:pt x="2717" y="434"/>
                  </a:lnTo>
                  <a:lnTo>
                    <a:pt x="2728" y="442"/>
                  </a:lnTo>
                  <a:lnTo>
                    <a:pt x="2737" y="450"/>
                  </a:lnTo>
                  <a:lnTo>
                    <a:pt x="2747" y="458"/>
                  </a:lnTo>
                  <a:lnTo>
                    <a:pt x="2756" y="468"/>
                  </a:lnTo>
                  <a:lnTo>
                    <a:pt x="2765" y="478"/>
                  </a:lnTo>
                  <a:lnTo>
                    <a:pt x="2773" y="489"/>
                  </a:lnTo>
                  <a:lnTo>
                    <a:pt x="2780" y="500"/>
                  </a:lnTo>
                  <a:lnTo>
                    <a:pt x="2787" y="510"/>
                  </a:lnTo>
                  <a:lnTo>
                    <a:pt x="2794" y="522"/>
                  </a:lnTo>
                  <a:lnTo>
                    <a:pt x="2800" y="534"/>
                  </a:lnTo>
                  <a:lnTo>
                    <a:pt x="2806" y="547"/>
                  </a:lnTo>
                  <a:lnTo>
                    <a:pt x="2816" y="573"/>
                  </a:lnTo>
                  <a:lnTo>
                    <a:pt x="2825" y="601"/>
                  </a:lnTo>
                  <a:lnTo>
                    <a:pt x="2830" y="630"/>
                  </a:lnTo>
                  <a:lnTo>
                    <a:pt x="2835" y="661"/>
                  </a:lnTo>
                  <a:lnTo>
                    <a:pt x="2838" y="689"/>
                  </a:lnTo>
                  <a:lnTo>
                    <a:pt x="2840" y="717"/>
                  </a:lnTo>
                  <a:lnTo>
                    <a:pt x="2841" y="744"/>
                  </a:lnTo>
                  <a:lnTo>
                    <a:pt x="2841" y="773"/>
                  </a:lnTo>
                  <a:lnTo>
                    <a:pt x="2841" y="808"/>
                  </a:lnTo>
                  <a:lnTo>
                    <a:pt x="2839" y="843"/>
                  </a:lnTo>
                  <a:lnTo>
                    <a:pt x="2835" y="877"/>
                  </a:lnTo>
                  <a:lnTo>
                    <a:pt x="2830" y="913"/>
                  </a:lnTo>
                  <a:lnTo>
                    <a:pt x="2826" y="947"/>
                  </a:lnTo>
                  <a:lnTo>
                    <a:pt x="2818" y="980"/>
                  </a:lnTo>
                  <a:lnTo>
                    <a:pt x="2809" y="1014"/>
                  </a:lnTo>
                  <a:lnTo>
                    <a:pt x="2800" y="1047"/>
                  </a:lnTo>
                  <a:lnTo>
                    <a:pt x="2788" y="1079"/>
                  </a:lnTo>
                  <a:lnTo>
                    <a:pt x="2776" y="1112"/>
                  </a:lnTo>
                  <a:lnTo>
                    <a:pt x="2762" y="1143"/>
                  </a:lnTo>
                  <a:lnTo>
                    <a:pt x="2747" y="1174"/>
                  </a:lnTo>
                  <a:lnTo>
                    <a:pt x="2729" y="1206"/>
                  </a:lnTo>
                  <a:lnTo>
                    <a:pt x="2710" y="1235"/>
                  </a:lnTo>
                  <a:lnTo>
                    <a:pt x="2692" y="1266"/>
                  </a:lnTo>
                  <a:lnTo>
                    <a:pt x="2669" y="1295"/>
                  </a:lnTo>
                  <a:lnTo>
                    <a:pt x="2649" y="1321"/>
                  </a:lnTo>
                  <a:lnTo>
                    <a:pt x="2627" y="1349"/>
                  </a:lnTo>
                  <a:lnTo>
                    <a:pt x="2603" y="1379"/>
                  </a:lnTo>
                  <a:lnTo>
                    <a:pt x="2581" y="1409"/>
                  </a:lnTo>
                  <a:lnTo>
                    <a:pt x="2570" y="1425"/>
                  </a:lnTo>
                  <a:lnTo>
                    <a:pt x="2561" y="1441"/>
                  </a:lnTo>
                  <a:lnTo>
                    <a:pt x="2553" y="1459"/>
                  </a:lnTo>
                  <a:lnTo>
                    <a:pt x="2544" y="1477"/>
                  </a:lnTo>
                  <a:lnTo>
                    <a:pt x="2537" y="1494"/>
                  </a:lnTo>
                  <a:lnTo>
                    <a:pt x="2533" y="1513"/>
                  </a:lnTo>
                  <a:lnTo>
                    <a:pt x="2529" y="1532"/>
                  </a:lnTo>
                  <a:lnTo>
                    <a:pt x="2527" y="1551"/>
                  </a:lnTo>
                  <a:lnTo>
                    <a:pt x="2527" y="1558"/>
                  </a:lnTo>
                  <a:lnTo>
                    <a:pt x="2527" y="1565"/>
                  </a:lnTo>
                  <a:lnTo>
                    <a:pt x="2527" y="1579"/>
                  </a:lnTo>
                  <a:lnTo>
                    <a:pt x="2528" y="1593"/>
                  </a:lnTo>
                  <a:lnTo>
                    <a:pt x="2529" y="1608"/>
                  </a:lnTo>
                  <a:lnTo>
                    <a:pt x="2531" y="1623"/>
                  </a:lnTo>
                  <a:lnTo>
                    <a:pt x="2539" y="1650"/>
                  </a:lnTo>
                  <a:lnTo>
                    <a:pt x="2547" y="1677"/>
                  </a:lnTo>
                  <a:lnTo>
                    <a:pt x="2556" y="1704"/>
                  </a:lnTo>
                  <a:lnTo>
                    <a:pt x="2568" y="1730"/>
                  </a:lnTo>
                  <a:lnTo>
                    <a:pt x="2581" y="1756"/>
                  </a:lnTo>
                  <a:lnTo>
                    <a:pt x="2596" y="1780"/>
                  </a:lnTo>
                  <a:lnTo>
                    <a:pt x="2612" y="1805"/>
                  </a:lnTo>
                  <a:lnTo>
                    <a:pt x="2627" y="1829"/>
                  </a:lnTo>
                  <a:lnTo>
                    <a:pt x="2643" y="1852"/>
                  </a:lnTo>
                  <a:lnTo>
                    <a:pt x="2661" y="1874"/>
                  </a:lnTo>
                  <a:lnTo>
                    <a:pt x="2677" y="1897"/>
                  </a:lnTo>
                  <a:lnTo>
                    <a:pt x="2695" y="1918"/>
                  </a:lnTo>
                  <a:lnTo>
                    <a:pt x="2712" y="1939"/>
                  </a:lnTo>
                  <a:lnTo>
                    <a:pt x="2728" y="1959"/>
                  </a:lnTo>
                  <a:lnTo>
                    <a:pt x="2728" y="1959"/>
                  </a:lnTo>
                  <a:lnTo>
                    <a:pt x="2745" y="1946"/>
                  </a:lnTo>
                  <a:close/>
                </a:path>
              </a:pathLst>
            </a:custGeom>
            <a:solidFill>
              <a:srgbClr val="574D48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6653" tIns="58327" rIns="116653" bIns="58327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434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137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45" name="Freeform 115"/>
            <p:cNvSpPr>
              <a:spLocks/>
            </p:cNvSpPr>
            <p:nvPr/>
          </p:nvSpPr>
          <p:spPr bwMode="auto">
            <a:xfrm>
              <a:off x="4303" y="2047"/>
              <a:ext cx="22" cy="22"/>
            </a:xfrm>
            <a:custGeom>
              <a:avLst/>
              <a:gdLst>
                <a:gd name="T0" fmla="*/ 43 w 86"/>
                <a:gd name="T1" fmla="*/ 87 h 87"/>
                <a:gd name="T2" fmla="*/ 35 w 86"/>
                <a:gd name="T3" fmla="*/ 86 h 87"/>
                <a:gd name="T4" fmla="*/ 26 w 86"/>
                <a:gd name="T5" fmla="*/ 84 h 87"/>
                <a:gd name="T6" fmla="*/ 19 w 86"/>
                <a:gd name="T7" fmla="*/ 80 h 87"/>
                <a:gd name="T8" fmla="*/ 13 w 86"/>
                <a:gd name="T9" fmla="*/ 74 h 87"/>
                <a:gd name="T10" fmla="*/ 8 w 86"/>
                <a:gd name="T11" fmla="*/ 69 h 87"/>
                <a:gd name="T12" fmla="*/ 4 w 86"/>
                <a:gd name="T13" fmla="*/ 60 h 87"/>
                <a:gd name="T14" fmla="*/ 2 w 86"/>
                <a:gd name="T15" fmla="*/ 53 h 87"/>
                <a:gd name="T16" fmla="*/ 0 w 86"/>
                <a:gd name="T17" fmla="*/ 44 h 87"/>
                <a:gd name="T18" fmla="*/ 2 w 86"/>
                <a:gd name="T19" fmla="*/ 36 h 87"/>
                <a:gd name="T20" fmla="*/ 4 w 86"/>
                <a:gd name="T21" fmla="*/ 27 h 87"/>
                <a:gd name="T22" fmla="*/ 8 w 86"/>
                <a:gd name="T23" fmla="*/ 20 h 87"/>
                <a:gd name="T24" fmla="*/ 12 w 86"/>
                <a:gd name="T25" fmla="*/ 13 h 87"/>
                <a:gd name="T26" fmla="*/ 19 w 86"/>
                <a:gd name="T27" fmla="*/ 8 h 87"/>
                <a:gd name="T28" fmla="*/ 26 w 86"/>
                <a:gd name="T29" fmla="*/ 4 h 87"/>
                <a:gd name="T30" fmla="*/ 35 w 86"/>
                <a:gd name="T31" fmla="*/ 1 h 87"/>
                <a:gd name="T32" fmla="*/ 43 w 86"/>
                <a:gd name="T33" fmla="*/ 0 h 87"/>
                <a:gd name="T34" fmla="*/ 43 w 86"/>
                <a:gd name="T35" fmla="*/ 0 h 87"/>
                <a:gd name="T36" fmla="*/ 43 w 86"/>
                <a:gd name="T37" fmla="*/ 0 h 87"/>
                <a:gd name="T38" fmla="*/ 52 w 86"/>
                <a:gd name="T39" fmla="*/ 1 h 87"/>
                <a:gd name="T40" fmla="*/ 59 w 86"/>
                <a:gd name="T41" fmla="*/ 4 h 87"/>
                <a:gd name="T42" fmla="*/ 68 w 86"/>
                <a:gd name="T43" fmla="*/ 8 h 87"/>
                <a:gd name="T44" fmla="*/ 73 w 86"/>
                <a:gd name="T45" fmla="*/ 13 h 87"/>
                <a:gd name="T46" fmla="*/ 78 w 86"/>
                <a:gd name="T47" fmla="*/ 19 h 87"/>
                <a:gd name="T48" fmla="*/ 83 w 86"/>
                <a:gd name="T49" fmla="*/ 27 h 87"/>
                <a:gd name="T50" fmla="*/ 85 w 86"/>
                <a:gd name="T51" fmla="*/ 36 h 87"/>
                <a:gd name="T52" fmla="*/ 86 w 86"/>
                <a:gd name="T53" fmla="*/ 44 h 87"/>
                <a:gd name="T54" fmla="*/ 85 w 86"/>
                <a:gd name="T55" fmla="*/ 52 h 87"/>
                <a:gd name="T56" fmla="*/ 83 w 86"/>
                <a:gd name="T57" fmla="*/ 60 h 87"/>
                <a:gd name="T58" fmla="*/ 79 w 86"/>
                <a:gd name="T59" fmla="*/ 69 h 87"/>
                <a:gd name="T60" fmla="*/ 73 w 86"/>
                <a:gd name="T61" fmla="*/ 74 h 87"/>
                <a:gd name="T62" fmla="*/ 68 w 86"/>
                <a:gd name="T63" fmla="*/ 80 h 87"/>
                <a:gd name="T64" fmla="*/ 60 w 86"/>
                <a:gd name="T65" fmla="*/ 84 h 87"/>
                <a:gd name="T66" fmla="*/ 52 w 86"/>
                <a:gd name="T67" fmla="*/ 86 h 87"/>
                <a:gd name="T68" fmla="*/ 43 w 86"/>
                <a:gd name="T69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86" h="87">
                  <a:moveTo>
                    <a:pt x="43" y="87"/>
                  </a:moveTo>
                  <a:lnTo>
                    <a:pt x="35" y="86"/>
                  </a:lnTo>
                  <a:lnTo>
                    <a:pt x="26" y="84"/>
                  </a:lnTo>
                  <a:lnTo>
                    <a:pt x="19" y="80"/>
                  </a:lnTo>
                  <a:lnTo>
                    <a:pt x="13" y="74"/>
                  </a:lnTo>
                  <a:lnTo>
                    <a:pt x="8" y="69"/>
                  </a:lnTo>
                  <a:lnTo>
                    <a:pt x="4" y="60"/>
                  </a:lnTo>
                  <a:lnTo>
                    <a:pt x="2" y="53"/>
                  </a:lnTo>
                  <a:lnTo>
                    <a:pt x="0" y="44"/>
                  </a:lnTo>
                  <a:lnTo>
                    <a:pt x="2" y="36"/>
                  </a:lnTo>
                  <a:lnTo>
                    <a:pt x="4" y="27"/>
                  </a:lnTo>
                  <a:lnTo>
                    <a:pt x="8" y="20"/>
                  </a:lnTo>
                  <a:lnTo>
                    <a:pt x="12" y="13"/>
                  </a:lnTo>
                  <a:lnTo>
                    <a:pt x="19" y="8"/>
                  </a:lnTo>
                  <a:lnTo>
                    <a:pt x="26" y="4"/>
                  </a:lnTo>
                  <a:lnTo>
                    <a:pt x="35" y="1"/>
                  </a:lnTo>
                  <a:lnTo>
                    <a:pt x="43" y="0"/>
                  </a:lnTo>
                  <a:lnTo>
                    <a:pt x="43" y="0"/>
                  </a:lnTo>
                  <a:lnTo>
                    <a:pt x="43" y="0"/>
                  </a:lnTo>
                  <a:lnTo>
                    <a:pt x="52" y="1"/>
                  </a:lnTo>
                  <a:lnTo>
                    <a:pt x="59" y="4"/>
                  </a:lnTo>
                  <a:lnTo>
                    <a:pt x="68" y="8"/>
                  </a:lnTo>
                  <a:lnTo>
                    <a:pt x="73" y="13"/>
                  </a:lnTo>
                  <a:lnTo>
                    <a:pt x="78" y="19"/>
                  </a:lnTo>
                  <a:lnTo>
                    <a:pt x="83" y="27"/>
                  </a:lnTo>
                  <a:lnTo>
                    <a:pt x="85" y="36"/>
                  </a:lnTo>
                  <a:lnTo>
                    <a:pt x="86" y="44"/>
                  </a:lnTo>
                  <a:lnTo>
                    <a:pt x="85" y="52"/>
                  </a:lnTo>
                  <a:lnTo>
                    <a:pt x="83" y="60"/>
                  </a:lnTo>
                  <a:lnTo>
                    <a:pt x="79" y="69"/>
                  </a:lnTo>
                  <a:lnTo>
                    <a:pt x="73" y="74"/>
                  </a:lnTo>
                  <a:lnTo>
                    <a:pt x="68" y="80"/>
                  </a:lnTo>
                  <a:lnTo>
                    <a:pt x="60" y="84"/>
                  </a:lnTo>
                  <a:lnTo>
                    <a:pt x="52" y="86"/>
                  </a:lnTo>
                  <a:lnTo>
                    <a:pt x="43" y="87"/>
                  </a:lnTo>
                  <a:close/>
                </a:path>
              </a:pathLst>
            </a:custGeom>
            <a:solidFill>
              <a:srgbClr val="D0C5AC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6653" tIns="58327" rIns="116653" bIns="58327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434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137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46" name="Freeform 116"/>
            <p:cNvSpPr>
              <a:spLocks/>
            </p:cNvSpPr>
            <p:nvPr/>
          </p:nvSpPr>
          <p:spPr bwMode="auto">
            <a:xfrm>
              <a:off x="4012" y="2047"/>
              <a:ext cx="22" cy="22"/>
            </a:xfrm>
            <a:custGeom>
              <a:avLst/>
              <a:gdLst>
                <a:gd name="T0" fmla="*/ 43 w 86"/>
                <a:gd name="T1" fmla="*/ 87 h 87"/>
                <a:gd name="T2" fmla="*/ 34 w 86"/>
                <a:gd name="T3" fmla="*/ 86 h 87"/>
                <a:gd name="T4" fmla="*/ 26 w 86"/>
                <a:gd name="T5" fmla="*/ 83 h 87"/>
                <a:gd name="T6" fmla="*/ 19 w 86"/>
                <a:gd name="T7" fmla="*/ 78 h 87"/>
                <a:gd name="T8" fmla="*/ 13 w 86"/>
                <a:gd name="T9" fmla="*/ 74 h 87"/>
                <a:gd name="T10" fmla="*/ 7 w 86"/>
                <a:gd name="T11" fmla="*/ 68 h 87"/>
                <a:gd name="T12" fmla="*/ 4 w 86"/>
                <a:gd name="T13" fmla="*/ 60 h 87"/>
                <a:gd name="T14" fmla="*/ 1 w 86"/>
                <a:gd name="T15" fmla="*/ 51 h 87"/>
                <a:gd name="T16" fmla="*/ 0 w 86"/>
                <a:gd name="T17" fmla="*/ 43 h 87"/>
                <a:gd name="T18" fmla="*/ 1 w 86"/>
                <a:gd name="T19" fmla="*/ 35 h 87"/>
                <a:gd name="T20" fmla="*/ 4 w 86"/>
                <a:gd name="T21" fmla="*/ 27 h 87"/>
                <a:gd name="T22" fmla="*/ 7 w 86"/>
                <a:gd name="T23" fmla="*/ 18 h 87"/>
                <a:gd name="T24" fmla="*/ 13 w 86"/>
                <a:gd name="T25" fmla="*/ 13 h 87"/>
                <a:gd name="T26" fmla="*/ 19 w 86"/>
                <a:gd name="T27" fmla="*/ 8 h 87"/>
                <a:gd name="T28" fmla="*/ 26 w 86"/>
                <a:gd name="T29" fmla="*/ 3 h 87"/>
                <a:gd name="T30" fmla="*/ 34 w 86"/>
                <a:gd name="T31" fmla="*/ 1 h 87"/>
                <a:gd name="T32" fmla="*/ 43 w 86"/>
                <a:gd name="T33" fmla="*/ 0 h 87"/>
                <a:gd name="T34" fmla="*/ 52 w 86"/>
                <a:gd name="T35" fmla="*/ 1 h 87"/>
                <a:gd name="T36" fmla="*/ 59 w 86"/>
                <a:gd name="T37" fmla="*/ 3 h 87"/>
                <a:gd name="T38" fmla="*/ 67 w 86"/>
                <a:gd name="T39" fmla="*/ 7 h 87"/>
                <a:gd name="T40" fmla="*/ 73 w 86"/>
                <a:gd name="T41" fmla="*/ 13 h 87"/>
                <a:gd name="T42" fmla="*/ 79 w 86"/>
                <a:gd name="T43" fmla="*/ 18 h 87"/>
                <a:gd name="T44" fmla="*/ 83 w 86"/>
                <a:gd name="T45" fmla="*/ 27 h 87"/>
                <a:gd name="T46" fmla="*/ 85 w 86"/>
                <a:gd name="T47" fmla="*/ 34 h 87"/>
                <a:gd name="T48" fmla="*/ 86 w 86"/>
                <a:gd name="T49" fmla="*/ 43 h 87"/>
                <a:gd name="T50" fmla="*/ 85 w 86"/>
                <a:gd name="T51" fmla="*/ 51 h 87"/>
                <a:gd name="T52" fmla="*/ 83 w 86"/>
                <a:gd name="T53" fmla="*/ 60 h 87"/>
                <a:gd name="T54" fmla="*/ 79 w 86"/>
                <a:gd name="T55" fmla="*/ 67 h 87"/>
                <a:gd name="T56" fmla="*/ 73 w 86"/>
                <a:gd name="T57" fmla="*/ 74 h 87"/>
                <a:gd name="T58" fmla="*/ 67 w 86"/>
                <a:gd name="T59" fmla="*/ 78 h 87"/>
                <a:gd name="T60" fmla="*/ 60 w 86"/>
                <a:gd name="T61" fmla="*/ 83 h 87"/>
                <a:gd name="T62" fmla="*/ 52 w 86"/>
                <a:gd name="T63" fmla="*/ 86 h 87"/>
                <a:gd name="T64" fmla="*/ 43 w 86"/>
                <a:gd name="T65" fmla="*/ 87 h 87"/>
                <a:gd name="T66" fmla="*/ 43 w 86"/>
                <a:gd name="T67" fmla="*/ 87 h 87"/>
                <a:gd name="T68" fmla="*/ 43 w 86"/>
                <a:gd name="T69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86" h="87">
                  <a:moveTo>
                    <a:pt x="43" y="87"/>
                  </a:moveTo>
                  <a:lnTo>
                    <a:pt x="34" y="86"/>
                  </a:lnTo>
                  <a:lnTo>
                    <a:pt x="26" y="83"/>
                  </a:lnTo>
                  <a:lnTo>
                    <a:pt x="19" y="78"/>
                  </a:lnTo>
                  <a:lnTo>
                    <a:pt x="13" y="74"/>
                  </a:lnTo>
                  <a:lnTo>
                    <a:pt x="7" y="68"/>
                  </a:lnTo>
                  <a:lnTo>
                    <a:pt x="4" y="60"/>
                  </a:lnTo>
                  <a:lnTo>
                    <a:pt x="1" y="51"/>
                  </a:lnTo>
                  <a:lnTo>
                    <a:pt x="0" y="43"/>
                  </a:lnTo>
                  <a:lnTo>
                    <a:pt x="1" y="35"/>
                  </a:lnTo>
                  <a:lnTo>
                    <a:pt x="4" y="27"/>
                  </a:lnTo>
                  <a:lnTo>
                    <a:pt x="7" y="18"/>
                  </a:lnTo>
                  <a:lnTo>
                    <a:pt x="13" y="13"/>
                  </a:lnTo>
                  <a:lnTo>
                    <a:pt x="19" y="8"/>
                  </a:lnTo>
                  <a:lnTo>
                    <a:pt x="26" y="3"/>
                  </a:lnTo>
                  <a:lnTo>
                    <a:pt x="34" y="1"/>
                  </a:lnTo>
                  <a:lnTo>
                    <a:pt x="43" y="0"/>
                  </a:lnTo>
                  <a:lnTo>
                    <a:pt x="52" y="1"/>
                  </a:lnTo>
                  <a:lnTo>
                    <a:pt x="59" y="3"/>
                  </a:lnTo>
                  <a:lnTo>
                    <a:pt x="67" y="7"/>
                  </a:lnTo>
                  <a:lnTo>
                    <a:pt x="73" y="13"/>
                  </a:lnTo>
                  <a:lnTo>
                    <a:pt x="79" y="18"/>
                  </a:lnTo>
                  <a:lnTo>
                    <a:pt x="83" y="27"/>
                  </a:lnTo>
                  <a:lnTo>
                    <a:pt x="85" y="34"/>
                  </a:lnTo>
                  <a:lnTo>
                    <a:pt x="86" y="43"/>
                  </a:lnTo>
                  <a:lnTo>
                    <a:pt x="85" y="51"/>
                  </a:lnTo>
                  <a:lnTo>
                    <a:pt x="83" y="60"/>
                  </a:lnTo>
                  <a:lnTo>
                    <a:pt x="79" y="67"/>
                  </a:lnTo>
                  <a:lnTo>
                    <a:pt x="73" y="74"/>
                  </a:lnTo>
                  <a:lnTo>
                    <a:pt x="67" y="78"/>
                  </a:lnTo>
                  <a:lnTo>
                    <a:pt x="60" y="83"/>
                  </a:lnTo>
                  <a:lnTo>
                    <a:pt x="52" y="86"/>
                  </a:lnTo>
                  <a:lnTo>
                    <a:pt x="43" y="87"/>
                  </a:lnTo>
                  <a:lnTo>
                    <a:pt x="43" y="87"/>
                  </a:lnTo>
                  <a:lnTo>
                    <a:pt x="43" y="87"/>
                  </a:lnTo>
                  <a:close/>
                </a:path>
              </a:pathLst>
            </a:custGeom>
            <a:solidFill>
              <a:srgbClr val="B4A69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6653" tIns="58327" rIns="116653" bIns="58327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434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137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47" name="Freeform 117"/>
            <p:cNvSpPr>
              <a:spLocks/>
            </p:cNvSpPr>
            <p:nvPr/>
          </p:nvSpPr>
          <p:spPr bwMode="auto">
            <a:xfrm>
              <a:off x="4095" y="2130"/>
              <a:ext cx="21" cy="22"/>
            </a:xfrm>
            <a:custGeom>
              <a:avLst/>
              <a:gdLst>
                <a:gd name="T0" fmla="*/ 44 w 86"/>
                <a:gd name="T1" fmla="*/ 86 h 86"/>
                <a:gd name="T2" fmla="*/ 35 w 86"/>
                <a:gd name="T3" fmla="*/ 86 h 86"/>
                <a:gd name="T4" fmla="*/ 27 w 86"/>
                <a:gd name="T5" fmla="*/ 84 h 86"/>
                <a:gd name="T6" fmla="*/ 20 w 86"/>
                <a:gd name="T7" fmla="*/ 79 h 86"/>
                <a:gd name="T8" fmla="*/ 13 w 86"/>
                <a:gd name="T9" fmla="*/ 75 h 86"/>
                <a:gd name="T10" fmla="*/ 8 w 86"/>
                <a:gd name="T11" fmla="*/ 67 h 86"/>
                <a:gd name="T12" fmla="*/ 3 w 86"/>
                <a:gd name="T13" fmla="*/ 60 h 86"/>
                <a:gd name="T14" fmla="*/ 1 w 86"/>
                <a:gd name="T15" fmla="*/ 52 h 86"/>
                <a:gd name="T16" fmla="*/ 0 w 86"/>
                <a:gd name="T17" fmla="*/ 44 h 86"/>
                <a:gd name="T18" fmla="*/ 1 w 86"/>
                <a:gd name="T19" fmla="*/ 35 h 86"/>
                <a:gd name="T20" fmla="*/ 3 w 86"/>
                <a:gd name="T21" fmla="*/ 26 h 86"/>
                <a:gd name="T22" fmla="*/ 8 w 86"/>
                <a:gd name="T23" fmla="*/ 19 h 86"/>
                <a:gd name="T24" fmla="*/ 13 w 86"/>
                <a:gd name="T25" fmla="*/ 13 h 86"/>
                <a:gd name="T26" fmla="*/ 19 w 86"/>
                <a:gd name="T27" fmla="*/ 7 h 86"/>
                <a:gd name="T28" fmla="*/ 27 w 86"/>
                <a:gd name="T29" fmla="*/ 4 h 86"/>
                <a:gd name="T30" fmla="*/ 34 w 86"/>
                <a:gd name="T31" fmla="*/ 2 h 86"/>
                <a:gd name="T32" fmla="*/ 44 w 86"/>
                <a:gd name="T33" fmla="*/ 0 h 86"/>
                <a:gd name="T34" fmla="*/ 44 w 86"/>
                <a:gd name="T35" fmla="*/ 0 h 86"/>
                <a:gd name="T36" fmla="*/ 44 w 86"/>
                <a:gd name="T37" fmla="*/ 0 h 86"/>
                <a:gd name="T38" fmla="*/ 52 w 86"/>
                <a:gd name="T39" fmla="*/ 2 h 86"/>
                <a:gd name="T40" fmla="*/ 60 w 86"/>
                <a:gd name="T41" fmla="*/ 4 h 86"/>
                <a:gd name="T42" fmla="*/ 67 w 86"/>
                <a:gd name="T43" fmla="*/ 7 h 86"/>
                <a:gd name="T44" fmla="*/ 74 w 86"/>
                <a:gd name="T45" fmla="*/ 13 h 86"/>
                <a:gd name="T46" fmla="*/ 79 w 86"/>
                <a:gd name="T47" fmla="*/ 19 h 86"/>
                <a:gd name="T48" fmla="*/ 82 w 86"/>
                <a:gd name="T49" fmla="*/ 26 h 86"/>
                <a:gd name="T50" fmla="*/ 86 w 86"/>
                <a:gd name="T51" fmla="*/ 35 h 86"/>
                <a:gd name="T52" fmla="*/ 86 w 86"/>
                <a:gd name="T53" fmla="*/ 44 h 86"/>
                <a:gd name="T54" fmla="*/ 86 w 86"/>
                <a:gd name="T55" fmla="*/ 52 h 86"/>
                <a:gd name="T56" fmla="*/ 82 w 86"/>
                <a:gd name="T57" fmla="*/ 60 h 86"/>
                <a:gd name="T58" fmla="*/ 79 w 86"/>
                <a:gd name="T59" fmla="*/ 67 h 86"/>
                <a:gd name="T60" fmla="*/ 74 w 86"/>
                <a:gd name="T61" fmla="*/ 75 h 86"/>
                <a:gd name="T62" fmla="*/ 67 w 86"/>
                <a:gd name="T63" fmla="*/ 79 h 86"/>
                <a:gd name="T64" fmla="*/ 60 w 86"/>
                <a:gd name="T65" fmla="*/ 84 h 86"/>
                <a:gd name="T66" fmla="*/ 52 w 86"/>
                <a:gd name="T67" fmla="*/ 86 h 86"/>
                <a:gd name="T68" fmla="*/ 44 w 86"/>
                <a:gd name="T69" fmla="*/ 86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86" h="86">
                  <a:moveTo>
                    <a:pt x="44" y="86"/>
                  </a:moveTo>
                  <a:lnTo>
                    <a:pt x="35" y="86"/>
                  </a:lnTo>
                  <a:lnTo>
                    <a:pt x="27" y="84"/>
                  </a:lnTo>
                  <a:lnTo>
                    <a:pt x="20" y="79"/>
                  </a:lnTo>
                  <a:lnTo>
                    <a:pt x="13" y="75"/>
                  </a:lnTo>
                  <a:lnTo>
                    <a:pt x="8" y="67"/>
                  </a:lnTo>
                  <a:lnTo>
                    <a:pt x="3" y="60"/>
                  </a:lnTo>
                  <a:lnTo>
                    <a:pt x="1" y="52"/>
                  </a:lnTo>
                  <a:lnTo>
                    <a:pt x="0" y="44"/>
                  </a:lnTo>
                  <a:lnTo>
                    <a:pt x="1" y="35"/>
                  </a:lnTo>
                  <a:lnTo>
                    <a:pt x="3" y="26"/>
                  </a:lnTo>
                  <a:lnTo>
                    <a:pt x="8" y="19"/>
                  </a:lnTo>
                  <a:lnTo>
                    <a:pt x="13" y="13"/>
                  </a:lnTo>
                  <a:lnTo>
                    <a:pt x="19" y="7"/>
                  </a:lnTo>
                  <a:lnTo>
                    <a:pt x="27" y="4"/>
                  </a:lnTo>
                  <a:lnTo>
                    <a:pt x="34" y="2"/>
                  </a:lnTo>
                  <a:lnTo>
                    <a:pt x="44" y="0"/>
                  </a:lnTo>
                  <a:lnTo>
                    <a:pt x="44" y="0"/>
                  </a:lnTo>
                  <a:lnTo>
                    <a:pt x="44" y="0"/>
                  </a:lnTo>
                  <a:lnTo>
                    <a:pt x="52" y="2"/>
                  </a:lnTo>
                  <a:lnTo>
                    <a:pt x="60" y="4"/>
                  </a:lnTo>
                  <a:lnTo>
                    <a:pt x="67" y="7"/>
                  </a:lnTo>
                  <a:lnTo>
                    <a:pt x="74" y="13"/>
                  </a:lnTo>
                  <a:lnTo>
                    <a:pt x="79" y="19"/>
                  </a:lnTo>
                  <a:lnTo>
                    <a:pt x="82" y="26"/>
                  </a:lnTo>
                  <a:lnTo>
                    <a:pt x="86" y="35"/>
                  </a:lnTo>
                  <a:lnTo>
                    <a:pt x="86" y="44"/>
                  </a:lnTo>
                  <a:lnTo>
                    <a:pt x="86" y="52"/>
                  </a:lnTo>
                  <a:lnTo>
                    <a:pt x="82" y="60"/>
                  </a:lnTo>
                  <a:lnTo>
                    <a:pt x="79" y="67"/>
                  </a:lnTo>
                  <a:lnTo>
                    <a:pt x="74" y="75"/>
                  </a:lnTo>
                  <a:lnTo>
                    <a:pt x="67" y="79"/>
                  </a:lnTo>
                  <a:lnTo>
                    <a:pt x="60" y="84"/>
                  </a:lnTo>
                  <a:lnTo>
                    <a:pt x="52" y="86"/>
                  </a:lnTo>
                  <a:lnTo>
                    <a:pt x="44" y="86"/>
                  </a:lnTo>
                  <a:close/>
                </a:path>
              </a:pathLst>
            </a:custGeom>
            <a:solidFill>
              <a:srgbClr val="B4A69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6653" tIns="58327" rIns="116653" bIns="58327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434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137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48" name="Freeform 118"/>
            <p:cNvSpPr>
              <a:spLocks/>
            </p:cNvSpPr>
            <p:nvPr/>
          </p:nvSpPr>
          <p:spPr bwMode="auto">
            <a:xfrm>
              <a:off x="4013" y="2215"/>
              <a:ext cx="21" cy="21"/>
            </a:xfrm>
            <a:custGeom>
              <a:avLst/>
              <a:gdLst>
                <a:gd name="T0" fmla="*/ 43 w 86"/>
                <a:gd name="T1" fmla="*/ 87 h 87"/>
                <a:gd name="T2" fmla="*/ 34 w 86"/>
                <a:gd name="T3" fmla="*/ 86 h 87"/>
                <a:gd name="T4" fmla="*/ 26 w 86"/>
                <a:gd name="T5" fmla="*/ 84 h 87"/>
                <a:gd name="T6" fmla="*/ 19 w 86"/>
                <a:gd name="T7" fmla="*/ 80 h 87"/>
                <a:gd name="T8" fmla="*/ 13 w 86"/>
                <a:gd name="T9" fmla="*/ 74 h 87"/>
                <a:gd name="T10" fmla="*/ 7 w 86"/>
                <a:gd name="T11" fmla="*/ 68 h 87"/>
                <a:gd name="T12" fmla="*/ 4 w 86"/>
                <a:gd name="T13" fmla="*/ 60 h 87"/>
                <a:gd name="T14" fmla="*/ 1 w 86"/>
                <a:gd name="T15" fmla="*/ 53 h 87"/>
                <a:gd name="T16" fmla="*/ 0 w 86"/>
                <a:gd name="T17" fmla="*/ 44 h 87"/>
                <a:gd name="T18" fmla="*/ 1 w 86"/>
                <a:gd name="T19" fmla="*/ 36 h 87"/>
                <a:gd name="T20" fmla="*/ 4 w 86"/>
                <a:gd name="T21" fmla="*/ 27 h 87"/>
                <a:gd name="T22" fmla="*/ 7 w 86"/>
                <a:gd name="T23" fmla="*/ 20 h 87"/>
                <a:gd name="T24" fmla="*/ 13 w 86"/>
                <a:gd name="T25" fmla="*/ 13 h 87"/>
                <a:gd name="T26" fmla="*/ 19 w 86"/>
                <a:gd name="T27" fmla="*/ 8 h 87"/>
                <a:gd name="T28" fmla="*/ 26 w 86"/>
                <a:gd name="T29" fmla="*/ 4 h 87"/>
                <a:gd name="T30" fmla="*/ 34 w 86"/>
                <a:gd name="T31" fmla="*/ 1 h 87"/>
                <a:gd name="T32" fmla="*/ 43 w 86"/>
                <a:gd name="T33" fmla="*/ 0 h 87"/>
                <a:gd name="T34" fmla="*/ 52 w 86"/>
                <a:gd name="T35" fmla="*/ 1 h 87"/>
                <a:gd name="T36" fmla="*/ 60 w 86"/>
                <a:gd name="T37" fmla="*/ 4 h 87"/>
                <a:gd name="T38" fmla="*/ 67 w 86"/>
                <a:gd name="T39" fmla="*/ 8 h 87"/>
                <a:gd name="T40" fmla="*/ 73 w 86"/>
                <a:gd name="T41" fmla="*/ 13 h 87"/>
                <a:gd name="T42" fmla="*/ 79 w 86"/>
                <a:gd name="T43" fmla="*/ 19 h 87"/>
                <a:gd name="T44" fmla="*/ 83 w 86"/>
                <a:gd name="T45" fmla="*/ 27 h 87"/>
                <a:gd name="T46" fmla="*/ 85 w 86"/>
                <a:gd name="T47" fmla="*/ 36 h 87"/>
                <a:gd name="T48" fmla="*/ 86 w 86"/>
                <a:gd name="T49" fmla="*/ 44 h 87"/>
                <a:gd name="T50" fmla="*/ 85 w 86"/>
                <a:gd name="T51" fmla="*/ 52 h 87"/>
                <a:gd name="T52" fmla="*/ 83 w 86"/>
                <a:gd name="T53" fmla="*/ 60 h 87"/>
                <a:gd name="T54" fmla="*/ 79 w 86"/>
                <a:gd name="T55" fmla="*/ 68 h 87"/>
                <a:gd name="T56" fmla="*/ 73 w 86"/>
                <a:gd name="T57" fmla="*/ 74 h 87"/>
                <a:gd name="T58" fmla="*/ 67 w 86"/>
                <a:gd name="T59" fmla="*/ 80 h 87"/>
                <a:gd name="T60" fmla="*/ 60 w 86"/>
                <a:gd name="T61" fmla="*/ 84 h 87"/>
                <a:gd name="T62" fmla="*/ 52 w 86"/>
                <a:gd name="T63" fmla="*/ 86 h 87"/>
                <a:gd name="T64" fmla="*/ 44 w 86"/>
                <a:gd name="T65" fmla="*/ 87 h 87"/>
                <a:gd name="T66" fmla="*/ 43 w 86"/>
                <a:gd name="T67" fmla="*/ 87 h 87"/>
                <a:gd name="T68" fmla="*/ 43 w 86"/>
                <a:gd name="T69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86" h="87">
                  <a:moveTo>
                    <a:pt x="43" y="87"/>
                  </a:moveTo>
                  <a:lnTo>
                    <a:pt x="34" y="86"/>
                  </a:lnTo>
                  <a:lnTo>
                    <a:pt x="26" y="84"/>
                  </a:lnTo>
                  <a:lnTo>
                    <a:pt x="19" y="80"/>
                  </a:lnTo>
                  <a:lnTo>
                    <a:pt x="13" y="74"/>
                  </a:lnTo>
                  <a:lnTo>
                    <a:pt x="7" y="68"/>
                  </a:lnTo>
                  <a:lnTo>
                    <a:pt x="4" y="60"/>
                  </a:lnTo>
                  <a:lnTo>
                    <a:pt x="1" y="53"/>
                  </a:lnTo>
                  <a:lnTo>
                    <a:pt x="0" y="44"/>
                  </a:lnTo>
                  <a:lnTo>
                    <a:pt x="1" y="36"/>
                  </a:lnTo>
                  <a:lnTo>
                    <a:pt x="4" y="27"/>
                  </a:lnTo>
                  <a:lnTo>
                    <a:pt x="7" y="20"/>
                  </a:lnTo>
                  <a:lnTo>
                    <a:pt x="13" y="13"/>
                  </a:lnTo>
                  <a:lnTo>
                    <a:pt x="19" y="8"/>
                  </a:lnTo>
                  <a:lnTo>
                    <a:pt x="26" y="4"/>
                  </a:lnTo>
                  <a:lnTo>
                    <a:pt x="34" y="1"/>
                  </a:lnTo>
                  <a:lnTo>
                    <a:pt x="43" y="0"/>
                  </a:lnTo>
                  <a:lnTo>
                    <a:pt x="52" y="1"/>
                  </a:lnTo>
                  <a:lnTo>
                    <a:pt x="60" y="4"/>
                  </a:lnTo>
                  <a:lnTo>
                    <a:pt x="67" y="8"/>
                  </a:lnTo>
                  <a:lnTo>
                    <a:pt x="73" y="13"/>
                  </a:lnTo>
                  <a:lnTo>
                    <a:pt x="79" y="19"/>
                  </a:lnTo>
                  <a:lnTo>
                    <a:pt x="83" y="27"/>
                  </a:lnTo>
                  <a:lnTo>
                    <a:pt x="85" y="36"/>
                  </a:lnTo>
                  <a:lnTo>
                    <a:pt x="86" y="44"/>
                  </a:lnTo>
                  <a:lnTo>
                    <a:pt x="85" y="52"/>
                  </a:lnTo>
                  <a:lnTo>
                    <a:pt x="83" y="60"/>
                  </a:lnTo>
                  <a:lnTo>
                    <a:pt x="79" y="68"/>
                  </a:lnTo>
                  <a:lnTo>
                    <a:pt x="73" y="74"/>
                  </a:lnTo>
                  <a:lnTo>
                    <a:pt x="67" y="80"/>
                  </a:lnTo>
                  <a:lnTo>
                    <a:pt x="60" y="84"/>
                  </a:lnTo>
                  <a:lnTo>
                    <a:pt x="52" y="86"/>
                  </a:lnTo>
                  <a:lnTo>
                    <a:pt x="44" y="87"/>
                  </a:lnTo>
                  <a:lnTo>
                    <a:pt x="43" y="87"/>
                  </a:lnTo>
                  <a:lnTo>
                    <a:pt x="43" y="87"/>
                  </a:lnTo>
                  <a:close/>
                </a:path>
              </a:pathLst>
            </a:custGeom>
            <a:solidFill>
              <a:srgbClr val="B4A69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6653" tIns="58327" rIns="116653" bIns="58327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434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137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49" name="Freeform 119"/>
            <p:cNvSpPr>
              <a:spLocks/>
            </p:cNvSpPr>
            <p:nvPr/>
          </p:nvSpPr>
          <p:spPr bwMode="auto">
            <a:xfrm>
              <a:off x="4158" y="2214"/>
              <a:ext cx="21" cy="22"/>
            </a:xfrm>
            <a:custGeom>
              <a:avLst/>
              <a:gdLst>
                <a:gd name="T0" fmla="*/ 43 w 86"/>
                <a:gd name="T1" fmla="*/ 87 h 87"/>
                <a:gd name="T2" fmla="*/ 35 w 86"/>
                <a:gd name="T3" fmla="*/ 86 h 87"/>
                <a:gd name="T4" fmla="*/ 27 w 86"/>
                <a:gd name="T5" fmla="*/ 84 h 87"/>
                <a:gd name="T6" fmla="*/ 20 w 86"/>
                <a:gd name="T7" fmla="*/ 80 h 87"/>
                <a:gd name="T8" fmla="*/ 13 w 86"/>
                <a:gd name="T9" fmla="*/ 74 h 87"/>
                <a:gd name="T10" fmla="*/ 8 w 86"/>
                <a:gd name="T11" fmla="*/ 68 h 87"/>
                <a:gd name="T12" fmla="*/ 3 w 86"/>
                <a:gd name="T13" fmla="*/ 61 h 87"/>
                <a:gd name="T14" fmla="*/ 1 w 86"/>
                <a:gd name="T15" fmla="*/ 53 h 87"/>
                <a:gd name="T16" fmla="*/ 0 w 86"/>
                <a:gd name="T17" fmla="*/ 44 h 87"/>
                <a:gd name="T18" fmla="*/ 1 w 86"/>
                <a:gd name="T19" fmla="*/ 35 h 87"/>
                <a:gd name="T20" fmla="*/ 3 w 86"/>
                <a:gd name="T21" fmla="*/ 27 h 87"/>
                <a:gd name="T22" fmla="*/ 8 w 86"/>
                <a:gd name="T23" fmla="*/ 20 h 87"/>
                <a:gd name="T24" fmla="*/ 13 w 86"/>
                <a:gd name="T25" fmla="*/ 13 h 87"/>
                <a:gd name="T26" fmla="*/ 20 w 86"/>
                <a:gd name="T27" fmla="*/ 8 h 87"/>
                <a:gd name="T28" fmla="*/ 27 w 86"/>
                <a:gd name="T29" fmla="*/ 4 h 87"/>
                <a:gd name="T30" fmla="*/ 35 w 86"/>
                <a:gd name="T31" fmla="*/ 1 h 87"/>
                <a:gd name="T32" fmla="*/ 43 w 86"/>
                <a:gd name="T33" fmla="*/ 0 h 87"/>
                <a:gd name="T34" fmla="*/ 52 w 86"/>
                <a:gd name="T35" fmla="*/ 1 h 87"/>
                <a:gd name="T36" fmla="*/ 60 w 86"/>
                <a:gd name="T37" fmla="*/ 4 h 87"/>
                <a:gd name="T38" fmla="*/ 67 w 86"/>
                <a:gd name="T39" fmla="*/ 8 h 87"/>
                <a:gd name="T40" fmla="*/ 74 w 86"/>
                <a:gd name="T41" fmla="*/ 13 h 87"/>
                <a:gd name="T42" fmla="*/ 79 w 86"/>
                <a:gd name="T43" fmla="*/ 20 h 87"/>
                <a:gd name="T44" fmla="*/ 82 w 86"/>
                <a:gd name="T45" fmla="*/ 27 h 87"/>
                <a:gd name="T46" fmla="*/ 86 w 86"/>
                <a:gd name="T47" fmla="*/ 35 h 87"/>
                <a:gd name="T48" fmla="*/ 86 w 86"/>
                <a:gd name="T49" fmla="*/ 44 h 87"/>
                <a:gd name="T50" fmla="*/ 86 w 86"/>
                <a:gd name="T51" fmla="*/ 52 h 87"/>
                <a:gd name="T52" fmla="*/ 82 w 86"/>
                <a:gd name="T53" fmla="*/ 60 h 87"/>
                <a:gd name="T54" fmla="*/ 79 w 86"/>
                <a:gd name="T55" fmla="*/ 68 h 87"/>
                <a:gd name="T56" fmla="*/ 74 w 86"/>
                <a:gd name="T57" fmla="*/ 74 h 87"/>
                <a:gd name="T58" fmla="*/ 67 w 86"/>
                <a:gd name="T59" fmla="*/ 80 h 87"/>
                <a:gd name="T60" fmla="*/ 60 w 86"/>
                <a:gd name="T61" fmla="*/ 84 h 87"/>
                <a:gd name="T62" fmla="*/ 52 w 86"/>
                <a:gd name="T63" fmla="*/ 86 h 87"/>
                <a:gd name="T64" fmla="*/ 43 w 86"/>
                <a:gd name="T65" fmla="*/ 87 h 87"/>
                <a:gd name="T66" fmla="*/ 43 w 86"/>
                <a:gd name="T67" fmla="*/ 87 h 87"/>
                <a:gd name="T68" fmla="*/ 43 w 86"/>
                <a:gd name="T69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86" h="87">
                  <a:moveTo>
                    <a:pt x="43" y="87"/>
                  </a:moveTo>
                  <a:lnTo>
                    <a:pt x="35" y="86"/>
                  </a:lnTo>
                  <a:lnTo>
                    <a:pt x="27" y="84"/>
                  </a:lnTo>
                  <a:lnTo>
                    <a:pt x="20" y="80"/>
                  </a:lnTo>
                  <a:lnTo>
                    <a:pt x="13" y="74"/>
                  </a:lnTo>
                  <a:lnTo>
                    <a:pt x="8" y="68"/>
                  </a:lnTo>
                  <a:lnTo>
                    <a:pt x="3" y="61"/>
                  </a:lnTo>
                  <a:lnTo>
                    <a:pt x="1" y="53"/>
                  </a:lnTo>
                  <a:lnTo>
                    <a:pt x="0" y="44"/>
                  </a:lnTo>
                  <a:lnTo>
                    <a:pt x="1" y="35"/>
                  </a:lnTo>
                  <a:lnTo>
                    <a:pt x="3" y="27"/>
                  </a:lnTo>
                  <a:lnTo>
                    <a:pt x="8" y="20"/>
                  </a:lnTo>
                  <a:lnTo>
                    <a:pt x="13" y="13"/>
                  </a:lnTo>
                  <a:lnTo>
                    <a:pt x="20" y="8"/>
                  </a:lnTo>
                  <a:lnTo>
                    <a:pt x="27" y="4"/>
                  </a:lnTo>
                  <a:lnTo>
                    <a:pt x="35" y="1"/>
                  </a:lnTo>
                  <a:lnTo>
                    <a:pt x="43" y="0"/>
                  </a:lnTo>
                  <a:lnTo>
                    <a:pt x="52" y="1"/>
                  </a:lnTo>
                  <a:lnTo>
                    <a:pt x="60" y="4"/>
                  </a:lnTo>
                  <a:lnTo>
                    <a:pt x="67" y="8"/>
                  </a:lnTo>
                  <a:lnTo>
                    <a:pt x="74" y="13"/>
                  </a:lnTo>
                  <a:lnTo>
                    <a:pt x="79" y="20"/>
                  </a:lnTo>
                  <a:lnTo>
                    <a:pt x="82" y="27"/>
                  </a:lnTo>
                  <a:lnTo>
                    <a:pt x="86" y="35"/>
                  </a:lnTo>
                  <a:lnTo>
                    <a:pt x="86" y="44"/>
                  </a:lnTo>
                  <a:lnTo>
                    <a:pt x="86" y="52"/>
                  </a:lnTo>
                  <a:lnTo>
                    <a:pt x="82" y="60"/>
                  </a:lnTo>
                  <a:lnTo>
                    <a:pt x="79" y="68"/>
                  </a:lnTo>
                  <a:lnTo>
                    <a:pt x="74" y="74"/>
                  </a:lnTo>
                  <a:lnTo>
                    <a:pt x="67" y="80"/>
                  </a:lnTo>
                  <a:lnTo>
                    <a:pt x="60" y="84"/>
                  </a:lnTo>
                  <a:lnTo>
                    <a:pt x="52" y="86"/>
                  </a:lnTo>
                  <a:lnTo>
                    <a:pt x="43" y="87"/>
                  </a:lnTo>
                  <a:lnTo>
                    <a:pt x="43" y="87"/>
                  </a:lnTo>
                  <a:lnTo>
                    <a:pt x="43" y="87"/>
                  </a:lnTo>
                  <a:close/>
                </a:path>
              </a:pathLst>
            </a:custGeom>
            <a:solidFill>
              <a:srgbClr val="B4A69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6653" tIns="58327" rIns="116653" bIns="58327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434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137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50" name="Freeform 120"/>
            <p:cNvSpPr>
              <a:spLocks/>
            </p:cNvSpPr>
            <p:nvPr/>
          </p:nvSpPr>
          <p:spPr bwMode="auto">
            <a:xfrm>
              <a:off x="4095" y="2285"/>
              <a:ext cx="22" cy="22"/>
            </a:xfrm>
            <a:custGeom>
              <a:avLst/>
              <a:gdLst>
                <a:gd name="T0" fmla="*/ 44 w 86"/>
                <a:gd name="T1" fmla="*/ 87 h 87"/>
                <a:gd name="T2" fmla="*/ 35 w 86"/>
                <a:gd name="T3" fmla="*/ 86 h 87"/>
                <a:gd name="T4" fmla="*/ 27 w 86"/>
                <a:gd name="T5" fmla="*/ 83 h 87"/>
                <a:gd name="T6" fmla="*/ 20 w 86"/>
                <a:gd name="T7" fmla="*/ 79 h 87"/>
                <a:gd name="T8" fmla="*/ 13 w 86"/>
                <a:gd name="T9" fmla="*/ 74 h 87"/>
                <a:gd name="T10" fmla="*/ 8 w 86"/>
                <a:gd name="T11" fmla="*/ 67 h 87"/>
                <a:gd name="T12" fmla="*/ 4 w 86"/>
                <a:gd name="T13" fmla="*/ 60 h 87"/>
                <a:gd name="T14" fmla="*/ 1 w 86"/>
                <a:gd name="T15" fmla="*/ 52 h 87"/>
                <a:gd name="T16" fmla="*/ 0 w 86"/>
                <a:gd name="T17" fmla="*/ 43 h 87"/>
                <a:gd name="T18" fmla="*/ 1 w 86"/>
                <a:gd name="T19" fmla="*/ 34 h 87"/>
                <a:gd name="T20" fmla="*/ 4 w 86"/>
                <a:gd name="T21" fmla="*/ 27 h 87"/>
                <a:gd name="T22" fmla="*/ 8 w 86"/>
                <a:gd name="T23" fmla="*/ 19 h 87"/>
                <a:gd name="T24" fmla="*/ 13 w 86"/>
                <a:gd name="T25" fmla="*/ 13 h 87"/>
                <a:gd name="T26" fmla="*/ 19 w 86"/>
                <a:gd name="T27" fmla="*/ 7 h 87"/>
                <a:gd name="T28" fmla="*/ 27 w 86"/>
                <a:gd name="T29" fmla="*/ 3 h 87"/>
                <a:gd name="T30" fmla="*/ 34 w 86"/>
                <a:gd name="T31" fmla="*/ 1 h 87"/>
                <a:gd name="T32" fmla="*/ 44 w 86"/>
                <a:gd name="T33" fmla="*/ 0 h 87"/>
                <a:gd name="T34" fmla="*/ 44 w 86"/>
                <a:gd name="T35" fmla="*/ 0 h 87"/>
                <a:gd name="T36" fmla="*/ 44 w 86"/>
                <a:gd name="T37" fmla="*/ 0 h 87"/>
                <a:gd name="T38" fmla="*/ 52 w 86"/>
                <a:gd name="T39" fmla="*/ 1 h 87"/>
                <a:gd name="T40" fmla="*/ 60 w 86"/>
                <a:gd name="T41" fmla="*/ 3 h 87"/>
                <a:gd name="T42" fmla="*/ 67 w 86"/>
                <a:gd name="T43" fmla="*/ 7 h 87"/>
                <a:gd name="T44" fmla="*/ 74 w 86"/>
                <a:gd name="T45" fmla="*/ 13 h 87"/>
                <a:gd name="T46" fmla="*/ 79 w 86"/>
                <a:gd name="T47" fmla="*/ 19 h 87"/>
                <a:gd name="T48" fmla="*/ 83 w 86"/>
                <a:gd name="T49" fmla="*/ 26 h 87"/>
                <a:gd name="T50" fmla="*/ 86 w 86"/>
                <a:gd name="T51" fmla="*/ 34 h 87"/>
                <a:gd name="T52" fmla="*/ 86 w 86"/>
                <a:gd name="T53" fmla="*/ 43 h 87"/>
                <a:gd name="T54" fmla="*/ 86 w 86"/>
                <a:gd name="T55" fmla="*/ 52 h 87"/>
                <a:gd name="T56" fmla="*/ 83 w 86"/>
                <a:gd name="T57" fmla="*/ 60 h 87"/>
                <a:gd name="T58" fmla="*/ 79 w 86"/>
                <a:gd name="T59" fmla="*/ 67 h 87"/>
                <a:gd name="T60" fmla="*/ 74 w 86"/>
                <a:gd name="T61" fmla="*/ 74 h 87"/>
                <a:gd name="T62" fmla="*/ 67 w 86"/>
                <a:gd name="T63" fmla="*/ 79 h 87"/>
                <a:gd name="T64" fmla="*/ 60 w 86"/>
                <a:gd name="T65" fmla="*/ 83 h 87"/>
                <a:gd name="T66" fmla="*/ 52 w 86"/>
                <a:gd name="T67" fmla="*/ 86 h 87"/>
                <a:gd name="T68" fmla="*/ 44 w 86"/>
                <a:gd name="T69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86" h="87">
                  <a:moveTo>
                    <a:pt x="44" y="87"/>
                  </a:moveTo>
                  <a:lnTo>
                    <a:pt x="35" y="86"/>
                  </a:lnTo>
                  <a:lnTo>
                    <a:pt x="27" y="83"/>
                  </a:lnTo>
                  <a:lnTo>
                    <a:pt x="20" y="79"/>
                  </a:lnTo>
                  <a:lnTo>
                    <a:pt x="13" y="74"/>
                  </a:lnTo>
                  <a:lnTo>
                    <a:pt x="8" y="67"/>
                  </a:lnTo>
                  <a:lnTo>
                    <a:pt x="4" y="60"/>
                  </a:lnTo>
                  <a:lnTo>
                    <a:pt x="1" y="52"/>
                  </a:lnTo>
                  <a:lnTo>
                    <a:pt x="0" y="43"/>
                  </a:lnTo>
                  <a:lnTo>
                    <a:pt x="1" y="34"/>
                  </a:lnTo>
                  <a:lnTo>
                    <a:pt x="4" y="27"/>
                  </a:lnTo>
                  <a:lnTo>
                    <a:pt x="8" y="19"/>
                  </a:lnTo>
                  <a:lnTo>
                    <a:pt x="13" y="13"/>
                  </a:lnTo>
                  <a:lnTo>
                    <a:pt x="19" y="7"/>
                  </a:lnTo>
                  <a:lnTo>
                    <a:pt x="27" y="3"/>
                  </a:lnTo>
                  <a:lnTo>
                    <a:pt x="34" y="1"/>
                  </a:lnTo>
                  <a:lnTo>
                    <a:pt x="44" y="0"/>
                  </a:lnTo>
                  <a:lnTo>
                    <a:pt x="44" y="0"/>
                  </a:lnTo>
                  <a:lnTo>
                    <a:pt x="44" y="0"/>
                  </a:lnTo>
                  <a:lnTo>
                    <a:pt x="52" y="1"/>
                  </a:lnTo>
                  <a:lnTo>
                    <a:pt x="60" y="3"/>
                  </a:lnTo>
                  <a:lnTo>
                    <a:pt x="67" y="7"/>
                  </a:lnTo>
                  <a:lnTo>
                    <a:pt x="74" y="13"/>
                  </a:lnTo>
                  <a:lnTo>
                    <a:pt x="79" y="19"/>
                  </a:lnTo>
                  <a:lnTo>
                    <a:pt x="83" y="26"/>
                  </a:lnTo>
                  <a:lnTo>
                    <a:pt x="86" y="34"/>
                  </a:lnTo>
                  <a:lnTo>
                    <a:pt x="86" y="43"/>
                  </a:lnTo>
                  <a:lnTo>
                    <a:pt x="86" y="52"/>
                  </a:lnTo>
                  <a:lnTo>
                    <a:pt x="83" y="60"/>
                  </a:lnTo>
                  <a:lnTo>
                    <a:pt x="79" y="67"/>
                  </a:lnTo>
                  <a:lnTo>
                    <a:pt x="74" y="74"/>
                  </a:lnTo>
                  <a:lnTo>
                    <a:pt x="67" y="79"/>
                  </a:lnTo>
                  <a:lnTo>
                    <a:pt x="60" y="83"/>
                  </a:lnTo>
                  <a:lnTo>
                    <a:pt x="52" y="86"/>
                  </a:lnTo>
                  <a:lnTo>
                    <a:pt x="44" y="87"/>
                  </a:lnTo>
                  <a:close/>
                </a:path>
              </a:pathLst>
            </a:custGeom>
            <a:solidFill>
              <a:srgbClr val="B4A69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6653" tIns="58327" rIns="116653" bIns="58327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434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137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51" name="Freeform 121"/>
            <p:cNvSpPr>
              <a:spLocks/>
            </p:cNvSpPr>
            <p:nvPr/>
          </p:nvSpPr>
          <p:spPr bwMode="auto">
            <a:xfrm>
              <a:off x="4013" y="2370"/>
              <a:ext cx="21" cy="22"/>
            </a:xfrm>
            <a:custGeom>
              <a:avLst/>
              <a:gdLst>
                <a:gd name="T0" fmla="*/ 44 w 86"/>
                <a:gd name="T1" fmla="*/ 87 h 87"/>
                <a:gd name="T2" fmla="*/ 35 w 86"/>
                <a:gd name="T3" fmla="*/ 86 h 87"/>
                <a:gd name="T4" fmla="*/ 26 w 86"/>
                <a:gd name="T5" fmla="*/ 83 h 87"/>
                <a:gd name="T6" fmla="*/ 19 w 86"/>
                <a:gd name="T7" fmla="*/ 80 h 87"/>
                <a:gd name="T8" fmla="*/ 13 w 86"/>
                <a:gd name="T9" fmla="*/ 74 h 87"/>
                <a:gd name="T10" fmla="*/ 8 w 86"/>
                <a:gd name="T11" fmla="*/ 68 h 87"/>
                <a:gd name="T12" fmla="*/ 4 w 86"/>
                <a:gd name="T13" fmla="*/ 61 h 87"/>
                <a:gd name="T14" fmla="*/ 2 w 86"/>
                <a:gd name="T15" fmla="*/ 53 h 87"/>
                <a:gd name="T16" fmla="*/ 0 w 86"/>
                <a:gd name="T17" fmla="*/ 43 h 87"/>
                <a:gd name="T18" fmla="*/ 2 w 86"/>
                <a:gd name="T19" fmla="*/ 35 h 87"/>
                <a:gd name="T20" fmla="*/ 4 w 86"/>
                <a:gd name="T21" fmla="*/ 27 h 87"/>
                <a:gd name="T22" fmla="*/ 8 w 86"/>
                <a:gd name="T23" fmla="*/ 20 h 87"/>
                <a:gd name="T24" fmla="*/ 13 w 86"/>
                <a:gd name="T25" fmla="*/ 13 h 87"/>
                <a:gd name="T26" fmla="*/ 19 w 86"/>
                <a:gd name="T27" fmla="*/ 8 h 87"/>
                <a:gd name="T28" fmla="*/ 26 w 86"/>
                <a:gd name="T29" fmla="*/ 3 h 87"/>
                <a:gd name="T30" fmla="*/ 35 w 86"/>
                <a:gd name="T31" fmla="*/ 1 h 87"/>
                <a:gd name="T32" fmla="*/ 43 w 86"/>
                <a:gd name="T33" fmla="*/ 0 h 87"/>
                <a:gd name="T34" fmla="*/ 43 w 86"/>
                <a:gd name="T35" fmla="*/ 0 h 87"/>
                <a:gd name="T36" fmla="*/ 43 w 86"/>
                <a:gd name="T37" fmla="*/ 0 h 87"/>
                <a:gd name="T38" fmla="*/ 52 w 86"/>
                <a:gd name="T39" fmla="*/ 1 h 87"/>
                <a:gd name="T40" fmla="*/ 61 w 86"/>
                <a:gd name="T41" fmla="*/ 3 h 87"/>
                <a:gd name="T42" fmla="*/ 68 w 86"/>
                <a:gd name="T43" fmla="*/ 8 h 87"/>
                <a:gd name="T44" fmla="*/ 73 w 86"/>
                <a:gd name="T45" fmla="*/ 13 h 87"/>
                <a:gd name="T46" fmla="*/ 79 w 86"/>
                <a:gd name="T47" fmla="*/ 20 h 87"/>
                <a:gd name="T48" fmla="*/ 83 w 86"/>
                <a:gd name="T49" fmla="*/ 27 h 87"/>
                <a:gd name="T50" fmla="*/ 85 w 86"/>
                <a:gd name="T51" fmla="*/ 35 h 87"/>
                <a:gd name="T52" fmla="*/ 86 w 86"/>
                <a:gd name="T53" fmla="*/ 43 h 87"/>
                <a:gd name="T54" fmla="*/ 85 w 86"/>
                <a:gd name="T55" fmla="*/ 53 h 87"/>
                <a:gd name="T56" fmla="*/ 83 w 86"/>
                <a:gd name="T57" fmla="*/ 60 h 87"/>
                <a:gd name="T58" fmla="*/ 79 w 86"/>
                <a:gd name="T59" fmla="*/ 68 h 87"/>
                <a:gd name="T60" fmla="*/ 73 w 86"/>
                <a:gd name="T61" fmla="*/ 74 h 87"/>
                <a:gd name="T62" fmla="*/ 68 w 86"/>
                <a:gd name="T63" fmla="*/ 80 h 87"/>
                <a:gd name="T64" fmla="*/ 61 w 86"/>
                <a:gd name="T65" fmla="*/ 83 h 87"/>
                <a:gd name="T66" fmla="*/ 52 w 86"/>
                <a:gd name="T67" fmla="*/ 86 h 87"/>
                <a:gd name="T68" fmla="*/ 44 w 86"/>
                <a:gd name="T69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86" h="87">
                  <a:moveTo>
                    <a:pt x="44" y="87"/>
                  </a:moveTo>
                  <a:lnTo>
                    <a:pt x="35" y="86"/>
                  </a:lnTo>
                  <a:lnTo>
                    <a:pt x="26" y="83"/>
                  </a:lnTo>
                  <a:lnTo>
                    <a:pt x="19" y="80"/>
                  </a:lnTo>
                  <a:lnTo>
                    <a:pt x="13" y="74"/>
                  </a:lnTo>
                  <a:lnTo>
                    <a:pt x="8" y="68"/>
                  </a:lnTo>
                  <a:lnTo>
                    <a:pt x="4" y="61"/>
                  </a:lnTo>
                  <a:lnTo>
                    <a:pt x="2" y="53"/>
                  </a:lnTo>
                  <a:lnTo>
                    <a:pt x="0" y="43"/>
                  </a:lnTo>
                  <a:lnTo>
                    <a:pt x="2" y="35"/>
                  </a:lnTo>
                  <a:lnTo>
                    <a:pt x="4" y="27"/>
                  </a:lnTo>
                  <a:lnTo>
                    <a:pt x="8" y="20"/>
                  </a:lnTo>
                  <a:lnTo>
                    <a:pt x="13" y="13"/>
                  </a:lnTo>
                  <a:lnTo>
                    <a:pt x="19" y="8"/>
                  </a:lnTo>
                  <a:lnTo>
                    <a:pt x="26" y="3"/>
                  </a:lnTo>
                  <a:lnTo>
                    <a:pt x="35" y="1"/>
                  </a:lnTo>
                  <a:lnTo>
                    <a:pt x="43" y="0"/>
                  </a:lnTo>
                  <a:lnTo>
                    <a:pt x="43" y="0"/>
                  </a:lnTo>
                  <a:lnTo>
                    <a:pt x="43" y="0"/>
                  </a:lnTo>
                  <a:lnTo>
                    <a:pt x="52" y="1"/>
                  </a:lnTo>
                  <a:lnTo>
                    <a:pt x="61" y="3"/>
                  </a:lnTo>
                  <a:lnTo>
                    <a:pt x="68" y="8"/>
                  </a:lnTo>
                  <a:lnTo>
                    <a:pt x="73" y="13"/>
                  </a:lnTo>
                  <a:lnTo>
                    <a:pt x="79" y="20"/>
                  </a:lnTo>
                  <a:lnTo>
                    <a:pt x="83" y="27"/>
                  </a:lnTo>
                  <a:lnTo>
                    <a:pt x="85" y="35"/>
                  </a:lnTo>
                  <a:lnTo>
                    <a:pt x="86" y="43"/>
                  </a:lnTo>
                  <a:lnTo>
                    <a:pt x="85" y="53"/>
                  </a:lnTo>
                  <a:lnTo>
                    <a:pt x="83" y="60"/>
                  </a:lnTo>
                  <a:lnTo>
                    <a:pt x="79" y="68"/>
                  </a:lnTo>
                  <a:lnTo>
                    <a:pt x="73" y="74"/>
                  </a:lnTo>
                  <a:lnTo>
                    <a:pt x="68" y="80"/>
                  </a:lnTo>
                  <a:lnTo>
                    <a:pt x="61" y="83"/>
                  </a:lnTo>
                  <a:lnTo>
                    <a:pt x="52" y="86"/>
                  </a:lnTo>
                  <a:lnTo>
                    <a:pt x="44" y="87"/>
                  </a:lnTo>
                  <a:close/>
                </a:path>
              </a:pathLst>
            </a:custGeom>
            <a:solidFill>
              <a:srgbClr val="B4A69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6653" tIns="58327" rIns="116653" bIns="58327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434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137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52" name="Freeform 122"/>
            <p:cNvSpPr>
              <a:spLocks/>
            </p:cNvSpPr>
            <p:nvPr/>
          </p:nvSpPr>
          <p:spPr bwMode="auto">
            <a:xfrm>
              <a:off x="4159" y="2370"/>
              <a:ext cx="21" cy="21"/>
            </a:xfrm>
            <a:custGeom>
              <a:avLst/>
              <a:gdLst>
                <a:gd name="T0" fmla="*/ 43 w 85"/>
                <a:gd name="T1" fmla="*/ 87 h 87"/>
                <a:gd name="T2" fmla="*/ 34 w 85"/>
                <a:gd name="T3" fmla="*/ 86 h 87"/>
                <a:gd name="T4" fmla="*/ 26 w 85"/>
                <a:gd name="T5" fmla="*/ 83 h 87"/>
                <a:gd name="T6" fmla="*/ 19 w 85"/>
                <a:gd name="T7" fmla="*/ 80 h 87"/>
                <a:gd name="T8" fmla="*/ 12 w 85"/>
                <a:gd name="T9" fmla="*/ 74 h 87"/>
                <a:gd name="T10" fmla="*/ 7 w 85"/>
                <a:gd name="T11" fmla="*/ 68 h 87"/>
                <a:gd name="T12" fmla="*/ 3 w 85"/>
                <a:gd name="T13" fmla="*/ 61 h 87"/>
                <a:gd name="T14" fmla="*/ 0 w 85"/>
                <a:gd name="T15" fmla="*/ 53 h 87"/>
                <a:gd name="T16" fmla="*/ 0 w 85"/>
                <a:gd name="T17" fmla="*/ 43 h 87"/>
                <a:gd name="T18" fmla="*/ 0 w 85"/>
                <a:gd name="T19" fmla="*/ 35 h 87"/>
                <a:gd name="T20" fmla="*/ 3 w 85"/>
                <a:gd name="T21" fmla="*/ 27 h 87"/>
                <a:gd name="T22" fmla="*/ 7 w 85"/>
                <a:gd name="T23" fmla="*/ 20 h 87"/>
                <a:gd name="T24" fmla="*/ 12 w 85"/>
                <a:gd name="T25" fmla="*/ 13 h 87"/>
                <a:gd name="T26" fmla="*/ 19 w 85"/>
                <a:gd name="T27" fmla="*/ 8 h 87"/>
                <a:gd name="T28" fmla="*/ 26 w 85"/>
                <a:gd name="T29" fmla="*/ 3 h 87"/>
                <a:gd name="T30" fmla="*/ 34 w 85"/>
                <a:gd name="T31" fmla="*/ 1 h 87"/>
                <a:gd name="T32" fmla="*/ 43 w 85"/>
                <a:gd name="T33" fmla="*/ 0 h 87"/>
                <a:gd name="T34" fmla="*/ 43 w 85"/>
                <a:gd name="T35" fmla="*/ 0 h 87"/>
                <a:gd name="T36" fmla="*/ 43 w 85"/>
                <a:gd name="T37" fmla="*/ 0 h 87"/>
                <a:gd name="T38" fmla="*/ 51 w 85"/>
                <a:gd name="T39" fmla="*/ 1 h 87"/>
                <a:gd name="T40" fmla="*/ 59 w 85"/>
                <a:gd name="T41" fmla="*/ 3 h 87"/>
                <a:gd name="T42" fmla="*/ 66 w 85"/>
                <a:gd name="T43" fmla="*/ 8 h 87"/>
                <a:gd name="T44" fmla="*/ 73 w 85"/>
                <a:gd name="T45" fmla="*/ 13 h 87"/>
                <a:gd name="T46" fmla="*/ 78 w 85"/>
                <a:gd name="T47" fmla="*/ 20 h 87"/>
                <a:gd name="T48" fmla="*/ 81 w 85"/>
                <a:gd name="T49" fmla="*/ 27 h 87"/>
                <a:gd name="T50" fmla="*/ 85 w 85"/>
                <a:gd name="T51" fmla="*/ 35 h 87"/>
                <a:gd name="T52" fmla="*/ 85 w 85"/>
                <a:gd name="T53" fmla="*/ 43 h 87"/>
                <a:gd name="T54" fmla="*/ 85 w 85"/>
                <a:gd name="T55" fmla="*/ 53 h 87"/>
                <a:gd name="T56" fmla="*/ 81 w 85"/>
                <a:gd name="T57" fmla="*/ 60 h 87"/>
                <a:gd name="T58" fmla="*/ 78 w 85"/>
                <a:gd name="T59" fmla="*/ 68 h 87"/>
                <a:gd name="T60" fmla="*/ 73 w 85"/>
                <a:gd name="T61" fmla="*/ 74 h 87"/>
                <a:gd name="T62" fmla="*/ 66 w 85"/>
                <a:gd name="T63" fmla="*/ 80 h 87"/>
                <a:gd name="T64" fmla="*/ 59 w 85"/>
                <a:gd name="T65" fmla="*/ 83 h 87"/>
                <a:gd name="T66" fmla="*/ 51 w 85"/>
                <a:gd name="T67" fmla="*/ 86 h 87"/>
                <a:gd name="T68" fmla="*/ 43 w 85"/>
                <a:gd name="T69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85" h="87">
                  <a:moveTo>
                    <a:pt x="43" y="87"/>
                  </a:moveTo>
                  <a:lnTo>
                    <a:pt x="34" y="86"/>
                  </a:lnTo>
                  <a:lnTo>
                    <a:pt x="26" y="83"/>
                  </a:lnTo>
                  <a:lnTo>
                    <a:pt x="19" y="80"/>
                  </a:lnTo>
                  <a:lnTo>
                    <a:pt x="12" y="74"/>
                  </a:lnTo>
                  <a:lnTo>
                    <a:pt x="7" y="68"/>
                  </a:lnTo>
                  <a:lnTo>
                    <a:pt x="3" y="61"/>
                  </a:lnTo>
                  <a:lnTo>
                    <a:pt x="0" y="53"/>
                  </a:lnTo>
                  <a:lnTo>
                    <a:pt x="0" y="43"/>
                  </a:lnTo>
                  <a:lnTo>
                    <a:pt x="0" y="35"/>
                  </a:lnTo>
                  <a:lnTo>
                    <a:pt x="3" y="27"/>
                  </a:lnTo>
                  <a:lnTo>
                    <a:pt x="7" y="20"/>
                  </a:lnTo>
                  <a:lnTo>
                    <a:pt x="12" y="13"/>
                  </a:lnTo>
                  <a:lnTo>
                    <a:pt x="19" y="8"/>
                  </a:lnTo>
                  <a:lnTo>
                    <a:pt x="26" y="3"/>
                  </a:lnTo>
                  <a:lnTo>
                    <a:pt x="34" y="1"/>
                  </a:lnTo>
                  <a:lnTo>
                    <a:pt x="43" y="0"/>
                  </a:lnTo>
                  <a:lnTo>
                    <a:pt x="43" y="0"/>
                  </a:lnTo>
                  <a:lnTo>
                    <a:pt x="43" y="0"/>
                  </a:lnTo>
                  <a:lnTo>
                    <a:pt x="51" y="1"/>
                  </a:lnTo>
                  <a:lnTo>
                    <a:pt x="59" y="3"/>
                  </a:lnTo>
                  <a:lnTo>
                    <a:pt x="66" y="8"/>
                  </a:lnTo>
                  <a:lnTo>
                    <a:pt x="73" y="13"/>
                  </a:lnTo>
                  <a:lnTo>
                    <a:pt x="78" y="20"/>
                  </a:lnTo>
                  <a:lnTo>
                    <a:pt x="81" y="27"/>
                  </a:lnTo>
                  <a:lnTo>
                    <a:pt x="85" y="35"/>
                  </a:lnTo>
                  <a:lnTo>
                    <a:pt x="85" y="43"/>
                  </a:lnTo>
                  <a:lnTo>
                    <a:pt x="85" y="53"/>
                  </a:lnTo>
                  <a:lnTo>
                    <a:pt x="81" y="60"/>
                  </a:lnTo>
                  <a:lnTo>
                    <a:pt x="78" y="68"/>
                  </a:lnTo>
                  <a:lnTo>
                    <a:pt x="73" y="74"/>
                  </a:lnTo>
                  <a:lnTo>
                    <a:pt x="66" y="80"/>
                  </a:lnTo>
                  <a:lnTo>
                    <a:pt x="59" y="83"/>
                  </a:lnTo>
                  <a:lnTo>
                    <a:pt x="51" y="86"/>
                  </a:lnTo>
                  <a:lnTo>
                    <a:pt x="43" y="87"/>
                  </a:lnTo>
                  <a:close/>
                </a:path>
              </a:pathLst>
            </a:custGeom>
            <a:solidFill>
              <a:srgbClr val="B4A69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6653" tIns="58327" rIns="116653" bIns="58327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434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137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53" name="Freeform 123"/>
            <p:cNvSpPr>
              <a:spLocks/>
            </p:cNvSpPr>
            <p:nvPr/>
          </p:nvSpPr>
          <p:spPr bwMode="auto">
            <a:xfrm>
              <a:off x="4096" y="2441"/>
              <a:ext cx="21" cy="22"/>
            </a:xfrm>
            <a:custGeom>
              <a:avLst/>
              <a:gdLst>
                <a:gd name="T0" fmla="*/ 44 w 86"/>
                <a:gd name="T1" fmla="*/ 88 h 88"/>
                <a:gd name="T2" fmla="*/ 36 w 86"/>
                <a:gd name="T3" fmla="*/ 86 h 88"/>
                <a:gd name="T4" fmla="*/ 27 w 86"/>
                <a:gd name="T5" fmla="*/ 84 h 88"/>
                <a:gd name="T6" fmla="*/ 20 w 86"/>
                <a:gd name="T7" fmla="*/ 79 h 88"/>
                <a:gd name="T8" fmla="*/ 13 w 86"/>
                <a:gd name="T9" fmla="*/ 75 h 88"/>
                <a:gd name="T10" fmla="*/ 9 w 86"/>
                <a:gd name="T11" fmla="*/ 68 h 88"/>
                <a:gd name="T12" fmla="*/ 4 w 86"/>
                <a:gd name="T13" fmla="*/ 60 h 88"/>
                <a:gd name="T14" fmla="*/ 1 w 86"/>
                <a:gd name="T15" fmla="*/ 52 h 88"/>
                <a:gd name="T16" fmla="*/ 0 w 86"/>
                <a:gd name="T17" fmla="*/ 44 h 88"/>
                <a:gd name="T18" fmla="*/ 1 w 86"/>
                <a:gd name="T19" fmla="*/ 35 h 88"/>
                <a:gd name="T20" fmla="*/ 4 w 86"/>
                <a:gd name="T21" fmla="*/ 28 h 88"/>
                <a:gd name="T22" fmla="*/ 9 w 86"/>
                <a:gd name="T23" fmla="*/ 19 h 88"/>
                <a:gd name="T24" fmla="*/ 13 w 86"/>
                <a:gd name="T25" fmla="*/ 13 h 88"/>
                <a:gd name="T26" fmla="*/ 19 w 86"/>
                <a:gd name="T27" fmla="*/ 8 h 88"/>
                <a:gd name="T28" fmla="*/ 27 w 86"/>
                <a:gd name="T29" fmla="*/ 4 h 88"/>
                <a:gd name="T30" fmla="*/ 34 w 86"/>
                <a:gd name="T31" fmla="*/ 2 h 88"/>
                <a:gd name="T32" fmla="*/ 44 w 86"/>
                <a:gd name="T33" fmla="*/ 0 h 88"/>
                <a:gd name="T34" fmla="*/ 44 w 86"/>
                <a:gd name="T35" fmla="*/ 0 h 88"/>
                <a:gd name="T36" fmla="*/ 44 w 86"/>
                <a:gd name="T37" fmla="*/ 0 h 88"/>
                <a:gd name="T38" fmla="*/ 52 w 86"/>
                <a:gd name="T39" fmla="*/ 2 h 88"/>
                <a:gd name="T40" fmla="*/ 60 w 86"/>
                <a:gd name="T41" fmla="*/ 4 h 88"/>
                <a:gd name="T42" fmla="*/ 67 w 86"/>
                <a:gd name="T43" fmla="*/ 8 h 88"/>
                <a:gd name="T44" fmla="*/ 74 w 86"/>
                <a:gd name="T45" fmla="*/ 13 h 88"/>
                <a:gd name="T46" fmla="*/ 79 w 86"/>
                <a:gd name="T47" fmla="*/ 19 h 88"/>
                <a:gd name="T48" fmla="*/ 83 w 86"/>
                <a:gd name="T49" fmla="*/ 26 h 88"/>
                <a:gd name="T50" fmla="*/ 86 w 86"/>
                <a:gd name="T51" fmla="*/ 35 h 88"/>
                <a:gd name="T52" fmla="*/ 86 w 86"/>
                <a:gd name="T53" fmla="*/ 44 h 88"/>
                <a:gd name="T54" fmla="*/ 86 w 86"/>
                <a:gd name="T55" fmla="*/ 52 h 88"/>
                <a:gd name="T56" fmla="*/ 83 w 86"/>
                <a:gd name="T57" fmla="*/ 60 h 88"/>
                <a:gd name="T58" fmla="*/ 79 w 86"/>
                <a:gd name="T59" fmla="*/ 68 h 88"/>
                <a:gd name="T60" fmla="*/ 74 w 86"/>
                <a:gd name="T61" fmla="*/ 75 h 88"/>
                <a:gd name="T62" fmla="*/ 67 w 86"/>
                <a:gd name="T63" fmla="*/ 79 h 88"/>
                <a:gd name="T64" fmla="*/ 60 w 86"/>
                <a:gd name="T65" fmla="*/ 84 h 88"/>
                <a:gd name="T66" fmla="*/ 52 w 86"/>
                <a:gd name="T67" fmla="*/ 86 h 88"/>
                <a:gd name="T68" fmla="*/ 44 w 86"/>
                <a:gd name="T69" fmla="*/ 88 h 88"/>
                <a:gd name="T70" fmla="*/ 44 w 86"/>
                <a:gd name="T71" fmla="*/ 88 h 88"/>
                <a:gd name="T72" fmla="*/ 44 w 86"/>
                <a:gd name="T73" fmla="*/ 88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86" h="88">
                  <a:moveTo>
                    <a:pt x="44" y="88"/>
                  </a:moveTo>
                  <a:lnTo>
                    <a:pt x="36" y="86"/>
                  </a:lnTo>
                  <a:lnTo>
                    <a:pt x="27" y="84"/>
                  </a:lnTo>
                  <a:lnTo>
                    <a:pt x="20" y="79"/>
                  </a:lnTo>
                  <a:lnTo>
                    <a:pt x="13" y="75"/>
                  </a:lnTo>
                  <a:lnTo>
                    <a:pt x="9" y="68"/>
                  </a:lnTo>
                  <a:lnTo>
                    <a:pt x="4" y="60"/>
                  </a:lnTo>
                  <a:lnTo>
                    <a:pt x="1" y="52"/>
                  </a:lnTo>
                  <a:lnTo>
                    <a:pt x="0" y="44"/>
                  </a:lnTo>
                  <a:lnTo>
                    <a:pt x="1" y="35"/>
                  </a:lnTo>
                  <a:lnTo>
                    <a:pt x="4" y="28"/>
                  </a:lnTo>
                  <a:lnTo>
                    <a:pt x="9" y="19"/>
                  </a:lnTo>
                  <a:lnTo>
                    <a:pt x="13" y="13"/>
                  </a:lnTo>
                  <a:lnTo>
                    <a:pt x="19" y="8"/>
                  </a:lnTo>
                  <a:lnTo>
                    <a:pt x="27" y="4"/>
                  </a:lnTo>
                  <a:lnTo>
                    <a:pt x="34" y="2"/>
                  </a:lnTo>
                  <a:lnTo>
                    <a:pt x="44" y="0"/>
                  </a:lnTo>
                  <a:lnTo>
                    <a:pt x="44" y="0"/>
                  </a:lnTo>
                  <a:lnTo>
                    <a:pt x="44" y="0"/>
                  </a:lnTo>
                  <a:lnTo>
                    <a:pt x="52" y="2"/>
                  </a:lnTo>
                  <a:lnTo>
                    <a:pt x="60" y="4"/>
                  </a:lnTo>
                  <a:lnTo>
                    <a:pt x="67" y="8"/>
                  </a:lnTo>
                  <a:lnTo>
                    <a:pt x="74" y="13"/>
                  </a:lnTo>
                  <a:lnTo>
                    <a:pt x="79" y="19"/>
                  </a:lnTo>
                  <a:lnTo>
                    <a:pt x="83" y="26"/>
                  </a:lnTo>
                  <a:lnTo>
                    <a:pt x="86" y="35"/>
                  </a:lnTo>
                  <a:lnTo>
                    <a:pt x="86" y="44"/>
                  </a:lnTo>
                  <a:lnTo>
                    <a:pt x="86" y="52"/>
                  </a:lnTo>
                  <a:lnTo>
                    <a:pt x="83" y="60"/>
                  </a:lnTo>
                  <a:lnTo>
                    <a:pt x="79" y="68"/>
                  </a:lnTo>
                  <a:lnTo>
                    <a:pt x="74" y="75"/>
                  </a:lnTo>
                  <a:lnTo>
                    <a:pt x="67" y="79"/>
                  </a:lnTo>
                  <a:lnTo>
                    <a:pt x="60" y="84"/>
                  </a:lnTo>
                  <a:lnTo>
                    <a:pt x="52" y="86"/>
                  </a:lnTo>
                  <a:lnTo>
                    <a:pt x="44" y="88"/>
                  </a:lnTo>
                  <a:lnTo>
                    <a:pt x="44" y="88"/>
                  </a:lnTo>
                  <a:lnTo>
                    <a:pt x="44" y="88"/>
                  </a:lnTo>
                  <a:close/>
                </a:path>
              </a:pathLst>
            </a:custGeom>
            <a:solidFill>
              <a:srgbClr val="B4A69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6653" tIns="58327" rIns="116653" bIns="58327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434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137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54" name="Freeform 124"/>
            <p:cNvSpPr>
              <a:spLocks/>
            </p:cNvSpPr>
            <p:nvPr/>
          </p:nvSpPr>
          <p:spPr bwMode="auto">
            <a:xfrm>
              <a:off x="4013" y="2525"/>
              <a:ext cx="22" cy="22"/>
            </a:xfrm>
            <a:custGeom>
              <a:avLst/>
              <a:gdLst>
                <a:gd name="T0" fmla="*/ 43 w 86"/>
                <a:gd name="T1" fmla="*/ 87 h 87"/>
                <a:gd name="T2" fmla="*/ 34 w 86"/>
                <a:gd name="T3" fmla="*/ 86 h 87"/>
                <a:gd name="T4" fmla="*/ 26 w 86"/>
                <a:gd name="T5" fmla="*/ 84 h 87"/>
                <a:gd name="T6" fmla="*/ 19 w 86"/>
                <a:gd name="T7" fmla="*/ 80 h 87"/>
                <a:gd name="T8" fmla="*/ 13 w 86"/>
                <a:gd name="T9" fmla="*/ 74 h 87"/>
                <a:gd name="T10" fmla="*/ 7 w 86"/>
                <a:gd name="T11" fmla="*/ 69 h 87"/>
                <a:gd name="T12" fmla="*/ 3 w 86"/>
                <a:gd name="T13" fmla="*/ 62 h 87"/>
                <a:gd name="T14" fmla="*/ 1 w 86"/>
                <a:gd name="T15" fmla="*/ 53 h 87"/>
                <a:gd name="T16" fmla="*/ 0 w 86"/>
                <a:gd name="T17" fmla="*/ 44 h 87"/>
                <a:gd name="T18" fmla="*/ 1 w 86"/>
                <a:gd name="T19" fmla="*/ 36 h 87"/>
                <a:gd name="T20" fmla="*/ 3 w 86"/>
                <a:gd name="T21" fmla="*/ 27 h 87"/>
                <a:gd name="T22" fmla="*/ 7 w 86"/>
                <a:gd name="T23" fmla="*/ 20 h 87"/>
                <a:gd name="T24" fmla="*/ 13 w 86"/>
                <a:gd name="T25" fmla="*/ 13 h 87"/>
                <a:gd name="T26" fmla="*/ 19 w 86"/>
                <a:gd name="T27" fmla="*/ 9 h 87"/>
                <a:gd name="T28" fmla="*/ 26 w 86"/>
                <a:gd name="T29" fmla="*/ 4 h 87"/>
                <a:gd name="T30" fmla="*/ 34 w 86"/>
                <a:gd name="T31" fmla="*/ 1 h 87"/>
                <a:gd name="T32" fmla="*/ 42 w 86"/>
                <a:gd name="T33" fmla="*/ 0 h 87"/>
                <a:gd name="T34" fmla="*/ 43 w 86"/>
                <a:gd name="T35" fmla="*/ 0 h 87"/>
                <a:gd name="T36" fmla="*/ 43 w 86"/>
                <a:gd name="T37" fmla="*/ 0 h 87"/>
                <a:gd name="T38" fmla="*/ 51 w 86"/>
                <a:gd name="T39" fmla="*/ 1 h 87"/>
                <a:gd name="T40" fmla="*/ 60 w 86"/>
                <a:gd name="T41" fmla="*/ 4 h 87"/>
                <a:gd name="T42" fmla="*/ 67 w 86"/>
                <a:gd name="T43" fmla="*/ 9 h 87"/>
                <a:gd name="T44" fmla="*/ 73 w 86"/>
                <a:gd name="T45" fmla="*/ 13 h 87"/>
                <a:gd name="T46" fmla="*/ 79 w 86"/>
                <a:gd name="T47" fmla="*/ 20 h 87"/>
                <a:gd name="T48" fmla="*/ 82 w 86"/>
                <a:gd name="T49" fmla="*/ 27 h 87"/>
                <a:gd name="T50" fmla="*/ 84 w 86"/>
                <a:gd name="T51" fmla="*/ 36 h 87"/>
                <a:gd name="T52" fmla="*/ 86 w 86"/>
                <a:gd name="T53" fmla="*/ 44 h 87"/>
                <a:gd name="T54" fmla="*/ 84 w 86"/>
                <a:gd name="T55" fmla="*/ 53 h 87"/>
                <a:gd name="T56" fmla="*/ 82 w 86"/>
                <a:gd name="T57" fmla="*/ 60 h 87"/>
                <a:gd name="T58" fmla="*/ 79 w 86"/>
                <a:gd name="T59" fmla="*/ 69 h 87"/>
                <a:gd name="T60" fmla="*/ 73 w 86"/>
                <a:gd name="T61" fmla="*/ 74 h 87"/>
                <a:gd name="T62" fmla="*/ 67 w 86"/>
                <a:gd name="T63" fmla="*/ 80 h 87"/>
                <a:gd name="T64" fmla="*/ 60 w 86"/>
                <a:gd name="T65" fmla="*/ 84 h 87"/>
                <a:gd name="T66" fmla="*/ 51 w 86"/>
                <a:gd name="T67" fmla="*/ 86 h 87"/>
                <a:gd name="T68" fmla="*/ 43 w 86"/>
                <a:gd name="T69" fmla="*/ 87 h 87"/>
                <a:gd name="T70" fmla="*/ 43 w 86"/>
                <a:gd name="T71" fmla="*/ 87 h 87"/>
                <a:gd name="T72" fmla="*/ 43 w 86"/>
                <a:gd name="T73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86" h="87">
                  <a:moveTo>
                    <a:pt x="43" y="87"/>
                  </a:moveTo>
                  <a:lnTo>
                    <a:pt x="34" y="86"/>
                  </a:lnTo>
                  <a:lnTo>
                    <a:pt x="26" y="84"/>
                  </a:lnTo>
                  <a:lnTo>
                    <a:pt x="19" y="80"/>
                  </a:lnTo>
                  <a:lnTo>
                    <a:pt x="13" y="74"/>
                  </a:lnTo>
                  <a:lnTo>
                    <a:pt x="7" y="69"/>
                  </a:lnTo>
                  <a:lnTo>
                    <a:pt x="3" y="62"/>
                  </a:lnTo>
                  <a:lnTo>
                    <a:pt x="1" y="53"/>
                  </a:lnTo>
                  <a:lnTo>
                    <a:pt x="0" y="44"/>
                  </a:lnTo>
                  <a:lnTo>
                    <a:pt x="1" y="36"/>
                  </a:lnTo>
                  <a:lnTo>
                    <a:pt x="3" y="27"/>
                  </a:lnTo>
                  <a:lnTo>
                    <a:pt x="7" y="20"/>
                  </a:lnTo>
                  <a:lnTo>
                    <a:pt x="13" y="13"/>
                  </a:lnTo>
                  <a:lnTo>
                    <a:pt x="19" y="9"/>
                  </a:lnTo>
                  <a:lnTo>
                    <a:pt x="26" y="4"/>
                  </a:lnTo>
                  <a:lnTo>
                    <a:pt x="34" y="1"/>
                  </a:lnTo>
                  <a:lnTo>
                    <a:pt x="42" y="0"/>
                  </a:lnTo>
                  <a:lnTo>
                    <a:pt x="43" y="0"/>
                  </a:lnTo>
                  <a:lnTo>
                    <a:pt x="43" y="0"/>
                  </a:lnTo>
                  <a:lnTo>
                    <a:pt x="51" y="1"/>
                  </a:lnTo>
                  <a:lnTo>
                    <a:pt x="60" y="4"/>
                  </a:lnTo>
                  <a:lnTo>
                    <a:pt x="67" y="9"/>
                  </a:lnTo>
                  <a:lnTo>
                    <a:pt x="73" y="13"/>
                  </a:lnTo>
                  <a:lnTo>
                    <a:pt x="79" y="20"/>
                  </a:lnTo>
                  <a:lnTo>
                    <a:pt x="82" y="27"/>
                  </a:lnTo>
                  <a:lnTo>
                    <a:pt x="84" y="36"/>
                  </a:lnTo>
                  <a:lnTo>
                    <a:pt x="86" y="44"/>
                  </a:lnTo>
                  <a:lnTo>
                    <a:pt x="84" y="53"/>
                  </a:lnTo>
                  <a:lnTo>
                    <a:pt x="82" y="60"/>
                  </a:lnTo>
                  <a:lnTo>
                    <a:pt x="79" y="69"/>
                  </a:lnTo>
                  <a:lnTo>
                    <a:pt x="73" y="74"/>
                  </a:lnTo>
                  <a:lnTo>
                    <a:pt x="67" y="80"/>
                  </a:lnTo>
                  <a:lnTo>
                    <a:pt x="60" y="84"/>
                  </a:lnTo>
                  <a:lnTo>
                    <a:pt x="51" y="86"/>
                  </a:lnTo>
                  <a:lnTo>
                    <a:pt x="43" y="87"/>
                  </a:lnTo>
                  <a:lnTo>
                    <a:pt x="43" y="87"/>
                  </a:lnTo>
                  <a:lnTo>
                    <a:pt x="43" y="87"/>
                  </a:lnTo>
                  <a:close/>
                </a:path>
              </a:pathLst>
            </a:custGeom>
            <a:solidFill>
              <a:srgbClr val="B4A69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6653" tIns="58327" rIns="116653" bIns="58327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434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137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55" name="Freeform 125"/>
            <p:cNvSpPr>
              <a:spLocks/>
            </p:cNvSpPr>
            <p:nvPr/>
          </p:nvSpPr>
          <p:spPr bwMode="auto">
            <a:xfrm>
              <a:off x="4159" y="2525"/>
              <a:ext cx="21" cy="22"/>
            </a:xfrm>
            <a:custGeom>
              <a:avLst/>
              <a:gdLst>
                <a:gd name="T0" fmla="*/ 43 w 85"/>
                <a:gd name="T1" fmla="*/ 87 h 87"/>
                <a:gd name="T2" fmla="*/ 35 w 85"/>
                <a:gd name="T3" fmla="*/ 86 h 87"/>
                <a:gd name="T4" fmla="*/ 26 w 85"/>
                <a:gd name="T5" fmla="*/ 84 h 87"/>
                <a:gd name="T6" fmla="*/ 19 w 85"/>
                <a:gd name="T7" fmla="*/ 80 h 87"/>
                <a:gd name="T8" fmla="*/ 12 w 85"/>
                <a:gd name="T9" fmla="*/ 74 h 87"/>
                <a:gd name="T10" fmla="*/ 7 w 85"/>
                <a:gd name="T11" fmla="*/ 68 h 87"/>
                <a:gd name="T12" fmla="*/ 3 w 85"/>
                <a:gd name="T13" fmla="*/ 61 h 87"/>
                <a:gd name="T14" fmla="*/ 0 w 85"/>
                <a:gd name="T15" fmla="*/ 53 h 87"/>
                <a:gd name="T16" fmla="*/ 0 w 85"/>
                <a:gd name="T17" fmla="*/ 44 h 87"/>
                <a:gd name="T18" fmla="*/ 0 w 85"/>
                <a:gd name="T19" fmla="*/ 35 h 87"/>
                <a:gd name="T20" fmla="*/ 3 w 85"/>
                <a:gd name="T21" fmla="*/ 27 h 87"/>
                <a:gd name="T22" fmla="*/ 7 w 85"/>
                <a:gd name="T23" fmla="*/ 20 h 87"/>
                <a:gd name="T24" fmla="*/ 12 w 85"/>
                <a:gd name="T25" fmla="*/ 13 h 87"/>
                <a:gd name="T26" fmla="*/ 19 w 85"/>
                <a:gd name="T27" fmla="*/ 8 h 87"/>
                <a:gd name="T28" fmla="*/ 26 w 85"/>
                <a:gd name="T29" fmla="*/ 4 h 87"/>
                <a:gd name="T30" fmla="*/ 35 w 85"/>
                <a:gd name="T31" fmla="*/ 1 h 87"/>
                <a:gd name="T32" fmla="*/ 43 w 85"/>
                <a:gd name="T33" fmla="*/ 0 h 87"/>
                <a:gd name="T34" fmla="*/ 43 w 85"/>
                <a:gd name="T35" fmla="*/ 0 h 87"/>
                <a:gd name="T36" fmla="*/ 43 w 85"/>
                <a:gd name="T37" fmla="*/ 0 h 87"/>
                <a:gd name="T38" fmla="*/ 51 w 85"/>
                <a:gd name="T39" fmla="*/ 1 h 87"/>
                <a:gd name="T40" fmla="*/ 59 w 85"/>
                <a:gd name="T41" fmla="*/ 4 h 87"/>
                <a:gd name="T42" fmla="*/ 66 w 85"/>
                <a:gd name="T43" fmla="*/ 8 h 87"/>
                <a:gd name="T44" fmla="*/ 73 w 85"/>
                <a:gd name="T45" fmla="*/ 13 h 87"/>
                <a:gd name="T46" fmla="*/ 78 w 85"/>
                <a:gd name="T47" fmla="*/ 20 h 87"/>
                <a:gd name="T48" fmla="*/ 82 w 85"/>
                <a:gd name="T49" fmla="*/ 27 h 87"/>
                <a:gd name="T50" fmla="*/ 85 w 85"/>
                <a:gd name="T51" fmla="*/ 35 h 87"/>
                <a:gd name="T52" fmla="*/ 85 w 85"/>
                <a:gd name="T53" fmla="*/ 44 h 87"/>
                <a:gd name="T54" fmla="*/ 85 w 85"/>
                <a:gd name="T55" fmla="*/ 53 h 87"/>
                <a:gd name="T56" fmla="*/ 83 w 85"/>
                <a:gd name="T57" fmla="*/ 60 h 87"/>
                <a:gd name="T58" fmla="*/ 78 w 85"/>
                <a:gd name="T59" fmla="*/ 68 h 87"/>
                <a:gd name="T60" fmla="*/ 73 w 85"/>
                <a:gd name="T61" fmla="*/ 74 h 87"/>
                <a:gd name="T62" fmla="*/ 66 w 85"/>
                <a:gd name="T63" fmla="*/ 80 h 87"/>
                <a:gd name="T64" fmla="*/ 59 w 85"/>
                <a:gd name="T65" fmla="*/ 84 h 87"/>
                <a:gd name="T66" fmla="*/ 51 w 85"/>
                <a:gd name="T67" fmla="*/ 86 h 87"/>
                <a:gd name="T68" fmla="*/ 43 w 85"/>
                <a:gd name="T69" fmla="*/ 87 h 87"/>
                <a:gd name="T70" fmla="*/ 43 w 85"/>
                <a:gd name="T71" fmla="*/ 87 h 87"/>
                <a:gd name="T72" fmla="*/ 43 w 85"/>
                <a:gd name="T73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85" h="87">
                  <a:moveTo>
                    <a:pt x="43" y="87"/>
                  </a:moveTo>
                  <a:lnTo>
                    <a:pt x="35" y="86"/>
                  </a:lnTo>
                  <a:lnTo>
                    <a:pt x="26" y="84"/>
                  </a:lnTo>
                  <a:lnTo>
                    <a:pt x="19" y="80"/>
                  </a:lnTo>
                  <a:lnTo>
                    <a:pt x="12" y="74"/>
                  </a:lnTo>
                  <a:lnTo>
                    <a:pt x="7" y="68"/>
                  </a:lnTo>
                  <a:lnTo>
                    <a:pt x="3" y="61"/>
                  </a:lnTo>
                  <a:lnTo>
                    <a:pt x="0" y="53"/>
                  </a:lnTo>
                  <a:lnTo>
                    <a:pt x="0" y="44"/>
                  </a:lnTo>
                  <a:lnTo>
                    <a:pt x="0" y="35"/>
                  </a:lnTo>
                  <a:lnTo>
                    <a:pt x="3" y="27"/>
                  </a:lnTo>
                  <a:lnTo>
                    <a:pt x="7" y="20"/>
                  </a:lnTo>
                  <a:lnTo>
                    <a:pt x="12" y="13"/>
                  </a:lnTo>
                  <a:lnTo>
                    <a:pt x="19" y="8"/>
                  </a:lnTo>
                  <a:lnTo>
                    <a:pt x="26" y="4"/>
                  </a:lnTo>
                  <a:lnTo>
                    <a:pt x="35" y="1"/>
                  </a:lnTo>
                  <a:lnTo>
                    <a:pt x="43" y="0"/>
                  </a:lnTo>
                  <a:lnTo>
                    <a:pt x="43" y="0"/>
                  </a:lnTo>
                  <a:lnTo>
                    <a:pt x="43" y="0"/>
                  </a:lnTo>
                  <a:lnTo>
                    <a:pt x="51" y="1"/>
                  </a:lnTo>
                  <a:lnTo>
                    <a:pt x="59" y="4"/>
                  </a:lnTo>
                  <a:lnTo>
                    <a:pt x="66" y="8"/>
                  </a:lnTo>
                  <a:lnTo>
                    <a:pt x="73" y="13"/>
                  </a:lnTo>
                  <a:lnTo>
                    <a:pt x="78" y="20"/>
                  </a:lnTo>
                  <a:lnTo>
                    <a:pt x="82" y="27"/>
                  </a:lnTo>
                  <a:lnTo>
                    <a:pt x="85" y="35"/>
                  </a:lnTo>
                  <a:lnTo>
                    <a:pt x="85" y="44"/>
                  </a:lnTo>
                  <a:lnTo>
                    <a:pt x="85" y="53"/>
                  </a:lnTo>
                  <a:lnTo>
                    <a:pt x="83" y="60"/>
                  </a:lnTo>
                  <a:lnTo>
                    <a:pt x="78" y="68"/>
                  </a:lnTo>
                  <a:lnTo>
                    <a:pt x="73" y="74"/>
                  </a:lnTo>
                  <a:lnTo>
                    <a:pt x="66" y="80"/>
                  </a:lnTo>
                  <a:lnTo>
                    <a:pt x="59" y="84"/>
                  </a:lnTo>
                  <a:lnTo>
                    <a:pt x="51" y="86"/>
                  </a:lnTo>
                  <a:lnTo>
                    <a:pt x="43" y="87"/>
                  </a:lnTo>
                  <a:lnTo>
                    <a:pt x="43" y="87"/>
                  </a:lnTo>
                  <a:lnTo>
                    <a:pt x="43" y="87"/>
                  </a:lnTo>
                  <a:close/>
                </a:path>
              </a:pathLst>
            </a:custGeom>
            <a:solidFill>
              <a:srgbClr val="B4A69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6653" tIns="58327" rIns="116653" bIns="58327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434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137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56" name="Freeform 126"/>
            <p:cNvSpPr>
              <a:spLocks/>
            </p:cNvSpPr>
            <p:nvPr/>
          </p:nvSpPr>
          <p:spPr bwMode="auto">
            <a:xfrm>
              <a:off x="3945" y="2130"/>
              <a:ext cx="22" cy="22"/>
            </a:xfrm>
            <a:custGeom>
              <a:avLst/>
              <a:gdLst>
                <a:gd name="T0" fmla="*/ 42 w 86"/>
                <a:gd name="T1" fmla="*/ 85 h 85"/>
                <a:gd name="T2" fmla="*/ 34 w 86"/>
                <a:gd name="T3" fmla="*/ 85 h 85"/>
                <a:gd name="T4" fmla="*/ 26 w 86"/>
                <a:gd name="T5" fmla="*/ 83 h 85"/>
                <a:gd name="T6" fmla="*/ 19 w 86"/>
                <a:gd name="T7" fmla="*/ 78 h 85"/>
                <a:gd name="T8" fmla="*/ 13 w 86"/>
                <a:gd name="T9" fmla="*/ 74 h 85"/>
                <a:gd name="T10" fmla="*/ 7 w 86"/>
                <a:gd name="T11" fmla="*/ 67 h 85"/>
                <a:gd name="T12" fmla="*/ 3 w 86"/>
                <a:gd name="T13" fmla="*/ 60 h 85"/>
                <a:gd name="T14" fmla="*/ 1 w 86"/>
                <a:gd name="T15" fmla="*/ 51 h 85"/>
                <a:gd name="T16" fmla="*/ 0 w 86"/>
                <a:gd name="T17" fmla="*/ 43 h 85"/>
                <a:gd name="T18" fmla="*/ 1 w 86"/>
                <a:gd name="T19" fmla="*/ 34 h 85"/>
                <a:gd name="T20" fmla="*/ 3 w 86"/>
                <a:gd name="T21" fmla="*/ 25 h 85"/>
                <a:gd name="T22" fmla="*/ 7 w 86"/>
                <a:gd name="T23" fmla="*/ 18 h 85"/>
                <a:gd name="T24" fmla="*/ 12 w 86"/>
                <a:gd name="T25" fmla="*/ 12 h 85"/>
                <a:gd name="T26" fmla="*/ 19 w 86"/>
                <a:gd name="T27" fmla="*/ 7 h 85"/>
                <a:gd name="T28" fmla="*/ 26 w 86"/>
                <a:gd name="T29" fmla="*/ 3 h 85"/>
                <a:gd name="T30" fmla="*/ 34 w 86"/>
                <a:gd name="T31" fmla="*/ 1 h 85"/>
                <a:gd name="T32" fmla="*/ 42 w 86"/>
                <a:gd name="T33" fmla="*/ 0 h 85"/>
                <a:gd name="T34" fmla="*/ 42 w 86"/>
                <a:gd name="T35" fmla="*/ 0 h 85"/>
                <a:gd name="T36" fmla="*/ 42 w 86"/>
                <a:gd name="T37" fmla="*/ 0 h 85"/>
                <a:gd name="T38" fmla="*/ 52 w 86"/>
                <a:gd name="T39" fmla="*/ 1 h 85"/>
                <a:gd name="T40" fmla="*/ 59 w 86"/>
                <a:gd name="T41" fmla="*/ 3 h 85"/>
                <a:gd name="T42" fmla="*/ 67 w 86"/>
                <a:gd name="T43" fmla="*/ 7 h 85"/>
                <a:gd name="T44" fmla="*/ 73 w 86"/>
                <a:gd name="T45" fmla="*/ 12 h 85"/>
                <a:gd name="T46" fmla="*/ 77 w 86"/>
                <a:gd name="T47" fmla="*/ 18 h 85"/>
                <a:gd name="T48" fmla="*/ 82 w 86"/>
                <a:gd name="T49" fmla="*/ 25 h 85"/>
                <a:gd name="T50" fmla="*/ 84 w 86"/>
                <a:gd name="T51" fmla="*/ 34 h 85"/>
                <a:gd name="T52" fmla="*/ 86 w 86"/>
                <a:gd name="T53" fmla="*/ 43 h 85"/>
                <a:gd name="T54" fmla="*/ 84 w 86"/>
                <a:gd name="T55" fmla="*/ 51 h 85"/>
                <a:gd name="T56" fmla="*/ 82 w 86"/>
                <a:gd name="T57" fmla="*/ 60 h 85"/>
                <a:gd name="T58" fmla="*/ 79 w 86"/>
                <a:gd name="T59" fmla="*/ 67 h 85"/>
                <a:gd name="T60" fmla="*/ 73 w 86"/>
                <a:gd name="T61" fmla="*/ 74 h 85"/>
                <a:gd name="T62" fmla="*/ 67 w 86"/>
                <a:gd name="T63" fmla="*/ 78 h 85"/>
                <a:gd name="T64" fmla="*/ 60 w 86"/>
                <a:gd name="T65" fmla="*/ 83 h 85"/>
                <a:gd name="T66" fmla="*/ 52 w 86"/>
                <a:gd name="T67" fmla="*/ 85 h 85"/>
                <a:gd name="T68" fmla="*/ 42 w 86"/>
                <a:gd name="T69" fmla="*/ 85 h 85"/>
                <a:gd name="T70" fmla="*/ 42 w 86"/>
                <a:gd name="T71" fmla="*/ 85 h 85"/>
                <a:gd name="T72" fmla="*/ 42 w 86"/>
                <a:gd name="T73" fmla="*/ 85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86" h="85">
                  <a:moveTo>
                    <a:pt x="42" y="85"/>
                  </a:moveTo>
                  <a:lnTo>
                    <a:pt x="34" y="85"/>
                  </a:lnTo>
                  <a:lnTo>
                    <a:pt x="26" y="83"/>
                  </a:lnTo>
                  <a:lnTo>
                    <a:pt x="19" y="78"/>
                  </a:lnTo>
                  <a:lnTo>
                    <a:pt x="13" y="74"/>
                  </a:lnTo>
                  <a:lnTo>
                    <a:pt x="7" y="67"/>
                  </a:lnTo>
                  <a:lnTo>
                    <a:pt x="3" y="60"/>
                  </a:lnTo>
                  <a:lnTo>
                    <a:pt x="1" y="51"/>
                  </a:lnTo>
                  <a:lnTo>
                    <a:pt x="0" y="43"/>
                  </a:lnTo>
                  <a:lnTo>
                    <a:pt x="1" y="34"/>
                  </a:lnTo>
                  <a:lnTo>
                    <a:pt x="3" y="25"/>
                  </a:lnTo>
                  <a:lnTo>
                    <a:pt x="7" y="18"/>
                  </a:lnTo>
                  <a:lnTo>
                    <a:pt x="12" y="12"/>
                  </a:lnTo>
                  <a:lnTo>
                    <a:pt x="19" y="7"/>
                  </a:lnTo>
                  <a:lnTo>
                    <a:pt x="26" y="3"/>
                  </a:lnTo>
                  <a:lnTo>
                    <a:pt x="34" y="1"/>
                  </a:lnTo>
                  <a:lnTo>
                    <a:pt x="42" y="0"/>
                  </a:lnTo>
                  <a:lnTo>
                    <a:pt x="42" y="0"/>
                  </a:lnTo>
                  <a:lnTo>
                    <a:pt x="42" y="0"/>
                  </a:lnTo>
                  <a:lnTo>
                    <a:pt x="52" y="1"/>
                  </a:lnTo>
                  <a:lnTo>
                    <a:pt x="59" y="3"/>
                  </a:lnTo>
                  <a:lnTo>
                    <a:pt x="67" y="7"/>
                  </a:lnTo>
                  <a:lnTo>
                    <a:pt x="73" y="12"/>
                  </a:lnTo>
                  <a:lnTo>
                    <a:pt x="77" y="18"/>
                  </a:lnTo>
                  <a:lnTo>
                    <a:pt x="82" y="25"/>
                  </a:lnTo>
                  <a:lnTo>
                    <a:pt x="84" y="34"/>
                  </a:lnTo>
                  <a:lnTo>
                    <a:pt x="86" y="43"/>
                  </a:lnTo>
                  <a:lnTo>
                    <a:pt x="84" y="51"/>
                  </a:lnTo>
                  <a:lnTo>
                    <a:pt x="82" y="60"/>
                  </a:lnTo>
                  <a:lnTo>
                    <a:pt x="79" y="67"/>
                  </a:lnTo>
                  <a:lnTo>
                    <a:pt x="73" y="74"/>
                  </a:lnTo>
                  <a:lnTo>
                    <a:pt x="67" y="78"/>
                  </a:lnTo>
                  <a:lnTo>
                    <a:pt x="60" y="83"/>
                  </a:lnTo>
                  <a:lnTo>
                    <a:pt x="52" y="85"/>
                  </a:lnTo>
                  <a:lnTo>
                    <a:pt x="42" y="85"/>
                  </a:lnTo>
                  <a:lnTo>
                    <a:pt x="42" y="85"/>
                  </a:lnTo>
                  <a:lnTo>
                    <a:pt x="42" y="85"/>
                  </a:lnTo>
                  <a:close/>
                </a:path>
              </a:pathLst>
            </a:custGeom>
            <a:solidFill>
              <a:srgbClr val="B4A69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6653" tIns="58327" rIns="116653" bIns="58327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434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137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57" name="Freeform 127"/>
            <p:cNvSpPr>
              <a:spLocks/>
            </p:cNvSpPr>
            <p:nvPr/>
          </p:nvSpPr>
          <p:spPr bwMode="auto">
            <a:xfrm>
              <a:off x="3945" y="2286"/>
              <a:ext cx="22" cy="22"/>
            </a:xfrm>
            <a:custGeom>
              <a:avLst/>
              <a:gdLst>
                <a:gd name="T0" fmla="*/ 42 w 86"/>
                <a:gd name="T1" fmla="*/ 87 h 87"/>
                <a:gd name="T2" fmla="*/ 34 w 86"/>
                <a:gd name="T3" fmla="*/ 86 h 87"/>
                <a:gd name="T4" fmla="*/ 26 w 86"/>
                <a:gd name="T5" fmla="*/ 84 h 87"/>
                <a:gd name="T6" fmla="*/ 19 w 86"/>
                <a:gd name="T7" fmla="*/ 79 h 87"/>
                <a:gd name="T8" fmla="*/ 13 w 86"/>
                <a:gd name="T9" fmla="*/ 74 h 87"/>
                <a:gd name="T10" fmla="*/ 7 w 86"/>
                <a:gd name="T11" fmla="*/ 67 h 87"/>
                <a:gd name="T12" fmla="*/ 3 w 86"/>
                <a:gd name="T13" fmla="*/ 60 h 87"/>
                <a:gd name="T14" fmla="*/ 1 w 86"/>
                <a:gd name="T15" fmla="*/ 52 h 87"/>
                <a:gd name="T16" fmla="*/ 0 w 86"/>
                <a:gd name="T17" fmla="*/ 44 h 87"/>
                <a:gd name="T18" fmla="*/ 1 w 86"/>
                <a:gd name="T19" fmla="*/ 34 h 87"/>
                <a:gd name="T20" fmla="*/ 3 w 86"/>
                <a:gd name="T21" fmla="*/ 26 h 87"/>
                <a:gd name="T22" fmla="*/ 7 w 86"/>
                <a:gd name="T23" fmla="*/ 19 h 87"/>
                <a:gd name="T24" fmla="*/ 13 w 86"/>
                <a:gd name="T25" fmla="*/ 13 h 87"/>
                <a:gd name="T26" fmla="*/ 19 w 86"/>
                <a:gd name="T27" fmla="*/ 7 h 87"/>
                <a:gd name="T28" fmla="*/ 26 w 86"/>
                <a:gd name="T29" fmla="*/ 4 h 87"/>
                <a:gd name="T30" fmla="*/ 34 w 86"/>
                <a:gd name="T31" fmla="*/ 1 h 87"/>
                <a:gd name="T32" fmla="*/ 42 w 86"/>
                <a:gd name="T33" fmla="*/ 0 h 87"/>
                <a:gd name="T34" fmla="*/ 52 w 86"/>
                <a:gd name="T35" fmla="*/ 1 h 87"/>
                <a:gd name="T36" fmla="*/ 59 w 86"/>
                <a:gd name="T37" fmla="*/ 4 h 87"/>
                <a:gd name="T38" fmla="*/ 67 w 86"/>
                <a:gd name="T39" fmla="*/ 7 h 87"/>
                <a:gd name="T40" fmla="*/ 73 w 86"/>
                <a:gd name="T41" fmla="*/ 13 h 87"/>
                <a:gd name="T42" fmla="*/ 79 w 86"/>
                <a:gd name="T43" fmla="*/ 19 h 87"/>
                <a:gd name="T44" fmla="*/ 82 w 86"/>
                <a:gd name="T45" fmla="*/ 26 h 87"/>
                <a:gd name="T46" fmla="*/ 85 w 86"/>
                <a:gd name="T47" fmla="*/ 34 h 87"/>
                <a:gd name="T48" fmla="*/ 86 w 86"/>
                <a:gd name="T49" fmla="*/ 44 h 87"/>
                <a:gd name="T50" fmla="*/ 85 w 86"/>
                <a:gd name="T51" fmla="*/ 52 h 87"/>
                <a:gd name="T52" fmla="*/ 82 w 86"/>
                <a:gd name="T53" fmla="*/ 60 h 87"/>
                <a:gd name="T54" fmla="*/ 79 w 86"/>
                <a:gd name="T55" fmla="*/ 67 h 87"/>
                <a:gd name="T56" fmla="*/ 73 w 86"/>
                <a:gd name="T57" fmla="*/ 74 h 87"/>
                <a:gd name="T58" fmla="*/ 67 w 86"/>
                <a:gd name="T59" fmla="*/ 79 h 87"/>
                <a:gd name="T60" fmla="*/ 60 w 86"/>
                <a:gd name="T61" fmla="*/ 84 h 87"/>
                <a:gd name="T62" fmla="*/ 52 w 86"/>
                <a:gd name="T63" fmla="*/ 86 h 87"/>
                <a:gd name="T64" fmla="*/ 42 w 86"/>
                <a:gd name="T65" fmla="*/ 87 h 87"/>
                <a:gd name="T66" fmla="*/ 42 w 86"/>
                <a:gd name="T67" fmla="*/ 87 h 87"/>
                <a:gd name="T68" fmla="*/ 42 w 86"/>
                <a:gd name="T69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86" h="87">
                  <a:moveTo>
                    <a:pt x="42" y="87"/>
                  </a:moveTo>
                  <a:lnTo>
                    <a:pt x="34" y="86"/>
                  </a:lnTo>
                  <a:lnTo>
                    <a:pt x="26" y="84"/>
                  </a:lnTo>
                  <a:lnTo>
                    <a:pt x="19" y="79"/>
                  </a:lnTo>
                  <a:lnTo>
                    <a:pt x="13" y="74"/>
                  </a:lnTo>
                  <a:lnTo>
                    <a:pt x="7" y="67"/>
                  </a:lnTo>
                  <a:lnTo>
                    <a:pt x="3" y="60"/>
                  </a:lnTo>
                  <a:lnTo>
                    <a:pt x="1" y="52"/>
                  </a:lnTo>
                  <a:lnTo>
                    <a:pt x="0" y="44"/>
                  </a:lnTo>
                  <a:lnTo>
                    <a:pt x="1" y="34"/>
                  </a:lnTo>
                  <a:lnTo>
                    <a:pt x="3" y="26"/>
                  </a:lnTo>
                  <a:lnTo>
                    <a:pt x="7" y="19"/>
                  </a:lnTo>
                  <a:lnTo>
                    <a:pt x="13" y="13"/>
                  </a:lnTo>
                  <a:lnTo>
                    <a:pt x="19" y="7"/>
                  </a:lnTo>
                  <a:lnTo>
                    <a:pt x="26" y="4"/>
                  </a:lnTo>
                  <a:lnTo>
                    <a:pt x="34" y="1"/>
                  </a:lnTo>
                  <a:lnTo>
                    <a:pt x="42" y="0"/>
                  </a:lnTo>
                  <a:lnTo>
                    <a:pt x="52" y="1"/>
                  </a:lnTo>
                  <a:lnTo>
                    <a:pt x="59" y="4"/>
                  </a:lnTo>
                  <a:lnTo>
                    <a:pt x="67" y="7"/>
                  </a:lnTo>
                  <a:lnTo>
                    <a:pt x="73" y="13"/>
                  </a:lnTo>
                  <a:lnTo>
                    <a:pt x="79" y="19"/>
                  </a:lnTo>
                  <a:lnTo>
                    <a:pt x="82" y="26"/>
                  </a:lnTo>
                  <a:lnTo>
                    <a:pt x="85" y="34"/>
                  </a:lnTo>
                  <a:lnTo>
                    <a:pt x="86" y="44"/>
                  </a:lnTo>
                  <a:lnTo>
                    <a:pt x="85" y="52"/>
                  </a:lnTo>
                  <a:lnTo>
                    <a:pt x="82" y="60"/>
                  </a:lnTo>
                  <a:lnTo>
                    <a:pt x="79" y="67"/>
                  </a:lnTo>
                  <a:lnTo>
                    <a:pt x="73" y="74"/>
                  </a:lnTo>
                  <a:lnTo>
                    <a:pt x="67" y="79"/>
                  </a:lnTo>
                  <a:lnTo>
                    <a:pt x="60" y="84"/>
                  </a:lnTo>
                  <a:lnTo>
                    <a:pt x="52" y="86"/>
                  </a:lnTo>
                  <a:lnTo>
                    <a:pt x="42" y="87"/>
                  </a:lnTo>
                  <a:lnTo>
                    <a:pt x="42" y="87"/>
                  </a:lnTo>
                  <a:lnTo>
                    <a:pt x="42" y="87"/>
                  </a:lnTo>
                  <a:close/>
                </a:path>
              </a:pathLst>
            </a:custGeom>
            <a:solidFill>
              <a:srgbClr val="B4A69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6653" tIns="58327" rIns="116653" bIns="58327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434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137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58" name="Freeform 128"/>
            <p:cNvSpPr>
              <a:spLocks/>
            </p:cNvSpPr>
            <p:nvPr/>
          </p:nvSpPr>
          <p:spPr bwMode="auto">
            <a:xfrm>
              <a:off x="3946" y="2441"/>
              <a:ext cx="21" cy="22"/>
            </a:xfrm>
            <a:custGeom>
              <a:avLst/>
              <a:gdLst>
                <a:gd name="T0" fmla="*/ 42 w 86"/>
                <a:gd name="T1" fmla="*/ 87 h 87"/>
                <a:gd name="T2" fmla="*/ 34 w 86"/>
                <a:gd name="T3" fmla="*/ 86 h 87"/>
                <a:gd name="T4" fmla="*/ 26 w 86"/>
                <a:gd name="T5" fmla="*/ 83 h 87"/>
                <a:gd name="T6" fmla="*/ 19 w 86"/>
                <a:gd name="T7" fmla="*/ 79 h 87"/>
                <a:gd name="T8" fmla="*/ 13 w 86"/>
                <a:gd name="T9" fmla="*/ 74 h 87"/>
                <a:gd name="T10" fmla="*/ 7 w 86"/>
                <a:gd name="T11" fmla="*/ 67 h 87"/>
                <a:gd name="T12" fmla="*/ 4 w 86"/>
                <a:gd name="T13" fmla="*/ 60 h 87"/>
                <a:gd name="T14" fmla="*/ 1 w 86"/>
                <a:gd name="T15" fmla="*/ 51 h 87"/>
                <a:gd name="T16" fmla="*/ 0 w 86"/>
                <a:gd name="T17" fmla="*/ 43 h 87"/>
                <a:gd name="T18" fmla="*/ 1 w 86"/>
                <a:gd name="T19" fmla="*/ 34 h 87"/>
                <a:gd name="T20" fmla="*/ 4 w 86"/>
                <a:gd name="T21" fmla="*/ 27 h 87"/>
                <a:gd name="T22" fmla="*/ 7 w 86"/>
                <a:gd name="T23" fmla="*/ 18 h 87"/>
                <a:gd name="T24" fmla="*/ 13 w 86"/>
                <a:gd name="T25" fmla="*/ 13 h 87"/>
                <a:gd name="T26" fmla="*/ 19 w 86"/>
                <a:gd name="T27" fmla="*/ 7 h 87"/>
                <a:gd name="T28" fmla="*/ 26 w 86"/>
                <a:gd name="T29" fmla="*/ 3 h 87"/>
                <a:gd name="T30" fmla="*/ 34 w 86"/>
                <a:gd name="T31" fmla="*/ 1 h 87"/>
                <a:gd name="T32" fmla="*/ 42 w 86"/>
                <a:gd name="T33" fmla="*/ 0 h 87"/>
                <a:gd name="T34" fmla="*/ 42 w 86"/>
                <a:gd name="T35" fmla="*/ 0 h 87"/>
                <a:gd name="T36" fmla="*/ 44 w 86"/>
                <a:gd name="T37" fmla="*/ 0 h 87"/>
                <a:gd name="T38" fmla="*/ 52 w 86"/>
                <a:gd name="T39" fmla="*/ 1 h 87"/>
                <a:gd name="T40" fmla="*/ 60 w 86"/>
                <a:gd name="T41" fmla="*/ 3 h 87"/>
                <a:gd name="T42" fmla="*/ 67 w 86"/>
                <a:gd name="T43" fmla="*/ 7 h 87"/>
                <a:gd name="T44" fmla="*/ 73 w 86"/>
                <a:gd name="T45" fmla="*/ 13 h 87"/>
                <a:gd name="T46" fmla="*/ 79 w 86"/>
                <a:gd name="T47" fmla="*/ 18 h 87"/>
                <a:gd name="T48" fmla="*/ 82 w 86"/>
                <a:gd name="T49" fmla="*/ 26 h 87"/>
                <a:gd name="T50" fmla="*/ 85 w 86"/>
                <a:gd name="T51" fmla="*/ 34 h 87"/>
                <a:gd name="T52" fmla="*/ 86 w 86"/>
                <a:gd name="T53" fmla="*/ 43 h 87"/>
                <a:gd name="T54" fmla="*/ 85 w 86"/>
                <a:gd name="T55" fmla="*/ 51 h 87"/>
                <a:gd name="T56" fmla="*/ 82 w 86"/>
                <a:gd name="T57" fmla="*/ 60 h 87"/>
                <a:gd name="T58" fmla="*/ 79 w 86"/>
                <a:gd name="T59" fmla="*/ 67 h 87"/>
                <a:gd name="T60" fmla="*/ 73 w 86"/>
                <a:gd name="T61" fmla="*/ 74 h 87"/>
                <a:gd name="T62" fmla="*/ 67 w 86"/>
                <a:gd name="T63" fmla="*/ 79 h 87"/>
                <a:gd name="T64" fmla="*/ 60 w 86"/>
                <a:gd name="T65" fmla="*/ 83 h 87"/>
                <a:gd name="T66" fmla="*/ 52 w 86"/>
                <a:gd name="T67" fmla="*/ 86 h 87"/>
                <a:gd name="T68" fmla="*/ 42 w 86"/>
                <a:gd name="T69" fmla="*/ 87 h 87"/>
                <a:gd name="T70" fmla="*/ 42 w 86"/>
                <a:gd name="T71" fmla="*/ 87 h 87"/>
                <a:gd name="T72" fmla="*/ 42 w 86"/>
                <a:gd name="T73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86" h="87">
                  <a:moveTo>
                    <a:pt x="42" y="87"/>
                  </a:moveTo>
                  <a:lnTo>
                    <a:pt x="34" y="86"/>
                  </a:lnTo>
                  <a:lnTo>
                    <a:pt x="26" y="83"/>
                  </a:lnTo>
                  <a:lnTo>
                    <a:pt x="19" y="79"/>
                  </a:lnTo>
                  <a:lnTo>
                    <a:pt x="13" y="74"/>
                  </a:lnTo>
                  <a:lnTo>
                    <a:pt x="7" y="67"/>
                  </a:lnTo>
                  <a:lnTo>
                    <a:pt x="4" y="60"/>
                  </a:lnTo>
                  <a:lnTo>
                    <a:pt x="1" y="51"/>
                  </a:lnTo>
                  <a:lnTo>
                    <a:pt x="0" y="43"/>
                  </a:lnTo>
                  <a:lnTo>
                    <a:pt x="1" y="34"/>
                  </a:lnTo>
                  <a:lnTo>
                    <a:pt x="4" y="27"/>
                  </a:lnTo>
                  <a:lnTo>
                    <a:pt x="7" y="18"/>
                  </a:lnTo>
                  <a:lnTo>
                    <a:pt x="13" y="13"/>
                  </a:lnTo>
                  <a:lnTo>
                    <a:pt x="19" y="7"/>
                  </a:lnTo>
                  <a:lnTo>
                    <a:pt x="26" y="3"/>
                  </a:lnTo>
                  <a:lnTo>
                    <a:pt x="34" y="1"/>
                  </a:lnTo>
                  <a:lnTo>
                    <a:pt x="42" y="0"/>
                  </a:lnTo>
                  <a:lnTo>
                    <a:pt x="42" y="0"/>
                  </a:lnTo>
                  <a:lnTo>
                    <a:pt x="44" y="0"/>
                  </a:lnTo>
                  <a:lnTo>
                    <a:pt x="52" y="1"/>
                  </a:lnTo>
                  <a:lnTo>
                    <a:pt x="60" y="3"/>
                  </a:lnTo>
                  <a:lnTo>
                    <a:pt x="67" y="7"/>
                  </a:lnTo>
                  <a:lnTo>
                    <a:pt x="73" y="13"/>
                  </a:lnTo>
                  <a:lnTo>
                    <a:pt x="79" y="18"/>
                  </a:lnTo>
                  <a:lnTo>
                    <a:pt x="82" y="26"/>
                  </a:lnTo>
                  <a:lnTo>
                    <a:pt x="85" y="34"/>
                  </a:lnTo>
                  <a:lnTo>
                    <a:pt x="86" y="43"/>
                  </a:lnTo>
                  <a:lnTo>
                    <a:pt x="85" y="51"/>
                  </a:lnTo>
                  <a:lnTo>
                    <a:pt x="82" y="60"/>
                  </a:lnTo>
                  <a:lnTo>
                    <a:pt x="79" y="67"/>
                  </a:lnTo>
                  <a:lnTo>
                    <a:pt x="73" y="74"/>
                  </a:lnTo>
                  <a:lnTo>
                    <a:pt x="67" y="79"/>
                  </a:lnTo>
                  <a:lnTo>
                    <a:pt x="60" y="83"/>
                  </a:lnTo>
                  <a:lnTo>
                    <a:pt x="52" y="86"/>
                  </a:lnTo>
                  <a:lnTo>
                    <a:pt x="42" y="87"/>
                  </a:lnTo>
                  <a:lnTo>
                    <a:pt x="42" y="87"/>
                  </a:lnTo>
                  <a:lnTo>
                    <a:pt x="42" y="87"/>
                  </a:lnTo>
                  <a:close/>
                </a:path>
              </a:pathLst>
            </a:custGeom>
            <a:solidFill>
              <a:srgbClr val="B4A69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6653" tIns="58327" rIns="116653" bIns="58327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434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137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59" name="Freeform 129"/>
            <p:cNvSpPr>
              <a:spLocks/>
            </p:cNvSpPr>
            <p:nvPr/>
          </p:nvSpPr>
          <p:spPr bwMode="auto">
            <a:xfrm>
              <a:off x="3863" y="2526"/>
              <a:ext cx="22" cy="21"/>
            </a:xfrm>
            <a:custGeom>
              <a:avLst/>
              <a:gdLst>
                <a:gd name="T0" fmla="*/ 43 w 85"/>
                <a:gd name="T1" fmla="*/ 88 h 88"/>
                <a:gd name="T2" fmla="*/ 35 w 85"/>
                <a:gd name="T3" fmla="*/ 86 h 88"/>
                <a:gd name="T4" fmla="*/ 26 w 85"/>
                <a:gd name="T5" fmla="*/ 84 h 88"/>
                <a:gd name="T6" fmla="*/ 19 w 85"/>
                <a:gd name="T7" fmla="*/ 81 h 88"/>
                <a:gd name="T8" fmla="*/ 12 w 85"/>
                <a:gd name="T9" fmla="*/ 75 h 88"/>
                <a:gd name="T10" fmla="*/ 8 w 85"/>
                <a:gd name="T11" fmla="*/ 69 h 88"/>
                <a:gd name="T12" fmla="*/ 3 w 85"/>
                <a:gd name="T13" fmla="*/ 61 h 88"/>
                <a:gd name="T14" fmla="*/ 0 w 85"/>
                <a:gd name="T15" fmla="*/ 53 h 88"/>
                <a:gd name="T16" fmla="*/ 0 w 85"/>
                <a:gd name="T17" fmla="*/ 44 h 88"/>
                <a:gd name="T18" fmla="*/ 0 w 85"/>
                <a:gd name="T19" fmla="*/ 36 h 88"/>
                <a:gd name="T20" fmla="*/ 3 w 85"/>
                <a:gd name="T21" fmla="*/ 28 h 88"/>
                <a:gd name="T22" fmla="*/ 8 w 85"/>
                <a:gd name="T23" fmla="*/ 21 h 88"/>
                <a:gd name="T24" fmla="*/ 12 w 85"/>
                <a:gd name="T25" fmla="*/ 13 h 88"/>
                <a:gd name="T26" fmla="*/ 19 w 85"/>
                <a:gd name="T27" fmla="*/ 9 h 88"/>
                <a:gd name="T28" fmla="*/ 26 w 85"/>
                <a:gd name="T29" fmla="*/ 4 h 88"/>
                <a:gd name="T30" fmla="*/ 35 w 85"/>
                <a:gd name="T31" fmla="*/ 2 h 88"/>
                <a:gd name="T32" fmla="*/ 43 w 85"/>
                <a:gd name="T33" fmla="*/ 0 h 88"/>
                <a:gd name="T34" fmla="*/ 43 w 85"/>
                <a:gd name="T35" fmla="*/ 0 h 88"/>
                <a:gd name="T36" fmla="*/ 43 w 85"/>
                <a:gd name="T37" fmla="*/ 0 h 88"/>
                <a:gd name="T38" fmla="*/ 51 w 85"/>
                <a:gd name="T39" fmla="*/ 2 h 88"/>
                <a:gd name="T40" fmla="*/ 59 w 85"/>
                <a:gd name="T41" fmla="*/ 4 h 88"/>
                <a:gd name="T42" fmla="*/ 66 w 85"/>
                <a:gd name="T43" fmla="*/ 9 h 88"/>
                <a:gd name="T44" fmla="*/ 73 w 85"/>
                <a:gd name="T45" fmla="*/ 13 h 88"/>
                <a:gd name="T46" fmla="*/ 78 w 85"/>
                <a:gd name="T47" fmla="*/ 21 h 88"/>
                <a:gd name="T48" fmla="*/ 83 w 85"/>
                <a:gd name="T49" fmla="*/ 28 h 88"/>
                <a:gd name="T50" fmla="*/ 85 w 85"/>
                <a:gd name="T51" fmla="*/ 36 h 88"/>
                <a:gd name="T52" fmla="*/ 85 w 85"/>
                <a:gd name="T53" fmla="*/ 44 h 88"/>
                <a:gd name="T54" fmla="*/ 85 w 85"/>
                <a:gd name="T55" fmla="*/ 52 h 88"/>
                <a:gd name="T56" fmla="*/ 83 w 85"/>
                <a:gd name="T57" fmla="*/ 61 h 88"/>
                <a:gd name="T58" fmla="*/ 78 w 85"/>
                <a:gd name="T59" fmla="*/ 69 h 88"/>
                <a:gd name="T60" fmla="*/ 73 w 85"/>
                <a:gd name="T61" fmla="*/ 75 h 88"/>
                <a:gd name="T62" fmla="*/ 66 w 85"/>
                <a:gd name="T63" fmla="*/ 81 h 88"/>
                <a:gd name="T64" fmla="*/ 59 w 85"/>
                <a:gd name="T65" fmla="*/ 84 h 88"/>
                <a:gd name="T66" fmla="*/ 51 w 85"/>
                <a:gd name="T67" fmla="*/ 86 h 88"/>
                <a:gd name="T68" fmla="*/ 43 w 85"/>
                <a:gd name="T69" fmla="*/ 88 h 88"/>
                <a:gd name="T70" fmla="*/ 43 w 85"/>
                <a:gd name="T71" fmla="*/ 88 h 88"/>
                <a:gd name="T72" fmla="*/ 43 w 85"/>
                <a:gd name="T73" fmla="*/ 88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85" h="88">
                  <a:moveTo>
                    <a:pt x="43" y="88"/>
                  </a:moveTo>
                  <a:lnTo>
                    <a:pt x="35" y="86"/>
                  </a:lnTo>
                  <a:lnTo>
                    <a:pt x="26" y="84"/>
                  </a:lnTo>
                  <a:lnTo>
                    <a:pt x="19" y="81"/>
                  </a:lnTo>
                  <a:lnTo>
                    <a:pt x="12" y="75"/>
                  </a:lnTo>
                  <a:lnTo>
                    <a:pt x="8" y="69"/>
                  </a:lnTo>
                  <a:lnTo>
                    <a:pt x="3" y="61"/>
                  </a:lnTo>
                  <a:lnTo>
                    <a:pt x="0" y="53"/>
                  </a:lnTo>
                  <a:lnTo>
                    <a:pt x="0" y="44"/>
                  </a:lnTo>
                  <a:lnTo>
                    <a:pt x="0" y="36"/>
                  </a:lnTo>
                  <a:lnTo>
                    <a:pt x="3" y="28"/>
                  </a:lnTo>
                  <a:lnTo>
                    <a:pt x="8" y="21"/>
                  </a:lnTo>
                  <a:lnTo>
                    <a:pt x="12" y="13"/>
                  </a:lnTo>
                  <a:lnTo>
                    <a:pt x="19" y="9"/>
                  </a:lnTo>
                  <a:lnTo>
                    <a:pt x="26" y="4"/>
                  </a:lnTo>
                  <a:lnTo>
                    <a:pt x="35" y="2"/>
                  </a:lnTo>
                  <a:lnTo>
                    <a:pt x="43" y="0"/>
                  </a:lnTo>
                  <a:lnTo>
                    <a:pt x="43" y="0"/>
                  </a:lnTo>
                  <a:lnTo>
                    <a:pt x="43" y="0"/>
                  </a:lnTo>
                  <a:lnTo>
                    <a:pt x="51" y="2"/>
                  </a:lnTo>
                  <a:lnTo>
                    <a:pt x="59" y="4"/>
                  </a:lnTo>
                  <a:lnTo>
                    <a:pt x="66" y="9"/>
                  </a:lnTo>
                  <a:lnTo>
                    <a:pt x="73" y="13"/>
                  </a:lnTo>
                  <a:lnTo>
                    <a:pt x="78" y="21"/>
                  </a:lnTo>
                  <a:lnTo>
                    <a:pt x="83" y="28"/>
                  </a:lnTo>
                  <a:lnTo>
                    <a:pt x="85" y="36"/>
                  </a:lnTo>
                  <a:lnTo>
                    <a:pt x="85" y="44"/>
                  </a:lnTo>
                  <a:lnTo>
                    <a:pt x="85" y="52"/>
                  </a:lnTo>
                  <a:lnTo>
                    <a:pt x="83" y="61"/>
                  </a:lnTo>
                  <a:lnTo>
                    <a:pt x="78" y="69"/>
                  </a:lnTo>
                  <a:lnTo>
                    <a:pt x="73" y="75"/>
                  </a:lnTo>
                  <a:lnTo>
                    <a:pt x="66" y="81"/>
                  </a:lnTo>
                  <a:lnTo>
                    <a:pt x="59" y="84"/>
                  </a:lnTo>
                  <a:lnTo>
                    <a:pt x="51" y="86"/>
                  </a:lnTo>
                  <a:lnTo>
                    <a:pt x="43" y="88"/>
                  </a:lnTo>
                  <a:lnTo>
                    <a:pt x="43" y="88"/>
                  </a:lnTo>
                  <a:lnTo>
                    <a:pt x="43" y="88"/>
                  </a:lnTo>
                  <a:close/>
                </a:path>
              </a:pathLst>
            </a:custGeom>
            <a:solidFill>
              <a:srgbClr val="B4A69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6653" tIns="58327" rIns="116653" bIns="58327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434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137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60" name="Freeform 130"/>
            <p:cNvSpPr>
              <a:spLocks/>
            </p:cNvSpPr>
            <p:nvPr/>
          </p:nvSpPr>
          <p:spPr bwMode="auto">
            <a:xfrm>
              <a:off x="4160" y="2050"/>
              <a:ext cx="183" cy="221"/>
            </a:xfrm>
            <a:custGeom>
              <a:avLst/>
              <a:gdLst>
                <a:gd name="T0" fmla="*/ 726 w 732"/>
                <a:gd name="T1" fmla="*/ 86 h 884"/>
                <a:gd name="T2" fmla="*/ 709 w 732"/>
                <a:gd name="T3" fmla="*/ 53 h 884"/>
                <a:gd name="T4" fmla="*/ 684 w 732"/>
                <a:gd name="T5" fmla="*/ 27 h 884"/>
                <a:gd name="T6" fmla="*/ 652 w 732"/>
                <a:gd name="T7" fmla="*/ 8 h 884"/>
                <a:gd name="T8" fmla="*/ 616 w 732"/>
                <a:gd name="T9" fmla="*/ 0 h 884"/>
                <a:gd name="T10" fmla="*/ 577 w 732"/>
                <a:gd name="T11" fmla="*/ 2 h 884"/>
                <a:gd name="T12" fmla="*/ 541 w 732"/>
                <a:gd name="T13" fmla="*/ 16 h 884"/>
                <a:gd name="T14" fmla="*/ 513 w 732"/>
                <a:gd name="T15" fmla="*/ 39 h 884"/>
                <a:gd name="T16" fmla="*/ 492 w 732"/>
                <a:gd name="T17" fmla="*/ 69 h 884"/>
                <a:gd name="T18" fmla="*/ 480 w 732"/>
                <a:gd name="T19" fmla="*/ 104 h 884"/>
                <a:gd name="T20" fmla="*/ 479 w 732"/>
                <a:gd name="T21" fmla="*/ 142 h 884"/>
                <a:gd name="T22" fmla="*/ 485 w 732"/>
                <a:gd name="T23" fmla="*/ 170 h 884"/>
                <a:gd name="T24" fmla="*/ 497 w 732"/>
                <a:gd name="T25" fmla="*/ 193 h 884"/>
                <a:gd name="T26" fmla="*/ 513 w 732"/>
                <a:gd name="T27" fmla="*/ 214 h 884"/>
                <a:gd name="T28" fmla="*/ 533 w 732"/>
                <a:gd name="T29" fmla="*/ 232 h 884"/>
                <a:gd name="T30" fmla="*/ 556 w 732"/>
                <a:gd name="T31" fmla="*/ 244 h 884"/>
                <a:gd name="T32" fmla="*/ 565 w 732"/>
                <a:gd name="T33" fmla="*/ 298 h 884"/>
                <a:gd name="T34" fmla="*/ 561 w 732"/>
                <a:gd name="T35" fmla="*/ 372 h 884"/>
                <a:gd name="T36" fmla="*/ 545 w 732"/>
                <a:gd name="T37" fmla="*/ 446 h 884"/>
                <a:gd name="T38" fmla="*/ 518 w 732"/>
                <a:gd name="T39" fmla="*/ 500 h 884"/>
                <a:gd name="T40" fmla="*/ 477 w 732"/>
                <a:gd name="T41" fmla="*/ 542 h 884"/>
                <a:gd name="T42" fmla="*/ 427 w 732"/>
                <a:gd name="T43" fmla="*/ 572 h 884"/>
                <a:gd name="T44" fmla="*/ 371 w 732"/>
                <a:gd name="T45" fmla="*/ 593 h 884"/>
                <a:gd name="T46" fmla="*/ 313 w 732"/>
                <a:gd name="T47" fmla="*/ 609 h 884"/>
                <a:gd name="T48" fmla="*/ 244 w 732"/>
                <a:gd name="T49" fmla="*/ 623 h 884"/>
                <a:gd name="T50" fmla="*/ 177 w 732"/>
                <a:gd name="T51" fmla="*/ 643 h 884"/>
                <a:gd name="T52" fmla="*/ 119 w 732"/>
                <a:gd name="T53" fmla="*/ 672 h 884"/>
                <a:gd name="T54" fmla="*/ 71 w 732"/>
                <a:gd name="T55" fmla="*/ 713 h 884"/>
                <a:gd name="T56" fmla="*/ 29 w 732"/>
                <a:gd name="T57" fmla="*/ 770 h 884"/>
                <a:gd name="T58" fmla="*/ 1 w 732"/>
                <a:gd name="T59" fmla="*/ 828 h 884"/>
                <a:gd name="T60" fmla="*/ 5 w 732"/>
                <a:gd name="T61" fmla="*/ 856 h 884"/>
                <a:gd name="T62" fmla="*/ 22 w 732"/>
                <a:gd name="T63" fmla="*/ 876 h 884"/>
                <a:gd name="T64" fmla="*/ 48 w 732"/>
                <a:gd name="T65" fmla="*/ 884 h 884"/>
                <a:gd name="T66" fmla="*/ 74 w 732"/>
                <a:gd name="T67" fmla="*/ 878 h 884"/>
                <a:gd name="T68" fmla="*/ 94 w 732"/>
                <a:gd name="T69" fmla="*/ 856 h 884"/>
                <a:gd name="T70" fmla="*/ 120 w 732"/>
                <a:gd name="T71" fmla="*/ 811 h 884"/>
                <a:gd name="T72" fmla="*/ 152 w 732"/>
                <a:gd name="T73" fmla="*/ 776 h 884"/>
                <a:gd name="T74" fmla="*/ 189 w 732"/>
                <a:gd name="T75" fmla="*/ 750 h 884"/>
                <a:gd name="T76" fmla="*/ 230 w 732"/>
                <a:gd name="T77" fmla="*/ 730 h 884"/>
                <a:gd name="T78" fmla="*/ 351 w 732"/>
                <a:gd name="T79" fmla="*/ 693 h 884"/>
                <a:gd name="T80" fmla="*/ 474 w 732"/>
                <a:gd name="T81" fmla="*/ 653 h 884"/>
                <a:gd name="T82" fmla="*/ 519 w 732"/>
                <a:gd name="T83" fmla="*/ 631 h 884"/>
                <a:gd name="T84" fmla="*/ 554 w 732"/>
                <a:gd name="T85" fmla="*/ 605 h 884"/>
                <a:gd name="T86" fmla="*/ 583 w 732"/>
                <a:gd name="T87" fmla="*/ 577 h 884"/>
                <a:gd name="T88" fmla="*/ 606 w 732"/>
                <a:gd name="T89" fmla="*/ 546 h 884"/>
                <a:gd name="T90" fmla="*/ 638 w 732"/>
                <a:gd name="T91" fmla="*/ 477 h 884"/>
                <a:gd name="T92" fmla="*/ 656 w 732"/>
                <a:gd name="T93" fmla="*/ 400 h 884"/>
                <a:gd name="T94" fmla="*/ 662 w 732"/>
                <a:gd name="T95" fmla="*/ 320 h 884"/>
                <a:gd name="T96" fmla="*/ 662 w 732"/>
                <a:gd name="T97" fmla="*/ 241 h 884"/>
                <a:gd name="T98" fmla="*/ 686 w 732"/>
                <a:gd name="T99" fmla="*/ 225 h 884"/>
                <a:gd name="T100" fmla="*/ 706 w 732"/>
                <a:gd name="T101" fmla="*/ 205 h 884"/>
                <a:gd name="T102" fmla="*/ 722 w 732"/>
                <a:gd name="T103" fmla="*/ 180 h 884"/>
                <a:gd name="T104" fmla="*/ 730 w 732"/>
                <a:gd name="T105" fmla="*/ 152 h 884"/>
                <a:gd name="T106" fmla="*/ 732 w 732"/>
                <a:gd name="T107" fmla="*/ 122 h 8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732" h="884">
                  <a:moveTo>
                    <a:pt x="732" y="112"/>
                  </a:moveTo>
                  <a:lnTo>
                    <a:pt x="730" y="99"/>
                  </a:lnTo>
                  <a:lnTo>
                    <a:pt x="726" y="86"/>
                  </a:lnTo>
                  <a:lnTo>
                    <a:pt x="722" y="74"/>
                  </a:lnTo>
                  <a:lnTo>
                    <a:pt x="716" y="64"/>
                  </a:lnTo>
                  <a:lnTo>
                    <a:pt x="709" y="53"/>
                  </a:lnTo>
                  <a:lnTo>
                    <a:pt x="702" y="44"/>
                  </a:lnTo>
                  <a:lnTo>
                    <a:pt x="693" y="34"/>
                  </a:lnTo>
                  <a:lnTo>
                    <a:pt x="684" y="27"/>
                  </a:lnTo>
                  <a:lnTo>
                    <a:pt x="673" y="20"/>
                  </a:lnTo>
                  <a:lnTo>
                    <a:pt x="663" y="14"/>
                  </a:lnTo>
                  <a:lnTo>
                    <a:pt x="652" y="8"/>
                  </a:lnTo>
                  <a:lnTo>
                    <a:pt x="640" y="5"/>
                  </a:lnTo>
                  <a:lnTo>
                    <a:pt x="629" y="1"/>
                  </a:lnTo>
                  <a:lnTo>
                    <a:pt x="616" y="0"/>
                  </a:lnTo>
                  <a:lnTo>
                    <a:pt x="603" y="0"/>
                  </a:lnTo>
                  <a:lnTo>
                    <a:pt x="590" y="1"/>
                  </a:lnTo>
                  <a:lnTo>
                    <a:pt x="577" y="2"/>
                  </a:lnTo>
                  <a:lnTo>
                    <a:pt x="565" y="6"/>
                  </a:lnTo>
                  <a:lnTo>
                    <a:pt x="553" y="11"/>
                  </a:lnTo>
                  <a:lnTo>
                    <a:pt x="541" y="16"/>
                  </a:lnTo>
                  <a:lnTo>
                    <a:pt x="531" y="24"/>
                  </a:lnTo>
                  <a:lnTo>
                    <a:pt x="521" y="31"/>
                  </a:lnTo>
                  <a:lnTo>
                    <a:pt x="513" y="39"/>
                  </a:lnTo>
                  <a:lnTo>
                    <a:pt x="505" y="48"/>
                  </a:lnTo>
                  <a:lnTo>
                    <a:pt x="498" y="59"/>
                  </a:lnTo>
                  <a:lnTo>
                    <a:pt x="492" y="69"/>
                  </a:lnTo>
                  <a:lnTo>
                    <a:pt x="486" y="80"/>
                  </a:lnTo>
                  <a:lnTo>
                    <a:pt x="483" y="92"/>
                  </a:lnTo>
                  <a:lnTo>
                    <a:pt x="480" y="104"/>
                  </a:lnTo>
                  <a:lnTo>
                    <a:pt x="478" y="117"/>
                  </a:lnTo>
                  <a:lnTo>
                    <a:pt x="478" y="129"/>
                  </a:lnTo>
                  <a:lnTo>
                    <a:pt x="479" y="142"/>
                  </a:lnTo>
                  <a:lnTo>
                    <a:pt x="480" y="152"/>
                  </a:lnTo>
                  <a:lnTo>
                    <a:pt x="483" y="160"/>
                  </a:lnTo>
                  <a:lnTo>
                    <a:pt x="485" y="170"/>
                  </a:lnTo>
                  <a:lnTo>
                    <a:pt x="489" y="178"/>
                  </a:lnTo>
                  <a:lnTo>
                    <a:pt x="492" y="186"/>
                  </a:lnTo>
                  <a:lnTo>
                    <a:pt x="497" y="193"/>
                  </a:lnTo>
                  <a:lnTo>
                    <a:pt x="501" y="201"/>
                  </a:lnTo>
                  <a:lnTo>
                    <a:pt x="507" y="208"/>
                  </a:lnTo>
                  <a:lnTo>
                    <a:pt x="513" y="214"/>
                  </a:lnTo>
                  <a:lnTo>
                    <a:pt x="519" y="220"/>
                  </a:lnTo>
                  <a:lnTo>
                    <a:pt x="526" y="226"/>
                  </a:lnTo>
                  <a:lnTo>
                    <a:pt x="533" y="232"/>
                  </a:lnTo>
                  <a:lnTo>
                    <a:pt x="540" y="237"/>
                  </a:lnTo>
                  <a:lnTo>
                    <a:pt x="549" y="240"/>
                  </a:lnTo>
                  <a:lnTo>
                    <a:pt x="556" y="244"/>
                  </a:lnTo>
                  <a:lnTo>
                    <a:pt x="564" y="247"/>
                  </a:lnTo>
                  <a:lnTo>
                    <a:pt x="565" y="272"/>
                  </a:lnTo>
                  <a:lnTo>
                    <a:pt x="565" y="298"/>
                  </a:lnTo>
                  <a:lnTo>
                    <a:pt x="565" y="323"/>
                  </a:lnTo>
                  <a:lnTo>
                    <a:pt x="564" y="347"/>
                  </a:lnTo>
                  <a:lnTo>
                    <a:pt x="561" y="372"/>
                  </a:lnTo>
                  <a:lnTo>
                    <a:pt x="557" y="398"/>
                  </a:lnTo>
                  <a:lnTo>
                    <a:pt x="552" y="421"/>
                  </a:lnTo>
                  <a:lnTo>
                    <a:pt x="545" y="446"/>
                  </a:lnTo>
                  <a:lnTo>
                    <a:pt x="538" y="466"/>
                  </a:lnTo>
                  <a:lnTo>
                    <a:pt x="529" y="484"/>
                  </a:lnTo>
                  <a:lnTo>
                    <a:pt x="518" y="500"/>
                  </a:lnTo>
                  <a:lnTo>
                    <a:pt x="505" y="516"/>
                  </a:lnTo>
                  <a:lnTo>
                    <a:pt x="492" y="530"/>
                  </a:lnTo>
                  <a:lnTo>
                    <a:pt x="477" y="542"/>
                  </a:lnTo>
                  <a:lnTo>
                    <a:pt x="461" y="553"/>
                  </a:lnTo>
                  <a:lnTo>
                    <a:pt x="445" y="563"/>
                  </a:lnTo>
                  <a:lnTo>
                    <a:pt x="427" y="572"/>
                  </a:lnTo>
                  <a:lnTo>
                    <a:pt x="408" y="580"/>
                  </a:lnTo>
                  <a:lnTo>
                    <a:pt x="390" y="587"/>
                  </a:lnTo>
                  <a:lnTo>
                    <a:pt x="371" y="593"/>
                  </a:lnTo>
                  <a:lnTo>
                    <a:pt x="352" y="599"/>
                  </a:lnTo>
                  <a:lnTo>
                    <a:pt x="333" y="604"/>
                  </a:lnTo>
                  <a:lnTo>
                    <a:pt x="313" y="609"/>
                  </a:lnTo>
                  <a:lnTo>
                    <a:pt x="294" y="612"/>
                  </a:lnTo>
                  <a:lnTo>
                    <a:pt x="268" y="617"/>
                  </a:lnTo>
                  <a:lnTo>
                    <a:pt x="244" y="623"/>
                  </a:lnTo>
                  <a:lnTo>
                    <a:pt x="220" y="629"/>
                  </a:lnTo>
                  <a:lnTo>
                    <a:pt x="198" y="636"/>
                  </a:lnTo>
                  <a:lnTo>
                    <a:pt x="177" y="643"/>
                  </a:lnTo>
                  <a:lnTo>
                    <a:pt x="157" y="652"/>
                  </a:lnTo>
                  <a:lnTo>
                    <a:pt x="138" y="662"/>
                  </a:lnTo>
                  <a:lnTo>
                    <a:pt x="119" y="672"/>
                  </a:lnTo>
                  <a:lnTo>
                    <a:pt x="102" y="685"/>
                  </a:lnTo>
                  <a:lnTo>
                    <a:pt x="86" y="698"/>
                  </a:lnTo>
                  <a:lnTo>
                    <a:pt x="71" y="713"/>
                  </a:lnTo>
                  <a:lnTo>
                    <a:pt x="56" y="731"/>
                  </a:lnTo>
                  <a:lnTo>
                    <a:pt x="42" y="749"/>
                  </a:lnTo>
                  <a:lnTo>
                    <a:pt x="29" y="770"/>
                  </a:lnTo>
                  <a:lnTo>
                    <a:pt x="16" y="792"/>
                  </a:lnTo>
                  <a:lnTo>
                    <a:pt x="5" y="817"/>
                  </a:lnTo>
                  <a:lnTo>
                    <a:pt x="1" y="828"/>
                  </a:lnTo>
                  <a:lnTo>
                    <a:pt x="0" y="838"/>
                  </a:lnTo>
                  <a:lnTo>
                    <a:pt x="1" y="848"/>
                  </a:lnTo>
                  <a:lnTo>
                    <a:pt x="5" y="856"/>
                  </a:lnTo>
                  <a:lnTo>
                    <a:pt x="9" y="863"/>
                  </a:lnTo>
                  <a:lnTo>
                    <a:pt x="15" y="870"/>
                  </a:lnTo>
                  <a:lnTo>
                    <a:pt x="22" y="876"/>
                  </a:lnTo>
                  <a:lnTo>
                    <a:pt x="31" y="879"/>
                  </a:lnTo>
                  <a:lnTo>
                    <a:pt x="39" y="883"/>
                  </a:lnTo>
                  <a:lnTo>
                    <a:pt x="48" y="884"/>
                  </a:lnTo>
                  <a:lnTo>
                    <a:pt x="56" y="884"/>
                  </a:lnTo>
                  <a:lnTo>
                    <a:pt x="66" y="882"/>
                  </a:lnTo>
                  <a:lnTo>
                    <a:pt x="74" y="878"/>
                  </a:lnTo>
                  <a:lnTo>
                    <a:pt x="82" y="873"/>
                  </a:lnTo>
                  <a:lnTo>
                    <a:pt x="89" y="865"/>
                  </a:lnTo>
                  <a:lnTo>
                    <a:pt x="94" y="856"/>
                  </a:lnTo>
                  <a:lnTo>
                    <a:pt x="102" y="839"/>
                  </a:lnTo>
                  <a:lnTo>
                    <a:pt x="111" y="825"/>
                  </a:lnTo>
                  <a:lnTo>
                    <a:pt x="120" y="811"/>
                  </a:lnTo>
                  <a:lnTo>
                    <a:pt x="131" y="798"/>
                  </a:lnTo>
                  <a:lnTo>
                    <a:pt x="141" y="786"/>
                  </a:lnTo>
                  <a:lnTo>
                    <a:pt x="152" y="776"/>
                  </a:lnTo>
                  <a:lnTo>
                    <a:pt x="164" y="766"/>
                  </a:lnTo>
                  <a:lnTo>
                    <a:pt x="177" y="758"/>
                  </a:lnTo>
                  <a:lnTo>
                    <a:pt x="189" y="750"/>
                  </a:lnTo>
                  <a:lnTo>
                    <a:pt x="202" y="742"/>
                  </a:lnTo>
                  <a:lnTo>
                    <a:pt x="215" y="736"/>
                  </a:lnTo>
                  <a:lnTo>
                    <a:pt x="230" y="730"/>
                  </a:lnTo>
                  <a:lnTo>
                    <a:pt x="259" y="718"/>
                  </a:lnTo>
                  <a:lnTo>
                    <a:pt x="288" y="709"/>
                  </a:lnTo>
                  <a:lnTo>
                    <a:pt x="351" y="693"/>
                  </a:lnTo>
                  <a:lnTo>
                    <a:pt x="413" y="676"/>
                  </a:lnTo>
                  <a:lnTo>
                    <a:pt x="445" y="665"/>
                  </a:lnTo>
                  <a:lnTo>
                    <a:pt x="474" y="653"/>
                  </a:lnTo>
                  <a:lnTo>
                    <a:pt x="490" y="646"/>
                  </a:lnTo>
                  <a:lnTo>
                    <a:pt x="505" y="639"/>
                  </a:lnTo>
                  <a:lnTo>
                    <a:pt x="519" y="631"/>
                  </a:lnTo>
                  <a:lnTo>
                    <a:pt x="533" y="622"/>
                  </a:lnTo>
                  <a:lnTo>
                    <a:pt x="544" y="613"/>
                  </a:lnTo>
                  <a:lnTo>
                    <a:pt x="554" y="605"/>
                  </a:lnTo>
                  <a:lnTo>
                    <a:pt x="565" y="596"/>
                  </a:lnTo>
                  <a:lnTo>
                    <a:pt x="574" y="587"/>
                  </a:lnTo>
                  <a:lnTo>
                    <a:pt x="583" y="577"/>
                  </a:lnTo>
                  <a:lnTo>
                    <a:pt x="591" y="567"/>
                  </a:lnTo>
                  <a:lnTo>
                    <a:pt x="598" y="557"/>
                  </a:lnTo>
                  <a:lnTo>
                    <a:pt x="606" y="546"/>
                  </a:lnTo>
                  <a:lnTo>
                    <a:pt x="618" y="524"/>
                  </a:lnTo>
                  <a:lnTo>
                    <a:pt x="629" y="500"/>
                  </a:lnTo>
                  <a:lnTo>
                    <a:pt x="638" y="477"/>
                  </a:lnTo>
                  <a:lnTo>
                    <a:pt x="645" y="452"/>
                  </a:lnTo>
                  <a:lnTo>
                    <a:pt x="651" y="426"/>
                  </a:lnTo>
                  <a:lnTo>
                    <a:pt x="656" y="400"/>
                  </a:lnTo>
                  <a:lnTo>
                    <a:pt x="658" y="373"/>
                  </a:lnTo>
                  <a:lnTo>
                    <a:pt x="660" y="347"/>
                  </a:lnTo>
                  <a:lnTo>
                    <a:pt x="662" y="320"/>
                  </a:lnTo>
                  <a:lnTo>
                    <a:pt x="663" y="293"/>
                  </a:lnTo>
                  <a:lnTo>
                    <a:pt x="662" y="267"/>
                  </a:lnTo>
                  <a:lnTo>
                    <a:pt x="662" y="241"/>
                  </a:lnTo>
                  <a:lnTo>
                    <a:pt x="670" y="237"/>
                  </a:lnTo>
                  <a:lnTo>
                    <a:pt x="678" y="231"/>
                  </a:lnTo>
                  <a:lnTo>
                    <a:pt x="686" y="225"/>
                  </a:lnTo>
                  <a:lnTo>
                    <a:pt x="693" y="219"/>
                  </a:lnTo>
                  <a:lnTo>
                    <a:pt x="700" y="212"/>
                  </a:lnTo>
                  <a:lnTo>
                    <a:pt x="706" y="205"/>
                  </a:lnTo>
                  <a:lnTo>
                    <a:pt x="712" y="197"/>
                  </a:lnTo>
                  <a:lnTo>
                    <a:pt x="717" y="188"/>
                  </a:lnTo>
                  <a:lnTo>
                    <a:pt x="722" y="180"/>
                  </a:lnTo>
                  <a:lnTo>
                    <a:pt x="725" y="171"/>
                  </a:lnTo>
                  <a:lnTo>
                    <a:pt x="727" y="161"/>
                  </a:lnTo>
                  <a:lnTo>
                    <a:pt x="730" y="152"/>
                  </a:lnTo>
                  <a:lnTo>
                    <a:pt x="732" y="142"/>
                  </a:lnTo>
                  <a:lnTo>
                    <a:pt x="732" y="132"/>
                  </a:lnTo>
                  <a:lnTo>
                    <a:pt x="732" y="122"/>
                  </a:lnTo>
                  <a:lnTo>
                    <a:pt x="732" y="112"/>
                  </a:lnTo>
                  <a:close/>
                </a:path>
              </a:pathLst>
            </a:custGeom>
            <a:solidFill>
              <a:srgbClr val="B34E4B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6653" tIns="58327" rIns="116653" bIns="58327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434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137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61" name="Freeform 131"/>
            <p:cNvSpPr>
              <a:spLocks/>
            </p:cNvSpPr>
            <p:nvPr/>
          </p:nvSpPr>
          <p:spPr bwMode="auto">
            <a:xfrm>
              <a:off x="3714" y="2184"/>
              <a:ext cx="259" cy="143"/>
            </a:xfrm>
            <a:custGeom>
              <a:avLst/>
              <a:gdLst>
                <a:gd name="T0" fmla="*/ 931 w 1036"/>
                <a:gd name="T1" fmla="*/ 454 h 572"/>
                <a:gd name="T2" fmla="*/ 880 w 1036"/>
                <a:gd name="T3" fmla="*/ 466 h 572"/>
                <a:gd name="T4" fmla="*/ 834 w 1036"/>
                <a:gd name="T5" fmla="*/ 467 h 572"/>
                <a:gd name="T6" fmla="*/ 791 w 1036"/>
                <a:gd name="T7" fmla="*/ 459 h 572"/>
                <a:gd name="T8" fmla="*/ 752 w 1036"/>
                <a:gd name="T9" fmla="*/ 442 h 572"/>
                <a:gd name="T10" fmla="*/ 705 w 1036"/>
                <a:gd name="T11" fmla="*/ 411 h 572"/>
                <a:gd name="T12" fmla="*/ 637 w 1036"/>
                <a:gd name="T13" fmla="*/ 347 h 572"/>
                <a:gd name="T14" fmla="*/ 526 w 1036"/>
                <a:gd name="T15" fmla="*/ 235 h 572"/>
                <a:gd name="T16" fmla="*/ 478 w 1036"/>
                <a:gd name="T17" fmla="*/ 199 h 572"/>
                <a:gd name="T18" fmla="*/ 426 w 1036"/>
                <a:gd name="T19" fmla="*/ 168 h 572"/>
                <a:gd name="T20" fmla="*/ 371 w 1036"/>
                <a:gd name="T21" fmla="*/ 143 h 572"/>
                <a:gd name="T22" fmla="*/ 293 w 1036"/>
                <a:gd name="T23" fmla="*/ 120 h 572"/>
                <a:gd name="T24" fmla="*/ 249 w 1036"/>
                <a:gd name="T25" fmla="*/ 87 h 572"/>
                <a:gd name="T26" fmla="*/ 232 w 1036"/>
                <a:gd name="T27" fmla="*/ 53 h 572"/>
                <a:gd name="T28" fmla="*/ 206 w 1036"/>
                <a:gd name="T29" fmla="*/ 27 h 572"/>
                <a:gd name="T30" fmla="*/ 174 w 1036"/>
                <a:gd name="T31" fmla="*/ 9 h 572"/>
                <a:gd name="T32" fmla="*/ 138 w 1036"/>
                <a:gd name="T33" fmla="*/ 1 h 572"/>
                <a:gd name="T34" fmla="*/ 100 w 1036"/>
                <a:gd name="T35" fmla="*/ 3 h 572"/>
                <a:gd name="T36" fmla="*/ 65 w 1036"/>
                <a:gd name="T37" fmla="*/ 17 h 572"/>
                <a:gd name="T38" fmla="*/ 36 w 1036"/>
                <a:gd name="T39" fmla="*/ 40 h 572"/>
                <a:gd name="T40" fmla="*/ 14 w 1036"/>
                <a:gd name="T41" fmla="*/ 69 h 572"/>
                <a:gd name="T42" fmla="*/ 3 w 1036"/>
                <a:gd name="T43" fmla="*/ 105 h 572"/>
                <a:gd name="T44" fmla="*/ 1 w 1036"/>
                <a:gd name="T45" fmla="*/ 143 h 572"/>
                <a:gd name="T46" fmla="*/ 12 w 1036"/>
                <a:gd name="T47" fmla="*/ 180 h 572"/>
                <a:gd name="T48" fmla="*/ 32 w 1036"/>
                <a:gd name="T49" fmla="*/ 212 h 572"/>
                <a:gd name="T50" fmla="*/ 59 w 1036"/>
                <a:gd name="T51" fmla="*/ 235 h 572"/>
                <a:gd name="T52" fmla="*/ 93 w 1036"/>
                <a:gd name="T53" fmla="*/ 251 h 572"/>
                <a:gd name="T54" fmla="*/ 131 w 1036"/>
                <a:gd name="T55" fmla="*/ 255 h 572"/>
                <a:gd name="T56" fmla="*/ 169 w 1036"/>
                <a:gd name="T57" fmla="*/ 248 h 572"/>
                <a:gd name="T58" fmla="*/ 202 w 1036"/>
                <a:gd name="T59" fmla="*/ 232 h 572"/>
                <a:gd name="T60" fmla="*/ 227 w 1036"/>
                <a:gd name="T61" fmla="*/ 207 h 572"/>
                <a:gd name="T62" fmla="*/ 278 w 1036"/>
                <a:gd name="T63" fmla="*/ 220 h 572"/>
                <a:gd name="T64" fmla="*/ 353 w 1036"/>
                <a:gd name="T65" fmla="*/ 252 h 572"/>
                <a:gd name="T66" fmla="*/ 432 w 1036"/>
                <a:gd name="T67" fmla="*/ 302 h 572"/>
                <a:gd name="T68" fmla="*/ 506 w 1036"/>
                <a:gd name="T69" fmla="*/ 364 h 572"/>
                <a:gd name="T70" fmla="*/ 604 w 1036"/>
                <a:gd name="T71" fmla="*/ 457 h 572"/>
                <a:gd name="T72" fmla="*/ 697 w 1036"/>
                <a:gd name="T73" fmla="*/ 534 h 572"/>
                <a:gd name="T74" fmla="*/ 761 w 1036"/>
                <a:gd name="T75" fmla="*/ 562 h 572"/>
                <a:gd name="T76" fmla="*/ 827 w 1036"/>
                <a:gd name="T77" fmla="*/ 572 h 572"/>
                <a:gd name="T78" fmla="*/ 894 w 1036"/>
                <a:gd name="T79" fmla="*/ 566 h 572"/>
                <a:gd name="T80" fmla="*/ 962 w 1036"/>
                <a:gd name="T81" fmla="*/ 547 h 572"/>
                <a:gd name="T82" fmla="*/ 1016 w 1036"/>
                <a:gd name="T83" fmla="*/ 524 h 572"/>
                <a:gd name="T84" fmla="*/ 1034 w 1036"/>
                <a:gd name="T85" fmla="*/ 501 h 572"/>
                <a:gd name="T86" fmla="*/ 1034 w 1036"/>
                <a:gd name="T87" fmla="*/ 474 h 572"/>
                <a:gd name="T88" fmla="*/ 1022 w 1036"/>
                <a:gd name="T89" fmla="*/ 451 h 572"/>
                <a:gd name="T90" fmla="*/ 1000 w 1036"/>
                <a:gd name="T91" fmla="*/ 437 h 572"/>
                <a:gd name="T92" fmla="*/ 970 w 1036"/>
                <a:gd name="T93" fmla="*/ 440 h 5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1036" h="572">
                  <a:moveTo>
                    <a:pt x="970" y="440"/>
                  </a:moveTo>
                  <a:lnTo>
                    <a:pt x="950" y="447"/>
                  </a:lnTo>
                  <a:lnTo>
                    <a:pt x="931" y="454"/>
                  </a:lnTo>
                  <a:lnTo>
                    <a:pt x="914" y="459"/>
                  </a:lnTo>
                  <a:lnTo>
                    <a:pt x="896" y="462"/>
                  </a:lnTo>
                  <a:lnTo>
                    <a:pt x="880" y="466"/>
                  </a:lnTo>
                  <a:lnTo>
                    <a:pt x="864" y="467"/>
                  </a:lnTo>
                  <a:lnTo>
                    <a:pt x="849" y="467"/>
                  </a:lnTo>
                  <a:lnTo>
                    <a:pt x="834" y="467"/>
                  </a:lnTo>
                  <a:lnTo>
                    <a:pt x="820" y="465"/>
                  </a:lnTo>
                  <a:lnTo>
                    <a:pt x="805" y="462"/>
                  </a:lnTo>
                  <a:lnTo>
                    <a:pt x="791" y="459"/>
                  </a:lnTo>
                  <a:lnTo>
                    <a:pt x="778" y="454"/>
                  </a:lnTo>
                  <a:lnTo>
                    <a:pt x="765" y="448"/>
                  </a:lnTo>
                  <a:lnTo>
                    <a:pt x="752" y="442"/>
                  </a:lnTo>
                  <a:lnTo>
                    <a:pt x="741" y="435"/>
                  </a:lnTo>
                  <a:lnTo>
                    <a:pt x="729" y="427"/>
                  </a:lnTo>
                  <a:lnTo>
                    <a:pt x="705" y="411"/>
                  </a:lnTo>
                  <a:lnTo>
                    <a:pt x="682" y="391"/>
                  </a:lnTo>
                  <a:lnTo>
                    <a:pt x="659" y="369"/>
                  </a:lnTo>
                  <a:lnTo>
                    <a:pt x="637" y="347"/>
                  </a:lnTo>
                  <a:lnTo>
                    <a:pt x="591" y="299"/>
                  </a:lnTo>
                  <a:lnTo>
                    <a:pt x="542" y="249"/>
                  </a:lnTo>
                  <a:lnTo>
                    <a:pt x="526" y="235"/>
                  </a:lnTo>
                  <a:lnTo>
                    <a:pt x="511" y="222"/>
                  </a:lnTo>
                  <a:lnTo>
                    <a:pt x="495" y="209"/>
                  </a:lnTo>
                  <a:lnTo>
                    <a:pt x="478" y="199"/>
                  </a:lnTo>
                  <a:lnTo>
                    <a:pt x="461" y="188"/>
                  </a:lnTo>
                  <a:lnTo>
                    <a:pt x="444" y="178"/>
                  </a:lnTo>
                  <a:lnTo>
                    <a:pt x="426" y="168"/>
                  </a:lnTo>
                  <a:lnTo>
                    <a:pt x="408" y="159"/>
                  </a:lnTo>
                  <a:lnTo>
                    <a:pt x="390" y="152"/>
                  </a:lnTo>
                  <a:lnTo>
                    <a:pt x="371" y="143"/>
                  </a:lnTo>
                  <a:lnTo>
                    <a:pt x="352" y="136"/>
                  </a:lnTo>
                  <a:lnTo>
                    <a:pt x="332" y="130"/>
                  </a:lnTo>
                  <a:lnTo>
                    <a:pt x="293" y="120"/>
                  </a:lnTo>
                  <a:lnTo>
                    <a:pt x="255" y="112"/>
                  </a:lnTo>
                  <a:lnTo>
                    <a:pt x="252" y="99"/>
                  </a:lnTo>
                  <a:lnTo>
                    <a:pt x="249" y="87"/>
                  </a:lnTo>
                  <a:lnTo>
                    <a:pt x="244" y="75"/>
                  </a:lnTo>
                  <a:lnTo>
                    <a:pt x="238" y="63"/>
                  </a:lnTo>
                  <a:lnTo>
                    <a:pt x="232" y="53"/>
                  </a:lnTo>
                  <a:lnTo>
                    <a:pt x="224" y="43"/>
                  </a:lnTo>
                  <a:lnTo>
                    <a:pt x="216" y="35"/>
                  </a:lnTo>
                  <a:lnTo>
                    <a:pt x="206" y="27"/>
                  </a:lnTo>
                  <a:lnTo>
                    <a:pt x="197" y="20"/>
                  </a:lnTo>
                  <a:lnTo>
                    <a:pt x="186" y="14"/>
                  </a:lnTo>
                  <a:lnTo>
                    <a:pt x="174" y="9"/>
                  </a:lnTo>
                  <a:lnTo>
                    <a:pt x="163" y="5"/>
                  </a:lnTo>
                  <a:lnTo>
                    <a:pt x="151" y="2"/>
                  </a:lnTo>
                  <a:lnTo>
                    <a:pt x="138" y="1"/>
                  </a:lnTo>
                  <a:lnTo>
                    <a:pt x="125" y="0"/>
                  </a:lnTo>
                  <a:lnTo>
                    <a:pt x="112" y="1"/>
                  </a:lnTo>
                  <a:lnTo>
                    <a:pt x="100" y="3"/>
                  </a:lnTo>
                  <a:lnTo>
                    <a:pt x="87" y="7"/>
                  </a:lnTo>
                  <a:lnTo>
                    <a:pt x="76" y="12"/>
                  </a:lnTo>
                  <a:lnTo>
                    <a:pt x="65" y="17"/>
                  </a:lnTo>
                  <a:lnTo>
                    <a:pt x="54" y="23"/>
                  </a:lnTo>
                  <a:lnTo>
                    <a:pt x="45" y="32"/>
                  </a:lnTo>
                  <a:lnTo>
                    <a:pt x="36" y="40"/>
                  </a:lnTo>
                  <a:lnTo>
                    <a:pt x="27" y="49"/>
                  </a:lnTo>
                  <a:lnTo>
                    <a:pt x="20" y="59"/>
                  </a:lnTo>
                  <a:lnTo>
                    <a:pt x="14" y="69"/>
                  </a:lnTo>
                  <a:lnTo>
                    <a:pt x="10" y="81"/>
                  </a:lnTo>
                  <a:lnTo>
                    <a:pt x="5" y="93"/>
                  </a:lnTo>
                  <a:lnTo>
                    <a:pt x="3" y="105"/>
                  </a:lnTo>
                  <a:lnTo>
                    <a:pt x="1" y="118"/>
                  </a:lnTo>
                  <a:lnTo>
                    <a:pt x="0" y="130"/>
                  </a:lnTo>
                  <a:lnTo>
                    <a:pt x="1" y="143"/>
                  </a:lnTo>
                  <a:lnTo>
                    <a:pt x="4" y="156"/>
                  </a:lnTo>
                  <a:lnTo>
                    <a:pt x="7" y="168"/>
                  </a:lnTo>
                  <a:lnTo>
                    <a:pt x="12" y="180"/>
                  </a:lnTo>
                  <a:lnTo>
                    <a:pt x="18" y="192"/>
                  </a:lnTo>
                  <a:lnTo>
                    <a:pt x="24" y="201"/>
                  </a:lnTo>
                  <a:lnTo>
                    <a:pt x="32" y="212"/>
                  </a:lnTo>
                  <a:lnTo>
                    <a:pt x="40" y="220"/>
                  </a:lnTo>
                  <a:lnTo>
                    <a:pt x="50" y="228"/>
                  </a:lnTo>
                  <a:lnTo>
                    <a:pt x="59" y="235"/>
                  </a:lnTo>
                  <a:lnTo>
                    <a:pt x="70" y="241"/>
                  </a:lnTo>
                  <a:lnTo>
                    <a:pt x="81" y="246"/>
                  </a:lnTo>
                  <a:lnTo>
                    <a:pt x="93" y="251"/>
                  </a:lnTo>
                  <a:lnTo>
                    <a:pt x="105" y="253"/>
                  </a:lnTo>
                  <a:lnTo>
                    <a:pt x="118" y="254"/>
                  </a:lnTo>
                  <a:lnTo>
                    <a:pt x="131" y="255"/>
                  </a:lnTo>
                  <a:lnTo>
                    <a:pt x="144" y="254"/>
                  </a:lnTo>
                  <a:lnTo>
                    <a:pt x="156" y="252"/>
                  </a:lnTo>
                  <a:lnTo>
                    <a:pt x="169" y="248"/>
                  </a:lnTo>
                  <a:lnTo>
                    <a:pt x="180" y="243"/>
                  </a:lnTo>
                  <a:lnTo>
                    <a:pt x="191" y="239"/>
                  </a:lnTo>
                  <a:lnTo>
                    <a:pt x="202" y="232"/>
                  </a:lnTo>
                  <a:lnTo>
                    <a:pt x="211" y="225"/>
                  </a:lnTo>
                  <a:lnTo>
                    <a:pt x="219" y="216"/>
                  </a:lnTo>
                  <a:lnTo>
                    <a:pt x="227" y="207"/>
                  </a:lnTo>
                  <a:lnTo>
                    <a:pt x="245" y="211"/>
                  </a:lnTo>
                  <a:lnTo>
                    <a:pt x="262" y="215"/>
                  </a:lnTo>
                  <a:lnTo>
                    <a:pt x="278" y="220"/>
                  </a:lnTo>
                  <a:lnTo>
                    <a:pt x="293" y="226"/>
                  </a:lnTo>
                  <a:lnTo>
                    <a:pt x="324" y="238"/>
                  </a:lnTo>
                  <a:lnTo>
                    <a:pt x="353" y="252"/>
                  </a:lnTo>
                  <a:lnTo>
                    <a:pt x="380" y="267"/>
                  </a:lnTo>
                  <a:lnTo>
                    <a:pt x="408" y="285"/>
                  </a:lnTo>
                  <a:lnTo>
                    <a:pt x="432" y="302"/>
                  </a:lnTo>
                  <a:lnTo>
                    <a:pt x="458" y="322"/>
                  </a:lnTo>
                  <a:lnTo>
                    <a:pt x="482" y="342"/>
                  </a:lnTo>
                  <a:lnTo>
                    <a:pt x="506" y="364"/>
                  </a:lnTo>
                  <a:lnTo>
                    <a:pt x="530" y="386"/>
                  </a:lnTo>
                  <a:lnTo>
                    <a:pt x="555" y="409"/>
                  </a:lnTo>
                  <a:lnTo>
                    <a:pt x="604" y="457"/>
                  </a:lnTo>
                  <a:lnTo>
                    <a:pt x="657" y="505"/>
                  </a:lnTo>
                  <a:lnTo>
                    <a:pt x="677" y="521"/>
                  </a:lnTo>
                  <a:lnTo>
                    <a:pt x="697" y="534"/>
                  </a:lnTo>
                  <a:lnTo>
                    <a:pt x="718" y="546"/>
                  </a:lnTo>
                  <a:lnTo>
                    <a:pt x="740" y="555"/>
                  </a:lnTo>
                  <a:lnTo>
                    <a:pt x="761" y="562"/>
                  </a:lnTo>
                  <a:lnTo>
                    <a:pt x="782" y="567"/>
                  </a:lnTo>
                  <a:lnTo>
                    <a:pt x="804" y="570"/>
                  </a:lnTo>
                  <a:lnTo>
                    <a:pt x="827" y="572"/>
                  </a:lnTo>
                  <a:lnTo>
                    <a:pt x="849" y="571"/>
                  </a:lnTo>
                  <a:lnTo>
                    <a:pt x="871" y="568"/>
                  </a:lnTo>
                  <a:lnTo>
                    <a:pt x="894" y="566"/>
                  </a:lnTo>
                  <a:lnTo>
                    <a:pt x="916" y="560"/>
                  </a:lnTo>
                  <a:lnTo>
                    <a:pt x="940" y="554"/>
                  </a:lnTo>
                  <a:lnTo>
                    <a:pt x="962" y="547"/>
                  </a:lnTo>
                  <a:lnTo>
                    <a:pt x="984" y="539"/>
                  </a:lnTo>
                  <a:lnTo>
                    <a:pt x="1007" y="530"/>
                  </a:lnTo>
                  <a:lnTo>
                    <a:pt x="1016" y="524"/>
                  </a:lnTo>
                  <a:lnTo>
                    <a:pt x="1024" y="518"/>
                  </a:lnTo>
                  <a:lnTo>
                    <a:pt x="1030" y="510"/>
                  </a:lnTo>
                  <a:lnTo>
                    <a:pt x="1034" y="501"/>
                  </a:lnTo>
                  <a:lnTo>
                    <a:pt x="1035" y="492"/>
                  </a:lnTo>
                  <a:lnTo>
                    <a:pt x="1036" y="484"/>
                  </a:lnTo>
                  <a:lnTo>
                    <a:pt x="1034" y="474"/>
                  </a:lnTo>
                  <a:lnTo>
                    <a:pt x="1032" y="466"/>
                  </a:lnTo>
                  <a:lnTo>
                    <a:pt x="1028" y="458"/>
                  </a:lnTo>
                  <a:lnTo>
                    <a:pt x="1022" y="451"/>
                  </a:lnTo>
                  <a:lnTo>
                    <a:pt x="1015" y="444"/>
                  </a:lnTo>
                  <a:lnTo>
                    <a:pt x="1008" y="439"/>
                  </a:lnTo>
                  <a:lnTo>
                    <a:pt x="1000" y="437"/>
                  </a:lnTo>
                  <a:lnTo>
                    <a:pt x="990" y="435"/>
                  </a:lnTo>
                  <a:lnTo>
                    <a:pt x="981" y="437"/>
                  </a:lnTo>
                  <a:lnTo>
                    <a:pt x="970" y="440"/>
                  </a:lnTo>
                  <a:close/>
                </a:path>
              </a:pathLst>
            </a:custGeom>
            <a:solidFill>
              <a:srgbClr val="B34E4B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6653" tIns="58327" rIns="116653" bIns="58327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434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137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62" name="Freeform 132"/>
            <p:cNvSpPr>
              <a:spLocks/>
            </p:cNvSpPr>
            <p:nvPr/>
          </p:nvSpPr>
          <p:spPr bwMode="auto">
            <a:xfrm>
              <a:off x="4056" y="1964"/>
              <a:ext cx="62" cy="55"/>
            </a:xfrm>
            <a:custGeom>
              <a:avLst/>
              <a:gdLst>
                <a:gd name="T0" fmla="*/ 55 w 245"/>
                <a:gd name="T1" fmla="*/ 197 h 216"/>
                <a:gd name="T2" fmla="*/ 81 w 245"/>
                <a:gd name="T3" fmla="*/ 162 h 216"/>
                <a:gd name="T4" fmla="*/ 99 w 245"/>
                <a:gd name="T5" fmla="*/ 134 h 216"/>
                <a:gd name="T6" fmla="*/ 108 w 245"/>
                <a:gd name="T7" fmla="*/ 114 h 216"/>
                <a:gd name="T8" fmla="*/ 114 w 245"/>
                <a:gd name="T9" fmla="*/ 94 h 216"/>
                <a:gd name="T10" fmla="*/ 117 w 245"/>
                <a:gd name="T11" fmla="*/ 73 h 216"/>
                <a:gd name="T12" fmla="*/ 116 w 245"/>
                <a:gd name="T13" fmla="*/ 54 h 216"/>
                <a:gd name="T14" fmla="*/ 110 w 245"/>
                <a:gd name="T15" fmla="*/ 37 h 216"/>
                <a:gd name="T16" fmla="*/ 99 w 245"/>
                <a:gd name="T17" fmla="*/ 23 h 216"/>
                <a:gd name="T18" fmla="*/ 84 w 245"/>
                <a:gd name="T19" fmla="*/ 11 h 216"/>
                <a:gd name="T20" fmla="*/ 69 w 245"/>
                <a:gd name="T21" fmla="*/ 3 h 216"/>
                <a:gd name="T22" fmla="*/ 52 w 245"/>
                <a:gd name="T23" fmla="*/ 0 h 216"/>
                <a:gd name="T24" fmla="*/ 35 w 245"/>
                <a:gd name="T25" fmla="*/ 1 h 216"/>
                <a:gd name="T26" fmla="*/ 20 w 245"/>
                <a:gd name="T27" fmla="*/ 9 h 216"/>
                <a:gd name="T28" fmla="*/ 8 w 245"/>
                <a:gd name="T29" fmla="*/ 21 h 216"/>
                <a:gd name="T30" fmla="*/ 2 w 245"/>
                <a:gd name="T31" fmla="*/ 34 h 216"/>
                <a:gd name="T32" fmla="*/ 0 w 245"/>
                <a:gd name="T33" fmla="*/ 48 h 216"/>
                <a:gd name="T34" fmla="*/ 1 w 245"/>
                <a:gd name="T35" fmla="*/ 62 h 216"/>
                <a:gd name="T36" fmla="*/ 4 w 245"/>
                <a:gd name="T37" fmla="*/ 76 h 216"/>
                <a:gd name="T38" fmla="*/ 10 w 245"/>
                <a:gd name="T39" fmla="*/ 89 h 216"/>
                <a:gd name="T40" fmla="*/ 19 w 245"/>
                <a:gd name="T41" fmla="*/ 101 h 216"/>
                <a:gd name="T42" fmla="*/ 29 w 245"/>
                <a:gd name="T43" fmla="*/ 110 h 216"/>
                <a:gd name="T44" fmla="*/ 42 w 245"/>
                <a:gd name="T45" fmla="*/ 119 h 216"/>
                <a:gd name="T46" fmla="*/ 55 w 245"/>
                <a:gd name="T47" fmla="*/ 123 h 216"/>
                <a:gd name="T48" fmla="*/ 76 w 245"/>
                <a:gd name="T49" fmla="*/ 127 h 216"/>
                <a:gd name="T50" fmla="*/ 105 w 245"/>
                <a:gd name="T51" fmla="*/ 123 h 216"/>
                <a:gd name="T52" fmla="*/ 133 w 245"/>
                <a:gd name="T53" fmla="*/ 113 h 216"/>
                <a:gd name="T54" fmla="*/ 161 w 245"/>
                <a:gd name="T55" fmla="*/ 99 h 216"/>
                <a:gd name="T56" fmla="*/ 187 w 245"/>
                <a:gd name="T57" fmla="*/ 80 h 216"/>
                <a:gd name="T58" fmla="*/ 222 w 245"/>
                <a:gd name="T59" fmla="*/ 51 h 216"/>
                <a:gd name="T60" fmla="*/ 245 w 245"/>
                <a:gd name="T61" fmla="*/ 29 h 216"/>
                <a:gd name="T62" fmla="*/ 245 w 245"/>
                <a:gd name="T63" fmla="*/ 21 h 216"/>
                <a:gd name="T64" fmla="*/ 238 w 245"/>
                <a:gd name="T65" fmla="*/ 14 h 216"/>
                <a:gd name="T66" fmla="*/ 229 w 245"/>
                <a:gd name="T67" fmla="*/ 13 h 216"/>
                <a:gd name="T68" fmla="*/ 208 w 245"/>
                <a:gd name="T69" fmla="*/ 30 h 216"/>
                <a:gd name="T70" fmla="*/ 170 w 245"/>
                <a:gd name="T71" fmla="*/ 63 h 216"/>
                <a:gd name="T72" fmla="*/ 137 w 245"/>
                <a:gd name="T73" fmla="*/ 83 h 216"/>
                <a:gd name="T74" fmla="*/ 115 w 245"/>
                <a:gd name="T75" fmla="*/ 94 h 216"/>
                <a:gd name="T76" fmla="*/ 93 w 245"/>
                <a:gd name="T77" fmla="*/ 100 h 216"/>
                <a:gd name="T78" fmla="*/ 69 w 245"/>
                <a:gd name="T79" fmla="*/ 100 h 216"/>
                <a:gd name="T80" fmla="*/ 48 w 245"/>
                <a:gd name="T81" fmla="*/ 94 h 216"/>
                <a:gd name="T82" fmla="*/ 34 w 245"/>
                <a:gd name="T83" fmla="*/ 81 h 216"/>
                <a:gd name="T84" fmla="*/ 24 w 245"/>
                <a:gd name="T85" fmla="*/ 62 h 216"/>
                <a:gd name="T86" fmla="*/ 24 w 245"/>
                <a:gd name="T87" fmla="*/ 48 h 216"/>
                <a:gd name="T88" fmla="*/ 27 w 245"/>
                <a:gd name="T89" fmla="*/ 37 h 216"/>
                <a:gd name="T90" fmla="*/ 33 w 245"/>
                <a:gd name="T91" fmla="*/ 29 h 216"/>
                <a:gd name="T92" fmla="*/ 40 w 245"/>
                <a:gd name="T93" fmla="*/ 26 h 216"/>
                <a:gd name="T94" fmla="*/ 54 w 245"/>
                <a:gd name="T95" fmla="*/ 26 h 216"/>
                <a:gd name="T96" fmla="*/ 69 w 245"/>
                <a:gd name="T97" fmla="*/ 30 h 216"/>
                <a:gd name="T98" fmla="*/ 79 w 245"/>
                <a:gd name="T99" fmla="*/ 36 h 216"/>
                <a:gd name="T100" fmla="*/ 86 w 245"/>
                <a:gd name="T101" fmla="*/ 44 h 216"/>
                <a:gd name="T102" fmla="*/ 90 w 245"/>
                <a:gd name="T103" fmla="*/ 54 h 216"/>
                <a:gd name="T104" fmla="*/ 93 w 245"/>
                <a:gd name="T105" fmla="*/ 68 h 216"/>
                <a:gd name="T106" fmla="*/ 89 w 245"/>
                <a:gd name="T107" fmla="*/ 90 h 216"/>
                <a:gd name="T108" fmla="*/ 80 w 245"/>
                <a:gd name="T109" fmla="*/ 114 h 216"/>
                <a:gd name="T110" fmla="*/ 67 w 245"/>
                <a:gd name="T111" fmla="*/ 139 h 216"/>
                <a:gd name="T112" fmla="*/ 42 w 245"/>
                <a:gd name="T113" fmla="*/ 174 h 216"/>
                <a:gd name="T114" fmla="*/ 21 w 245"/>
                <a:gd name="T115" fmla="*/ 200 h 216"/>
                <a:gd name="T116" fmla="*/ 22 w 245"/>
                <a:gd name="T117" fmla="*/ 209 h 216"/>
                <a:gd name="T118" fmla="*/ 28 w 245"/>
                <a:gd name="T119" fmla="*/ 215 h 216"/>
                <a:gd name="T120" fmla="*/ 36 w 245"/>
                <a:gd name="T121" fmla="*/ 216 h 2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245" h="216">
                  <a:moveTo>
                    <a:pt x="41" y="213"/>
                  </a:moveTo>
                  <a:lnTo>
                    <a:pt x="55" y="197"/>
                  </a:lnTo>
                  <a:lnTo>
                    <a:pt x="68" y="181"/>
                  </a:lnTo>
                  <a:lnTo>
                    <a:pt x="81" y="162"/>
                  </a:lnTo>
                  <a:lnTo>
                    <a:pt x="94" y="143"/>
                  </a:lnTo>
                  <a:lnTo>
                    <a:pt x="99" y="134"/>
                  </a:lnTo>
                  <a:lnTo>
                    <a:pt x="103" y="124"/>
                  </a:lnTo>
                  <a:lnTo>
                    <a:pt x="108" y="114"/>
                  </a:lnTo>
                  <a:lnTo>
                    <a:pt x="112" y="103"/>
                  </a:lnTo>
                  <a:lnTo>
                    <a:pt x="114" y="94"/>
                  </a:lnTo>
                  <a:lnTo>
                    <a:pt x="116" y="83"/>
                  </a:lnTo>
                  <a:lnTo>
                    <a:pt x="117" y="73"/>
                  </a:lnTo>
                  <a:lnTo>
                    <a:pt x="117" y="62"/>
                  </a:lnTo>
                  <a:lnTo>
                    <a:pt x="116" y="54"/>
                  </a:lnTo>
                  <a:lnTo>
                    <a:pt x="114" y="46"/>
                  </a:lnTo>
                  <a:lnTo>
                    <a:pt x="110" y="37"/>
                  </a:lnTo>
                  <a:lnTo>
                    <a:pt x="105" y="30"/>
                  </a:lnTo>
                  <a:lnTo>
                    <a:pt x="99" y="23"/>
                  </a:lnTo>
                  <a:lnTo>
                    <a:pt x="93" y="17"/>
                  </a:lnTo>
                  <a:lnTo>
                    <a:pt x="84" y="11"/>
                  </a:lnTo>
                  <a:lnTo>
                    <a:pt x="77" y="7"/>
                  </a:lnTo>
                  <a:lnTo>
                    <a:pt x="69" y="3"/>
                  </a:lnTo>
                  <a:lnTo>
                    <a:pt x="60" y="1"/>
                  </a:lnTo>
                  <a:lnTo>
                    <a:pt x="52" y="0"/>
                  </a:lnTo>
                  <a:lnTo>
                    <a:pt x="43" y="0"/>
                  </a:lnTo>
                  <a:lnTo>
                    <a:pt x="35" y="1"/>
                  </a:lnTo>
                  <a:lnTo>
                    <a:pt x="27" y="4"/>
                  </a:lnTo>
                  <a:lnTo>
                    <a:pt x="20" y="9"/>
                  </a:lnTo>
                  <a:lnTo>
                    <a:pt x="13" y="15"/>
                  </a:lnTo>
                  <a:lnTo>
                    <a:pt x="8" y="21"/>
                  </a:lnTo>
                  <a:lnTo>
                    <a:pt x="4" y="28"/>
                  </a:lnTo>
                  <a:lnTo>
                    <a:pt x="2" y="34"/>
                  </a:lnTo>
                  <a:lnTo>
                    <a:pt x="0" y="41"/>
                  </a:lnTo>
                  <a:lnTo>
                    <a:pt x="0" y="48"/>
                  </a:lnTo>
                  <a:lnTo>
                    <a:pt x="0" y="55"/>
                  </a:lnTo>
                  <a:lnTo>
                    <a:pt x="1" y="62"/>
                  </a:lnTo>
                  <a:lnTo>
                    <a:pt x="2" y="69"/>
                  </a:lnTo>
                  <a:lnTo>
                    <a:pt x="4" y="76"/>
                  </a:lnTo>
                  <a:lnTo>
                    <a:pt x="7" y="83"/>
                  </a:lnTo>
                  <a:lnTo>
                    <a:pt x="10" y="89"/>
                  </a:lnTo>
                  <a:lnTo>
                    <a:pt x="15" y="95"/>
                  </a:lnTo>
                  <a:lnTo>
                    <a:pt x="19" y="101"/>
                  </a:lnTo>
                  <a:lnTo>
                    <a:pt x="24" y="106"/>
                  </a:lnTo>
                  <a:lnTo>
                    <a:pt x="29" y="110"/>
                  </a:lnTo>
                  <a:lnTo>
                    <a:pt x="35" y="115"/>
                  </a:lnTo>
                  <a:lnTo>
                    <a:pt x="42" y="119"/>
                  </a:lnTo>
                  <a:lnTo>
                    <a:pt x="48" y="121"/>
                  </a:lnTo>
                  <a:lnTo>
                    <a:pt x="55" y="123"/>
                  </a:lnTo>
                  <a:lnTo>
                    <a:pt x="62" y="126"/>
                  </a:lnTo>
                  <a:lnTo>
                    <a:pt x="76" y="127"/>
                  </a:lnTo>
                  <a:lnTo>
                    <a:pt x="90" y="126"/>
                  </a:lnTo>
                  <a:lnTo>
                    <a:pt x="105" y="123"/>
                  </a:lnTo>
                  <a:lnTo>
                    <a:pt x="119" y="119"/>
                  </a:lnTo>
                  <a:lnTo>
                    <a:pt x="133" y="113"/>
                  </a:lnTo>
                  <a:lnTo>
                    <a:pt x="147" y="106"/>
                  </a:lnTo>
                  <a:lnTo>
                    <a:pt x="161" y="99"/>
                  </a:lnTo>
                  <a:lnTo>
                    <a:pt x="174" y="89"/>
                  </a:lnTo>
                  <a:lnTo>
                    <a:pt x="187" y="80"/>
                  </a:lnTo>
                  <a:lnTo>
                    <a:pt x="200" y="70"/>
                  </a:lnTo>
                  <a:lnTo>
                    <a:pt x="222" y="51"/>
                  </a:lnTo>
                  <a:lnTo>
                    <a:pt x="241" y="34"/>
                  </a:lnTo>
                  <a:lnTo>
                    <a:pt x="245" y="29"/>
                  </a:lnTo>
                  <a:lnTo>
                    <a:pt x="245" y="24"/>
                  </a:lnTo>
                  <a:lnTo>
                    <a:pt x="245" y="21"/>
                  </a:lnTo>
                  <a:lnTo>
                    <a:pt x="241" y="16"/>
                  </a:lnTo>
                  <a:lnTo>
                    <a:pt x="238" y="14"/>
                  </a:lnTo>
                  <a:lnTo>
                    <a:pt x="234" y="13"/>
                  </a:lnTo>
                  <a:lnTo>
                    <a:pt x="229" y="13"/>
                  </a:lnTo>
                  <a:lnTo>
                    <a:pt x="225" y="16"/>
                  </a:lnTo>
                  <a:lnTo>
                    <a:pt x="208" y="30"/>
                  </a:lnTo>
                  <a:lnTo>
                    <a:pt x="190" y="47"/>
                  </a:lnTo>
                  <a:lnTo>
                    <a:pt x="170" y="63"/>
                  </a:lnTo>
                  <a:lnTo>
                    <a:pt x="149" y="77"/>
                  </a:lnTo>
                  <a:lnTo>
                    <a:pt x="137" y="83"/>
                  </a:lnTo>
                  <a:lnTo>
                    <a:pt x="127" y="89"/>
                  </a:lnTo>
                  <a:lnTo>
                    <a:pt x="115" y="94"/>
                  </a:lnTo>
                  <a:lnTo>
                    <a:pt x="103" y="97"/>
                  </a:lnTo>
                  <a:lnTo>
                    <a:pt x="93" y="100"/>
                  </a:lnTo>
                  <a:lnTo>
                    <a:pt x="81" y="101"/>
                  </a:lnTo>
                  <a:lnTo>
                    <a:pt x="69" y="100"/>
                  </a:lnTo>
                  <a:lnTo>
                    <a:pt x="57" y="97"/>
                  </a:lnTo>
                  <a:lnTo>
                    <a:pt x="48" y="94"/>
                  </a:lnTo>
                  <a:lnTo>
                    <a:pt x="40" y="88"/>
                  </a:lnTo>
                  <a:lnTo>
                    <a:pt x="34" y="81"/>
                  </a:lnTo>
                  <a:lnTo>
                    <a:pt x="28" y="71"/>
                  </a:lnTo>
                  <a:lnTo>
                    <a:pt x="24" y="62"/>
                  </a:lnTo>
                  <a:lnTo>
                    <a:pt x="24" y="53"/>
                  </a:lnTo>
                  <a:lnTo>
                    <a:pt x="24" y="48"/>
                  </a:lnTo>
                  <a:lnTo>
                    <a:pt x="26" y="42"/>
                  </a:lnTo>
                  <a:lnTo>
                    <a:pt x="27" y="37"/>
                  </a:lnTo>
                  <a:lnTo>
                    <a:pt x="29" y="34"/>
                  </a:lnTo>
                  <a:lnTo>
                    <a:pt x="33" y="29"/>
                  </a:lnTo>
                  <a:lnTo>
                    <a:pt x="36" y="27"/>
                  </a:lnTo>
                  <a:lnTo>
                    <a:pt x="40" y="26"/>
                  </a:lnTo>
                  <a:lnTo>
                    <a:pt x="44" y="24"/>
                  </a:lnTo>
                  <a:lnTo>
                    <a:pt x="54" y="26"/>
                  </a:lnTo>
                  <a:lnTo>
                    <a:pt x="62" y="28"/>
                  </a:lnTo>
                  <a:lnTo>
                    <a:pt x="69" y="30"/>
                  </a:lnTo>
                  <a:lnTo>
                    <a:pt x="74" y="33"/>
                  </a:lnTo>
                  <a:lnTo>
                    <a:pt x="79" y="36"/>
                  </a:lnTo>
                  <a:lnTo>
                    <a:pt x="82" y="40"/>
                  </a:lnTo>
                  <a:lnTo>
                    <a:pt x="86" y="44"/>
                  </a:lnTo>
                  <a:lnTo>
                    <a:pt x="88" y="49"/>
                  </a:lnTo>
                  <a:lnTo>
                    <a:pt x="90" y="54"/>
                  </a:lnTo>
                  <a:lnTo>
                    <a:pt x="92" y="58"/>
                  </a:lnTo>
                  <a:lnTo>
                    <a:pt x="93" y="68"/>
                  </a:lnTo>
                  <a:lnTo>
                    <a:pt x="92" y="80"/>
                  </a:lnTo>
                  <a:lnTo>
                    <a:pt x="89" y="90"/>
                  </a:lnTo>
                  <a:lnTo>
                    <a:pt x="86" y="101"/>
                  </a:lnTo>
                  <a:lnTo>
                    <a:pt x="80" y="114"/>
                  </a:lnTo>
                  <a:lnTo>
                    <a:pt x="74" y="127"/>
                  </a:lnTo>
                  <a:lnTo>
                    <a:pt x="67" y="139"/>
                  </a:lnTo>
                  <a:lnTo>
                    <a:pt x="60" y="151"/>
                  </a:lnTo>
                  <a:lnTo>
                    <a:pt x="42" y="174"/>
                  </a:lnTo>
                  <a:lnTo>
                    <a:pt x="24" y="195"/>
                  </a:lnTo>
                  <a:lnTo>
                    <a:pt x="21" y="200"/>
                  </a:lnTo>
                  <a:lnTo>
                    <a:pt x="21" y="204"/>
                  </a:lnTo>
                  <a:lnTo>
                    <a:pt x="22" y="209"/>
                  </a:lnTo>
                  <a:lnTo>
                    <a:pt x="24" y="213"/>
                  </a:lnTo>
                  <a:lnTo>
                    <a:pt x="28" y="215"/>
                  </a:lnTo>
                  <a:lnTo>
                    <a:pt x="33" y="216"/>
                  </a:lnTo>
                  <a:lnTo>
                    <a:pt x="36" y="216"/>
                  </a:lnTo>
                  <a:lnTo>
                    <a:pt x="41" y="213"/>
                  </a:lnTo>
                  <a:close/>
                </a:path>
              </a:pathLst>
            </a:custGeom>
            <a:solidFill>
              <a:srgbClr val="B34E4B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6653" tIns="58327" rIns="116653" bIns="58327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434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137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63" name="Freeform 133"/>
            <p:cNvSpPr>
              <a:spLocks/>
            </p:cNvSpPr>
            <p:nvPr/>
          </p:nvSpPr>
          <p:spPr bwMode="auto">
            <a:xfrm>
              <a:off x="3943" y="1950"/>
              <a:ext cx="38" cy="66"/>
            </a:xfrm>
            <a:custGeom>
              <a:avLst/>
              <a:gdLst>
                <a:gd name="T0" fmla="*/ 64 w 155"/>
                <a:gd name="T1" fmla="*/ 238 h 263"/>
                <a:gd name="T2" fmla="*/ 72 w 155"/>
                <a:gd name="T3" fmla="*/ 201 h 263"/>
                <a:gd name="T4" fmla="*/ 76 w 155"/>
                <a:gd name="T5" fmla="*/ 164 h 263"/>
                <a:gd name="T6" fmla="*/ 72 w 155"/>
                <a:gd name="T7" fmla="*/ 137 h 263"/>
                <a:gd name="T8" fmla="*/ 67 w 155"/>
                <a:gd name="T9" fmla="*/ 120 h 263"/>
                <a:gd name="T10" fmla="*/ 62 w 155"/>
                <a:gd name="T11" fmla="*/ 108 h 263"/>
                <a:gd name="T12" fmla="*/ 53 w 155"/>
                <a:gd name="T13" fmla="*/ 100 h 263"/>
                <a:gd name="T14" fmla="*/ 43 w 155"/>
                <a:gd name="T15" fmla="*/ 93 h 263"/>
                <a:gd name="T16" fmla="*/ 32 w 155"/>
                <a:gd name="T17" fmla="*/ 88 h 263"/>
                <a:gd name="T18" fmla="*/ 22 w 155"/>
                <a:gd name="T19" fmla="*/ 87 h 263"/>
                <a:gd name="T20" fmla="*/ 11 w 155"/>
                <a:gd name="T21" fmla="*/ 90 h 263"/>
                <a:gd name="T22" fmla="*/ 4 w 155"/>
                <a:gd name="T23" fmla="*/ 95 h 263"/>
                <a:gd name="T24" fmla="*/ 0 w 155"/>
                <a:gd name="T25" fmla="*/ 106 h 263"/>
                <a:gd name="T26" fmla="*/ 1 w 155"/>
                <a:gd name="T27" fmla="*/ 119 h 263"/>
                <a:gd name="T28" fmla="*/ 5 w 155"/>
                <a:gd name="T29" fmla="*/ 130 h 263"/>
                <a:gd name="T30" fmla="*/ 13 w 155"/>
                <a:gd name="T31" fmla="*/ 143 h 263"/>
                <a:gd name="T32" fmla="*/ 31 w 155"/>
                <a:gd name="T33" fmla="*/ 157 h 263"/>
                <a:gd name="T34" fmla="*/ 52 w 155"/>
                <a:gd name="T35" fmla="*/ 165 h 263"/>
                <a:gd name="T36" fmla="*/ 67 w 155"/>
                <a:gd name="T37" fmla="*/ 166 h 263"/>
                <a:gd name="T38" fmla="*/ 79 w 155"/>
                <a:gd name="T39" fmla="*/ 164 h 263"/>
                <a:gd name="T40" fmla="*/ 93 w 155"/>
                <a:gd name="T41" fmla="*/ 157 h 263"/>
                <a:gd name="T42" fmla="*/ 110 w 155"/>
                <a:gd name="T43" fmla="*/ 140 h 263"/>
                <a:gd name="T44" fmla="*/ 124 w 155"/>
                <a:gd name="T45" fmla="*/ 119 h 263"/>
                <a:gd name="T46" fmla="*/ 138 w 155"/>
                <a:gd name="T47" fmla="*/ 81 h 263"/>
                <a:gd name="T48" fmla="*/ 150 w 155"/>
                <a:gd name="T49" fmla="*/ 33 h 263"/>
                <a:gd name="T50" fmla="*/ 153 w 155"/>
                <a:gd name="T51" fmla="*/ 8 h 263"/>
                <a:gd name="T52" fmla="*/ 149 w 155"/>
                <a:gd name="T53" fmla="*/ 1 h 263"/>
                <a:gd name="T54" fmla="*/ 139 w 155"/>
                <a:gd name="T55" fmla="*/ 0 h 263"/>
                <a:gd name="T56" fmla="*/ 132 w 155"/>
                <a:gd name="T57" fmla="*/ 5 h 263"/>
                <a:gd name="T58" fmla="*/ 127 w 155"/>
                <a:gd name="T59" fmla="*/ 25 h 263"/>
                <a:gd name="T60" fmla="*/ 119 w 155"/>
                <a:gd name="T61" fmla="*/ 63 h 263"/>
                <a:gd name="T62" fmla="*/ 110 w 155"/>
                <a:gd name="T63" fmla="*/ 91 h 263"/>
                <a:gd name="T64" fmla="*/ 103 w 155"/>
                <a:gd name="T65" fmla="*/ 107 h 263"/>
                <a:gd name="T66" fmla="*/ 92 w 155"/>
                <a:gd name="T67" fmla="*/ 123 h 263"/>
                <a:gd name="T68" fmla="*/ 79 w 155"/>
                <a:gd name="T69" fmla="*/ 134 h 263"/>
                <a:gd name="T70" fmla="*/ 65 w 155"/>
                <a:gd name="T71" fmla="*/ 141 h 263"/>
                <a:gd name="T72" fmla="*/ 52 w 155"/>
                <a:gd name="T73" fmla="*/ 140 h 263"/>
                <a:gd name="T74" fmla="*/ 39 w 155"/>
                <a:gd name="T75" fmla="*/ 133 h 263"/>
                <a:gd name="T76" fmla="*/ 30 w 155"/>
                <a:gd name="T77" fmla="*/ 123 h 263"/>
                <a:gd name="T78" fmla="*/ 25 w 155"/>
                <a:gd name="T79" fmla="*/ 113 h 263"/>
                <a:gd name="T80" fmla="*/ 25 w 155"/>
                <a:gd name="T81" fmla="*/ 110 h 263"/>
                <a:gd name="T82" fmla="*/ 30 w 155"/>
                <a:gd name="T83" fmla="*/ 111 h 263"/>
                <a:gd name="T84" fmla="*/ 42 w 155"/>
                <a:gd name="T85" fmla="*/ 120 h 263"/>
                <a:gd name="T86" fmla="*/ 47 w 155"/>
                <a:gd name="T87" fmla="*/ 132 h 263"/>
                <a:gd name="T88" fmla="*/ 50 w 155"/>
                <a:gd name="T89" fmla="*/ 156 h 263"/>
                <a:gd name="T90" fmla="*/ 49 w 155"/>
                <a:gd name="T91" fmla="*/ 188 h 263"/>
                <a:gd name="T92" fmla="*/ 42 w 155"/>
                <a:gd name="T93" fmla="*/ 230 h 263"/>
                <a:gd name="T94" fmla="*/ 36 w 155"/>
                <a:gd name="T95" fmla="*/ 254 h 263"/>
                <a:gd name="T96" fmla="*/ 40 w 155"/>
                <a:gd name="T97" fmla="*/ 261 h 263"/>
                <a:gd name="T98" fmla="*/ 50 w 155"/>
                <a:gd name="T99" fmla="*/ 263 h 263"/>
                <a:gd name="T100" fmla="*/ 58 w 155"/>
                <a:gd name="T101" fmla="*/ 259 h 2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55" h="263">
                  <a:moveTo>
                    <a:pt x="60" y="254"/>
                  </a:moveTo>
                  <a:lnTo>
                    <a:pt x="64" y="238"/>
                  </a:lnTo>
                  <a:lnTo>
                    <a:pt x="69" y="220"/>
                  </a:lnTo>
                  <a:lnTo>
                    <a:pt x="72" y="201"/>
                  </a:lnTo>
                  <a:lnTo>
                    <a:pt x="74" y="183"/>
                  </a:lnTo>
                  <a:lnTo>
                    <a:pt x="76" y="164"/>
                  </a:lnTo>
                  <a:lnTo>
                    <a:pt x="74" y="146"/>
                  </a:lnTo>
                  <a:lnTo>
                    <a:pt x="72" y="137"/>
                  </a:lnTo>
                  <a:lnTo>
                    <a:pt x="71" y="128"/>
                  </a:lnTo>
                  <a:lnTo>
                    <a:pt x="67" y="120"/>
                  </a:lnTo>
                  <a:lnTo>
                    <a:pt x="64" y="112"/>
                  </a:lnTo>
                  <a:lnTo>
                    <a:pt x="62" y="108"/>
                  </a:lnTo>
                  <a:lnTo>
                    <a:pt x="58" y="104"/>
                  </a:lnTo>
                  <a:lnTo>
                    <a:pt x="53" y="100"/>
                  </a:lnTo>
                  <a:lnTo>
                    <a:pt x="49" y="97"/>
                  </a:lnTo>
                  <a:lnTo>
                    <a:pt x="43" y="93"/>
                  </a:lnTo>
                  <a:lnTo>
                    <a:pt x="38" y="91"/>
                  </a:lnTo>
                  <a:lnTo>
                    <a:pt x="32" y="88"/>
                  </a:lnTo>
                  <a:lnTo>
                    <a:pt x="26" y="87"/>
                  </a:lnTo>
                  <a:lnTo>
                    <a:pt x="22" y="87"/>
                  </a:lnTo>
                  <a:lnTo>
                    <a:pt x="16" y="87"/>
                  </a:lnTo>
                  <a:lnTo>
                    <a:pt x="11" y="90"/>
                  </a:lnTo>
                  <a:lnTo>
                    <a:pt x="7" y="92"/>
                  </a:lnTo>
                  <a:lnTo>
                    <a:pt x="4" y="95"/>
                  </a:lnTo>
                  <a:lnTo>
                    <a:pt x="1" y="100"/>
                  </a:lnTo>
                  <a:lnTo>
                    <a:pt x="0" y="106"/>
                  </a:lnTo>
                  <a:lnTo>
                    <a:pt x="0" y="113"/>
                  </a:lnTo>
                  <a:lnTo>
                    <a:pt x="1" y="119"/>
                  </a:lnTo>
                  <a:lnTo>
                    <a:pt x="3" y="124"/>
                  </a:lnTo>
                  <a:lnTo>
                    <a:pt x="5" y="130"/>
                  </a:lnTo>
                  <a:lnTo>
                    <a:pt x="7" y="134"/>
                  </a:lnTo>
                  <a:lnTo>
                    <a:pt x="13" y="143"/>
                  </a:lnTo>
                  <a:lnTo>
                    <a:pt x="22" y="151"/>
                  </a:lnTo>
                  <a:lnTo>
                    <a:pt x="31" y="157"/>
                  </a:lnTo>
                  <a:lnTo>
                    <a:pt x="42" y="161"/>
                  </a:lnTo>
                  <a:lnTo>
                    <a:pt x="52" y="165"/>
                  </a:lnTo>
                  <a:lnTo>
                    <a:pt x="62" y="166"/>
                  </a:lnTo>
                  <a:lnTo>
                    <a:pt x="67" y="166"/>
                  </a:lnTo>
                  <a:lnTo>
                    <a:pt x="73" y="166"/>
                  </a:lnTo>
                  <a:lnTo>
                    <a:pt x="79" y="164"/>
                  </a:lnTo>
                  <a:lnTo>
                    <a:pt x="84" y="163"/>
                  </a:lnTo>
                  <a:lnTo>
                    <a:pt x="93" y="157"/>
                  </a:lnTo>
                  <a:lnTo>
                    <a:pt x="103" y="150"/>
                  </a:lnTo>
                  <a:lnTo>
                    <a:pt x="110" y="140"/>
                  </a:lnTo>
                  <a:lnTo>
                    <a:pt x="117" y="131"/>
                  </a:lnTo>
                  <a:lnTo>
                    <a:pt x="124" y="119"/>
                  </a:lnTo>
                  <a:lnTo>
                    <a:pt x="129" y="107"/>
                  </a:lnTo>
                  <a:lnTo>
                    <a:pt x="138" y="81"/>
                  </a:lnTo>
                  <a:lnTo>
                    <a:pt x="145" y="55"/>
                  </a:lnTo>
                  <a:lnTo>
                    <a:pt x="150" y="33"/>
                  </a:lnTo>
                  <a:lnTo>
                    <a:pt x="155" y="14"/>
                  </a:lnTo>
                  <a:lnTo>
                    <a:pt x="153" y="8"/>
                  </a:lnTo>
                  <a:lnTo>
                    <a:pt x="152" y="5"/>
                  </a:lnTo>
                  <a:lnTo>
                    <a:pt x="149" y="1"/>
                  </a:lnTo>
                  <a:lnTo>
                    <a:pt x="144" y="0"/>
                  </a:lnTo>
                  <a:lnTo>
                    <a:pt x="139" y="0"/>
                  </a:lnTo>
                  <a:lnTo>
                    <a:pt x="136" y="1"/>
                  </a:lnTo>
                  <a:lnTo>
                    <a:pt x="132" y="5"/>
                  </a:lnTo>
                  <a:lnTo>
                    <a:pt x="130" y="10"/>
                  </a:lnTo>
                  <a:lnTo>
                    <a:pt x="127" y="25"/>
                  </a:lnTo>
                  <a:lnTo>
                    <a:pt x="124" y="44"/>
                  </a:lnTo>
                  <a:lnTo>
                    <a:pt x="119" y="63"/>
                  </a:lnTo>
                  <a:lnTo>
                    <a:pt x="113" y="81"/>
                  </a:lnTo>
                  <a:lnTo>
                    <a:pt x="110" y="91"/>
                  </a:lnTo>
                  <a:lnTo>
                    <a:pt x="106" y="99"/>
                  </a:lnTo>
                  <a:lnTo>
                    <a:pt x="103" y="107"/>
                  </a:lnTo>
                  <a:lnTo>
                    <a:pt x="98" y="115"/>
                  </a:lnTo>
                  <a:lnTo>
                    <a:pt x="92" y="123"/>
                  </a:lnTo>
                  <a:lnTo>
                    <a:pt x="86" y="130"/>
                  </a:lnTo>
                  <a:lnTo>
                    <a:pt x="79" y="134"/>
                  </a:lnTo>
                  <a:lnTo>
                    <a:pt x="72" y="139"/>
                  </a:lnTo>
                  <a:lnTo>
                    <a:pt x="65" y="141"/>
                  </a:lnTo>
                  <a:lnTo>
                    <a:pt x="58" y="143"/>
                  </a:lnTo>
                  <a:lnTo>
                    <a:pt x="52" y="140"/>
                  </a:lnTo>
                  <a:lnTo>
                    <a:pt x="45" y="138"/>
                  </a:lnTo>
                  <a:lnTo>
                    <a:pt x="39" y="133"/>
                  </a:lnTo>
                  <a:lnTo>
                    <a:pt x="34" y="128"/>
                  </a:lnTo>
                  <a:lnTo>
                    <a:pt x="30" y="123"/>
                  </a:lnTo>
                  <a:lnTo>
                    <a:pt x="26" y="115"/>
                  </a:lnTo>
                  <a:lnTo>
                    <a:pt x="25" y="113"/>
                  </a:lnTo>
                  <a:lnTo>
                    <a:pt x="25" y="111"/>
                  </a:lnTo>
                  <a:lnTo>
                    <a:pt x="25" y="110"/>
                  </a:lnTo>
                  <a:lnTo>
                    <a:pt x="26" y="110"/>
                  </a:lnTo>
                  <a:lnTo>
                    <a:pt x="30" y="111"/>
                  </a:lnTo>
                  <a:lnTo>
                    <a:pt x="37" y="115"/>
                  </a:lnTo>
                  <a:lnTo>
                    <a:pt x="42" y="120"/>
                  </a:lnTo>
                  <a:lnTo>
                    <a:pt x="45" y="126"/>
                  </a:lnTo>
                  <a:lnTo>
                    <a:pt x="47" y="132"/>
                  </a:lnTo>
                  <a:lnTo>
                    <a:pt x="49" y="140"/>
                  </a:lnTo>
                  <a:lnTo>
                    <a:pt x="50" y="156"/>
                  </a:lnTo>
                  <a:lnTo>
                    <a:pt x="50" y="168"/>
                  </a:lnTo>
                  <a:lnTo>
                    <a:pt x="49" y="188"/>
                  </a:lnTo>
                  <a:lnTo>
                    <a:pt x="45" y="210"/>
                  </a:lnTo>
                  <a:lnTo>
                    <a:pt x="42" y="230"/>
                  </a:lnTo>
                  <a:lnTo>
                    <a:pt x="36" y="250"/>
                  </a:lnTo>
                  <a:lnTo>
                    <a:pt x="36" y="254"/>
                  </a:lnTo>
                  <a:lnTo>
                    <a:pt x="37" y="259"/>
                  </a:lnTo>
                  <a:lnTo>
                    <a:pt x="40" y="261"/>
                  </a:lnTo>
                  <a:lnTo>
                    <a:pt x="45" y="263"/>
                  </a:lnTo>
                  <a:lnTo>
                    <a:pt x="50" y="263"/>
                  </a:lnTo>
                  <a:lnTo>
                    <a:pt x="53" y="261"/>
                  </a:lnTo>
                  <a:lnTo>
                    <a:pt x="58" y="259"/>
                  </a:lnTo>
                  <a:lnTo>
                    <a:pt x="60" y="254"/>
                  </a:lnTo>
                  <a:close/>
                </a:path>
              </a:pathLst>
            </a:custGeom>
            <a:solidFill>
              <a:srgbClr val="B34E4B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6653" tIns="58327" rIns="116653" bIns="58327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434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137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64" name="Freeform 134"/>
            <p:cNvSpPr>
              <a:spLocks/>
            </p:cNvSpPr>
            <p:nvPr/>
          </p:nvSpPr>
          <p:spPr bwMode="auto">
            <a:xfrm>
              <a:off x="3885" y="1989"/>
              <a:ext cx="41" cy="45"/>
            </a:xfrm>
            <a:custGeom>
              <a:avLst/>
              <a:gdLst>
                <a:gd name="T0" fmla="*/ 147 w 166"/>
                <a:gd name="T1" fmla="*/ 150 h 176"/>
                <a:gd name="T2" fmla="*/ 129 w 166"/>
                <a:gd name="T3" fmla="*/ 144 h 176"/>
                <a:gd name="T4" fmla="*/ 111 w 166"/>
                <a:gd name="T5" fmla="*/ 135 h 176"/>
                <a:gd name="T6" fmla="*/ 96 w 166"/>
                <a:gd name="T7" fmla="*/ 122 h 176"/>
                <a:gd name="T8" fmla="*/ 86 w 166"/>
                <a:gd name="T9" fmla="*/ 110 h 176"/>
                <a:gd name="T10" fmla="*/ 83 w 166"/>
                <a:gd name="T11" fmla="*/ 100 h 176"/>
                <a:gd name="T12" fmla="*/ 80 w 166"/>
                <a:gd name="T13" fmla="*/ 84 h 176"/>
                <a:gd name="T14" fmla="*/ 83 w 166"/>
                <a:gd name="T15" fmla="*/ 63 h 176"/>
                <a:gd name="T16" fmla="*/ 90 w 166"/>
                <a:gd name="T17" fmla="*/ 42 h 176"/>
                <a:gd name="T18" fmla="*/ 96 w 166"/>
                <a:gd name="T19" fmla="*/ 28 h 176"/>
                <a:gd name="T20" fmla="*/ 97 w 166"/>
                <a:gd name="T21" fmla="*/ 26 h 176"/>
                <a:gd name="T22" fmla="*/ 93 w 166"/>
                <a:gd name="T23" fmla="*/ 24 h 176"/>
                <a:gd name="T24" fmla="*/ 92 w 166"/>
                <a:gd name="T25" fmla="*/ 23 h 176"/>
                <a:gd name="T26" fmla="*/ 93 w 166"/>
                <a:gd name="T27" fmla="*/ 41 h 176"/>
                <a:gd name="T28" fmla="*/ 90 w 166"/>
                <a:gd name="T29" fmla="*/ 62 h 176"/>
                <a:gd name="T30" fmla="*/ 85 w 166"/>
                <a:gd name="T31" fmla="*/ 75 h 176"/>
                <a:gd name="T32" fmla="*/ 79 w 166"/>
                <a:gd name="T33" fmla="*/ 86 h 176"/>
                <a:gd name="T34" fmla="*/ 71 w 166"/>
                <a:gd name="T35" fmla="*/ 88 h 176"/>
                <a:gd name="T36" fmla="*/ 61 w 166"/>
                <a:gd name="T37" fmla="*/ 84 h 176"/>
                <a:gd name="T38" fmla="*/ 52 w 166"/>
                <a:gd name="T39" fmla="*/ 76 h 176"/>
                <a:gd name="T40" fmla="*/ 32 w 166"/>
                <a:gd name="T41" fmla="*/ 49 h 176"/>
                <a:gd name="T42" fmla="*/ 18 w 166"/>
                <a:gd name="T43" fmla="*/ 29 h 176"/>
                <a:gd name="T44" fmla="*/ 10 w 166"/>
                <a:gd name="T45" fmla="*/ 28 h 176"/>
                <a:gd name="T46" fmla="*/ 3 w 166"/>
                <a:gd name="T47" fmla="*/ 33 h 176"/>
                <a:gd name="T48" fmla="*/ 0 w 166"/>
                <a:gd name="T49" fmla="*/ 42 h 176"/>
                <a:gd name="T50" fmla="*/ 10 w 166"/>
                <a:gd name="T51" fmla="*/ 60 h 176"/>
                <a:gd name="T52" fmla="*/ 31 w 166"/>
                <a:gd name="T53" fmla="*/ 87 h 176"/>
                <a:gd name="T54" fmla="*/ 50 w 166"/>
                <a:gd name="T55" fmla="*/ 104 h 176"/>
                <a:gd name="T56" fmla="*/ 64 w 166"/>
                <a:gd name="T57" fmla="*/ 110 h 176"/>
                <a:gd name="T58" fmla="*/ 78 w 166"/>
                <a:gd name="T59" fmla="*/ 112 h 176"/>
                <a:gd name="T60" fmla="*/ 92 w 166"/>
                <a:gd name="T61" fmla="*/ 106 h 176"/>
                <a:gd name="T62" fmla="*/ 105 w 166"/>
                <a:gd name="T63" fmla="*/ 90 h 176"/>
                <a:gd name="T64" fmla="*/ 114 w 166"/>
                <a:gd name="T65" fmla="*/ 68 h 176"/>
                <a:gd name="T66" fmla="*/ 118 w 166"/>
                <a:gd name="T67" fmla="*/ 42 h 176"/>
                <a:gd name="T68" fmla="*/ 116 w 166"/>
                <a:gd name="T69" fmla="*/ 19 h 176"/>
                <a:gd name="T70" fmla="*/ 109 w 166"/>
                <a:gd name="T71" fmla="*/ 6 h 176"/>
                <a:gd name="T72" fmla="*/ 103 w 166"/>
                <a:gd name="T73" fmla="*/ 1 h 176"/>
                <a:gd name="T74" fmla="*/ 94 w 166"/>
                <a:gd name="T75" fmla="*/ 0 h 176"/>
                <a:gd name="T76" fmla="*/ 87 w 166"/>
                <a:gd name="T77" fmla="*/ 2 h 176"/>
                <a:gd name="T78" fmla="*/ 77 w 166"/>
                <a:gd name="T79" fmla="*/ 13 h 176"/>
                <a:gd name="T80" fmla="*/ 66 w 166"/>
                <a:gd name="T81" fmla="*/ 31 h 176"/>
                <a:gd name="T82" fmla="*/ 59 w 166"/>
                <a:gd name="T83" fmla="*/ 53 h 176"/>
                <a:gd name="T84" fmla="*/ 57 w 166"/>
                <a:gd name="T85" fmla="*/ 74 h 176"/>
                <a:gd name="T86" fmla="*/ 56 w 166"/>
                <a:gd name="T87" fmla="*/ 93 h 176"/>
                <a:gd name="T88" fmla="*/ 60 w 166"/>
                <a:gd name="T89" fmla="*/ 110 h 176"/>
                <a:gd name="T90" fmla="*/ 68 w 166"/>
                <a:gd name="T91" fmla="*/ 127 h 176"/>
                <a:gd name="T92" fmla="*/ 79 w 166"/>
                <a:gd name="T93" fmla="*/ 141 h 176"/>
                <a:gd name="T94" fmla="*/ 93 w 166"/>
                <a:gd name="T95" fmla="*/ 153 h 176"/>
                <a:gd name="T96" fmla="*/ 110 w 166"/>
                <a:gd name="T97" fmla="*/ 162 h 176"/>
                <a:gd name="T98" fmla="*/ 136 w 166"/>
                <a:gd name="T99" fmla="*/ 173 h 176"/>
                <a:gd name="T100" fmla="*/ 158 w 166"/>
                <a:gd name="T101" fmla="*/ 176 h 176"/>
                <a:gd name="T102" fmla="*/ 165 w 166"/>
                <a:gd name="T103" fmla="*/ 170 h 176"/>
                <a:gd name="T104" fmla="*/ 166 w 166"/>
                <a:gd name="T105" fmla="*/ 162 h 176"/>
                <a:gd name="T106" fmla="*/ 161 w 166"/>
                <a:gd name="T107" fmla="*/ 154 h 1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66" h="176">
                  <a:moveTo>
                    <a:pt x="157" y="153"/>
                  </a:moveTo>
                  <a:lnTo>
                    <a:pt x="147" y="150"/>
                  </a:lnTo>
                  <a:lnTo>
                    <a:pt x="137" y="148"/>
                  </a:lnTo>
                  <a:lnTo>
                    <a:pt x="129" y="144"/>
                  </a:lnTo>
                  <a:lnTo>
                    <a:pt x="119" y="140"/>
                  </a:lnTo>
                  <a:lnTo>
                    <a:pt x="111" y="135"/>
                  </a:lnTo>
                  <a:lnTo>
                    <a:pt x="103" y="129"/>
                  </a:lnTo>
                  <a:lnTo>
                    <a:pt x="96" y="122"/>
                  </a:lnTo>
                  <a:lnTo>
                    <a:pt x="90" y="114"/>
                  </a:lnTo>
                  <a:lnTo>
                    <a:pt x="86" y="110"/>
                  </a:lnTo>
                  <a:lnTo>
                    <a:pt x="84" y="106"/>
                  </a:lnTo>
                  <a:lnTo>
                    <a:pt x="83" y="100"/>
                  </a:lnTo>
                  <a:lnTo>
                    <a:pt x="81" y="95"/>
                  </a:lnTo>
                  <a:lnTo>
                    <a:pt x="80" y="84"/>
                  </a:lnTo>
                  <a:lnTo>
                    <a:pt x="80" y="74"/>
                  </a:lnTo>
                  <a:lnTo>
                    <a:pt x="83" y="63"/>
                  </a:lnTo>
                  <a:lnTo>
                    <a:pt x="85" y="53"/>
                  </a:lnTo>
                  <a:lnTo>
                    <a:pt x="90" y="42"/>
                  </a:lnTo>
                  <a:lnTo>
                    <a:pt x="93" y="33"/>
                  </a:lnTo>
                  <a:lnTo>
                    <a:pt x="96" y="28"/>
                  </a:lnTo>
                  <a:lnTo>
                    <a:pt x="100" y="23"/>
                  </a:lnTo>
                  <a:lnTo>
                    <a:pt x="97" y="26"/>
                  </a:lnTo>
                  <a:lnTo>
                    <a:pt x="94" y="26"/>
                  </a:lnTo>
                  <a:lnTo>
                    <a:pt x="93" y="24"/>
                  </a:lnTo>
                  <a:lnTo>
                    <a:pt x="92" y="23"/>
                  </a:lnTo>
                  <a:lnTo>
                    <a:pt x="92" y="23"/>
                  </a:lnTo>
                  <a:lnTo>
                    <a:pt x="92" y="28"/>
                  </a:lnTo>
                  <a:lnTo>
                    <a:pt x="93" y="41"/>
                  </a:lnTo>
                  <a:lnTo>
                    <a:pt x="92" y="55"/>
                  </a:lnTo>
                  <a:lnTo>
                    <a:pt x="90" y="62"/>
                  </a:lnTo>
                  <a:lnTo>
                    <a:pt x="89" y="69"/>
                  </a:lnTo>
                  <a:lnTo>
                    <a:pt x="85" y="75"/>
                  </a:lnTo>
                  <a:lnTo>
                    <a:pt x="83" y="81"/>
                  </a:lnTo>
                  <a:lnTo>
                    <a:pt x="79" y="86"/>
                  </a:lnTo>
                  <a:lnTo>
                    <a:pt x="74" y="87"/>
                  </a:lnTo>
                  <a:lnTo>
                    <a:pt x="71" y="88"/>
                  </a:lnTo>
                  <a:lnTo>
                    <a:pt x="66" y="87"/>
                  </a:lnTo>
                  <a:lnTo>
                    <a:pt x="61" y="84"/>
                  </a:lnTo>
                  <a:lnTo>
                    <a:pt x="57" y="81"/>
                  </a:lnTo>
                  <a:lnTo>
                    <a:pt x="52" y="76"/>
                  </a:lnTo>
                  <a:lnTo>
                    <a:pt x="47" y="71"/>
                  </a:lnTo>
                  <a:lnTo>
                    <a:pt x="32" y="49"/>
                  </a:lnTo>
                  <a:lnTo>
                    <a:pt x="21" y="33"/>
                  </a:lnTo>
                  <a:lnTo>
                    <a:pt x="18" y="29"/>
                  </a:lnTo>
                  <a:lnTo>
                    <a:pt x="14" y="28"/>
                  </a:lnTo>
                  <a:lnTo>
                    <a:pt x="10" y="28"/>
                  </a:lnTo>
                  <a:lnTo>
                    <a:pt x="6" y="30"/>
                  </a:lnTo>
                  <a:lnTo>
                    <a:pt x="3" y="33"/>
                  </a:lnTo>
                  <a:lnTo>
                    <a:pt x="0" y="37"/>
                  </a:lnTo>
                  <a:lnTo>
                    <a:pt x="0" y="42"/>
                  </a:lnTo>
                  <a:lnTo>
                    <a:pt x="3" y="47"/>
                  </a:lnTo>
                  <a:lnTo>
                    <a:pt x="10" y="60"/>
                  </a:lnTo>
                  <a:lnTo>
                    <a:pt x="19" y="73"/>
                  </a:lnTo>
                  <a:lnTo>
                    <a:pt x="31" y="87"/>
                  </a:lnTo>
                  <a:lnTo>
                    <a:pt x="43" y="99"/>
                  </a:lnTo>
                  <a:lnTo>
                    <a:pt x="50" y="104"/>
                  </a:lnTo>
                  <a:lnTo>
                    <a:pt x="57" y="108"/>
                  </a:lnTo>
                  <a:lnTo>
                    <a:pt x="64" y="110"/>
                  </a:lnTo>
                  <a:lnTo>
                    <a:pt x="71" y="112"/>
                  </a:lnTo>
                  <a:lnTo>
                    <a:pt x="78" y="112"/>
                  </a:lnTo>
                  <a:lnTo>
                    <a:pt x="85" y="109"/>
                  </a:lnTo>
                  <a:lnTo>
                    <a:pt x="92" y="106"/>
                  </a:lnTo>
                  <a:lnTo>
                    <a:pt x="99" y="99"/>
                  </a:lnTo>
                  <a:lnTo>
                    <a:pt x="105" y="90"/>
                  </a:lnTo>
                  <a:lnTo>
                    <a:pt x="111" y="80"/>
                  </a:lnTo>
                  <a:lnTo>
                    <a:pt x="114" y="68"/>
                  </a:lnTo>
                  <a:lnTo>
                    <a:pt x="117" y="55"/>
                  </a:lnTo>
                  <a:lnTo>
                    <a:pt x="118" y="42"/>
                  </a:lnTo>
                  <a:lnTo>
                    <a:pt x="118" y="30"/>
                  </a:lnTo>
                  <a:lnTo>
                    <a:pt x="116" y="19"/>
                  </a:lnTo>
                  <a:lnTo>
                    <a:pt x="112" y="9"/>
                  </a:lnTo>
                  <a:lnTo>
                    <a:pt x="109" y="6"/>
                  </a:lnTo>
                  <a:lnTo>
                    <a:pt x="106" y="3"/>
                  </a:lnTo>
                  <a:lnTo>
                    <a:pt x="103" y="1"/>
                  </a:lnTo>
                  <a:lnTo>
                    <a:pt x="99" y="0"/>
                  </a:lnTo>
                  <a:lnTo>
                    <a:pt x="94" y="0"/>
                  </a:lnTo>
                  <a:lnTo>
                    <a:pt x="91" y="1"/>
                  </a:lnTo>
                  <a:lnTo>
                    <a:pt x="87" y="2"/>
                  </a:lnTo>
                  <a:lnTo>
                    <a:pt x="84" y="4"/>
                  </a:lnTo>
                  <a:lnTo>
                    <a:pt x="77" y="13"/>
                  </a:lnTo>
                  <a:lnTo>
                    <a:pt x="71" y="21"/>
                  </a:lnTo>
                  <a:lnTo>
                    <a:pt x="66" y="31"/>
                  </a:lnTo>
                  <a:lnTo>
                    <a:pt x="63" y="41"/>
                  </a:lnTo>
                  <a:lnTo>
                    <a:pt x="59" y="53"/>
                  </a:lnTo>
                  <a:lnTo>
                    <a:pt x="58" y="63"/>
                  </a:lnTo>
                  <a:lnTo>
                    <a:pt x="57" y="74"/>
                  </a:lnTo>
                  <a:lnTo>
                    <a:pt x="56" y="83"/>
                  </a:lnTo>
                  <a:lnTo>
                    <a:pt x="56" y="93"/>
                  </a:lnTo>
                  <a:lnTo>
                    <a:pt x="58" y="102"/>
                  </a:lnTo>
                  <a:lnTo>
                    <a:pt x="60" y="110"/>
                  </a:lnTo>
                  <a:lnTo>
                    <a:pt x="64" y="119"/>
                  </a:lnTo>
                  <a:lnTo>
                    <a:pt x="68" y="127"/>
                  </a:lnTo>
                  <a:lnTo>
                    <a:pt x="73" y="134"/>
                  </a:lnTo>
                  <a:lnTo>
                    <a:pt x="79" y="141"/>
                  </a:lnTo>
                  <a:lnTo>
                    <a:pt x="86" y="147"/>
                  </a:lnTo>
                  <a:lnTo>
                    <a:pt x="93" y="153"/>
                  </a:lnTo>
                  <a:lnTo>
                    <a:pt x="101" y="157"/>
                  </a:lnTo>
                  <a:lnTo>
                    <a:pt x="110" y="162"/>
                  </a:lnTo>
                  <a:lnTo>
                    <a:pt x="118" y="167"/>
                  </a:lnTo>
                  <a:lnTo>
                    <a:pt x="136" y="173"/>
                  </a:lnTo>
                  <a:lnTo>
                    <a:pt x="152" y="176"/>
                  </a:lnTo>
                  <a:lnTo>
                    <a:pt x="158" y="176"/>
                  </a:lnTo>
                  <a:lnTo>
                    <a:pt x="161" y="174"/>
                  </a:lnTo>
                  <a:lnTo>
                    <a:pt x="165" y="170"/>
                  </a:lnTo>
                  <a:lnTo>
                    <a:pt x="166" y="167"/>
                  </a:lnTo>
                  <a:lnTo>
                    <a:pt x="166" y="162"/>
                  </a:lnTo>
                  <a:lnTo>
                    <a:pt x="165" y="157"/>
                  </a:lnTo>
                  <a:lnTo>
                    <a:pt x="161" y="154"/>
                  </a:lnTo>
                  <a:lnTo>
                    <a:pt x="157" y="153"/>
                  </a:lnTo>
                  <a:close/>
                </a:path>
              </a:pathLst>
            </a:custGeom>
            <a:solidFill>
              <a:srgbClr val="B34E4B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6653" tIns="58327" rIns="116653" bIns="58327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434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137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65" name="Freeform 135"/>
            <p:cNvSpPr>
              <a:spLocks/>
            </p:cNvSpPr>
            <p:nvPr/>
          </p:nvSpPr>
          <p:spPr bwMode="auto">
            <a:xfrm>
              <a:off x="4012" y="1956"/>
              <a:ext cx="34" cy="73"/>
            </a:xfrm>
            <a:custGeom>
              <a:avLst/>
              <a:gdLst>
                <a:gd name="T0" fmla="*/ 42 w 135"/>
                <a:gd name="T1" fmla="*/ 265 h 290"/>
                <a:gd name="T2" fmla="*/ 54 w 135"/>
                <a:gd name="T3" fmla="*/ 227 h 290"/>
                <a:gd name="T4" fmla="*/ 63 w 135"/>
                <a:gd name="T5" fmla="*/ 187 h 290"/>
                <a:gd name="T6" fmla="*/ 68 w 135"/>
                <a:gd name="T7" fmla="*/ 148 h 290"/>
                <a:gd name="T8" fmla="*/ 68 w 135"/>
                <a:gd name="T9" fmla="*/ 116 h 290"/>
                <a:gd name="T10" fmla="*/ 59 w 135"/>
                <a:gd name="T11" fmla="*/ 89 h 290"/>
                <a:gd name="T12" fmla="*/ 46 w 135"/>
                <a:gd name="T13" fmla="*/ 71 h 290"/>
                <a:gd name="T14" fmla="*/ 36 w 135"/>
                <a:gd name="T15" fmla="*/ 64 h 290"/>
                <a:gd name="T16" fmla="*/ 25 w 135"/>
                <a:gd name="T17" fmla="*/ 62 h 290"/>
                <a:gd name="T18" fmla="*/ 13 w 135"/>
                <a:gd name="T19" fmla="*/ 67 h 290"/>
                <a:gd name="T20" fmla="*/ 3 w 135"/>
                <a:gd name="T21" fmla="*/ 77 h 290"/>
                <a:gd name="T22" fmla="*/ 0 w 135"/>
                <a:gd name="T23" fmla="*/ 86 h 290"/>
                <a:gd name="T24" fmla="*/ 0 w 135"/>
                <a:gd name="T25" fmla="*/ 101 h 290"/>
                <a:gd name="T26" fmla="*/ 8 w 135"/>
                <a:gd name="T27" fmla="*/ 120 h 290"/>
                <a:gd name="T28" fmla="*/ 21 w 135"/>
                <a:gd name="T29" fmla="*/ 136 h 290"/>
                <a:gd name="T30" fmla="*/ 34 w 135"/>
                <a:gd name="T31" fmla="*/ 143 h 290"/>
                <a:gd name="T32" fmla="*/ 43 w 135"/>
                <a:gd name="T33" fmla="*/ 146 h 290"/>
                <a:gd name="T34" fmla="*/ 53 w 135"/>
                <a:gd name="T35" fmla="*/ 144 h 290"/>
                <a:gd name="T36" fmla="*/ 62 w 135"/>
                <a:gd name="T37" fmla="*/ 141 h 290"/>
                <a:gd name="T38" fmla="*/ 75 w 135"/>
                <a:gd name="T39" fmla="*/ 132 h 290"/>
                <a:gd name="T40" fmla="*/ 92 w 135"/>
                <a:gd name="T41" fmla="*/ 111 h 290"/>
                <a:gd name="T42" fmla="*/ 110 w 135"/>
                <a:gd name="T43" fmla="*/ 76 h 290"/>
                <a:gd name="T44" fmla="*/ 129 w 135"/>
                <a:gd name="T45" fmla="*/ 31 h 290"/>
                <a:gd name="T46" fmla="*/ 135 w 135"/>
                <a:gd name="T47" fmla="*/ 11 h 290"/>
                <a:gd name="T48" fmla="*/ 130 w 135"/>
                <a:gd name="T49" fmla="*/ 3 h 290"/>
                <a:gd name="T50" fmla="*/ 122 w 135"/>
                <a:gd name="T51" fmla="*/ 0 h 290"/>
                <a:gd name="T52" fmla="*/ 114 w 135"/>
                <a:gd name="T53" fmla="*/ 3 h 290"/>
                <a:gd name="T54" fmla="*/ 102 w 135"/>
                <a:gd name="T55" fmla="*/ 36 h 290"/>
                <a:gd name="T56" fmla="*/ 83 w 135"/>
                <a:gd name="T57" fmla="*/ 81 h 290"/>
                <a:gd name="T58" fmla="*/ 74 w 135"/>
                <a:gd name="T59" fmla="*/ 96 h 290"/>
                <a:gd name="T60" fmla="*/ 63 w 135"/>
                <a:gd name="T61" fmla="*/ 109 h 290"/>
                <a:gd name="T62" fmla="*/ 50 w 135"/>
                <a:gd name="T63" fmla="*/ 117 h 290"/>
                <a:gd name="T64" fmla="*/ 40 w 135"/>
                <a:gd name="T65" fmla="*/ 120 h 290"/>
                <a:gd name="T66" fmla="*/ 33 w 135"/>
                <a:gd name="T67" fmla="*/ 116 h 290"/>
                <a:gd name="T68" fmla="*/ 27 w 135"/>
                <a:gd name="T69" fmla="*/ 106 h 290"/>
                <a:gd name="T70" fmla="*/ 26 w 135"/>
                <a:gd name="T71" fmla="*/ 94 h 290"/>
                <a:gd name="T72" fmla="*/ 28 w 135"/>
                <a:gd name="T73" fmla="*/ 89 h 290"/>
                <a:gd name="T74" fmla="*/ 32 w 135"/>
                <a:gd name="T75" fmla="*/ 89 h 290"/>
                <a:gd name="T76" fmla="*/ 37 w 135"/>
                <a:gd name="T77" fmla="*/ 96 h 290"/>
                <a:gd name="T78" fmla="*/ 45 w 135"/>
                <a:gd name="T79" fmla="*/ 111 h 290"/>
                <a:gd name="T80" fmla="*/ 48 w 135"/>
                <a:gd name="T81" fmla="*/ 132 h 290"/>
                <a:gd name="T82" fmla="*/ 47 w 135"/>
                <a:gd name="T83" fmla="*/ 154 h 290"/>
                <a:gd name="T84" fmla="*/ 43 w 135"/>
                <a:gd name="T85" fmla="*/ 176 h 290"/>
                <a:gd name="T86" fmla="*/ 35 w 135"/>
                <a:gd name="T87" fmla="*/ 213 h 290"/>
                <a:gd name="T88" fmla="*/ 20 w 135"/>
                <a:gd name="T89" fmla="*/ 255 h 290"/>
                <a:gd name="T90" fmla="*/ 12 w 135"/>
                <a:gd name="T91" fmla="*/ 279 h 290"/>
                <a:gd name="T92" fmla="*/ 16 w 135"/>
                <a:gd name="T93" fmla="*/ 287 h 290"/>
                <a:gd name="T94" fmla="*/ 25 w 135"/>
                <a:gd name="T95" fmla="*/ 290 h 290"/>
                <a:gd name="T96" fmla="*/ 33 w 135"/>
                <a:gd name="T97" fmla="*/ 288 h 2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135" h="290">
                  <a:moveTo>
                    <a:pt x="35" y="283"/>
                  </a:moveTo>
                  <a:lnTo>
                    <a:pt x="42" y="265"/>
                  </a:lnTo>
                  <a:lnTo>
                    <a:pt x="48" y="246"/>
                  </a:lnTo>
                  <a:lnTo>
                    <a:pt x="54" y="227"/>
                  </a:lnTo>
                  <a:lnTo>
                    <a:pt x="59" y="207"/>
                  </a:lnTo>
                  <a:lnTo>
                    <a:pt x="63" y="187"/>
                  </a:lnTo>
                  <a:lnTo>
                    <a:pt x="67" y="168"/>
                  </a:lnTo>
                  <a:lnTo>
                    <a:pt x="68" y="148"/>
                  </a:lnTo>
                  <a:lnTo>
                    <a:pt x="69" y="128"/>
                  </a:lnTo>
                  <a:lnTo>
                    <a:pt x="68" y="116"/>
                  </a:lnTo>
                  <a:lnTo>
                    <a:pt x="65" y="103"/>
                  </a:lnTo>
                  <a:lnTo>
                    <a:pt x="59" y="89"/>
                  </a:lnTo>
                  <a:lnTo>
                    <a:pt x="50" y="77"/>
                  </a:lnTo>
                  <a:lnTo>
                    <a:pt x="46" y="71"/>
                  </a:lnTo>
                  <a:lnTo>
                    <a:pt x="41" y="68"/>
                  </a:lnTo>
                  <a:lnTo>
                    <a:pt x="36" y="64"/>
                  </a:lnTo>
                  <a:lnTo>
                    <a:pt x="30" y="63"/>
                  </a:lnTo>
                  <a:lnTo>
                    <a:pt x="25" y="62"/>
                  </a:lnTo>
                  <a:lnTo>
                    <a:pt x="19" y="64"/>
                  </a:lnTo>
                  <a:lnTo>
                    <a:pt x="13" y="67"/>
                  </a:lnTo>
                  <a:lnTo>
                    <a:pt x="7" y="73"/>
                  </a:lnTo>
                  <a:lnTo>
                    <a:pt x="3" y="77"/>
                  </a:lnTo>
                  <a:lnTo>
                    <a:pt x="1" y="81"/>
                  </a:lnTo>
                  <a:lnTo>
                    <a:pt x="0" y="86"/>
                  </a:lnTo>
                  <a:lnTo>
                    <a:pt x="0" y="90"/>
                  </a:lnTo>
                  <a:lnTo>
                    <a:pt x="0" y="101"/>
                  </a:lnTo>
                  <a:lnTo>
                    <a:pt x="3" y="110"/>
                  </a:lnTo>
                  <a:lnTo>
                    <a:pt x="8" y="120"/>
                  </a:lnTo>
                  <a:lnTo>
                    <a:pt x="15" y="129"/>
                  </a:lnTo>
                  <a:lnTo>
                    <a:pt x="21" y="136"/>
                  </a:lnTo>
                  <a:lnTo>
                    <a:pt x="29" y="141"/>
                  </a:lnTo>
                  <a:lnTo>
                    <a:pt x="34" y="143"/>
                  </a:lnTo>
                  <a:lnTo>
                    <a:pt x="39" y="144"/>
                  </a:lnTo>
                  <a:lnTo>
                    <a:pt x="43" y="146"/>
                  </a:lnTo>
                  <a:lnTo>
                    <a:pt x="48" y="146"/>
                  </a:lnTo>
                  <a:lnTo>
                    <a:pt x="53" y="144"/>
                  </a:lnTo>
                  <a:lnTo>
                    <a:pt x="57" y="143"/>
                  </a:lnTo>
                  <a:lnTo>
                    <a:pt x="62" y="141"/>
                  </a:lnTo>
                  <a:lnTo>
                    <a:pt x="67" y="139"/>
                  </a:lnTo>
                  <a:lnTo>
                    <a:pt x="75" y="132"/>
                  </a:lnTo>
                  <a:lnTo>
                    <a:pt x="83" y="122"/>
                  </a:lnTo>
                  <a:lnTo>
                    <a:pt x="92" y="111"/>
                  </a:lnTo>
                  <a:lnTo>
                    <a:pt x="99" y="101"/>
                  </a:lnTo>
                  <a:lnTo>
                    <a:pt x="110" y="76"/>
                  </a:lnTo>
                  <a:lnTo>
                    <a:pt x="121" y="51"/>
                  </a:lnTo>
                  <a:lnTo>
                    <a:pt x="129" y="31"/>
                  </a:lnTo>
                  <a:lnTo>
                    <a:pt x="134" y="17"/>
                  </a:lnTo>
                  <a:lnTo>
                    <a:pt x="135" y="11"/>
                  </a:lnTo>
                  <a:lnTo>
                    <a:pt x="134" y="8"/>
                  </a:lnTo>
                  <a:lnTo>
                    <a:pt x="130" y="3"/>
                  </a:lnTo>
                  <a:lnTo>
                    <a:pt x="127" y="1"/>
                  </a:lnTo>
                  <a:lnTo>
                    <a:pt x="122" y="0"/>
                  </a:lnTo>
                  <a:lnTo>
                    <a:pt x="118" y="1"/>
                  </a:lnTo>
                  <a:lnTo>
                    <a:pt x="114" y="3"/>
                  </a:lnTo>
                  <a:lnTo>
                    <a:pt x="112" y="8"/>
                  </a:lnTo>
                  <a:lnTo>
                    <a:pt x="102" y="36"/>
                  </a:lnTo>
                  <a:lnTo>
                    <a:pt x="88" y="71"/>
                  </a:lnTo>
                  <a:lnTo>
                    <a:pt x="83" y="81"/>
                  </a:lnTo>
                  <a:lnTo>
                    <a:pt x="79" y="88"/>
                  </a:lnTo>
                  <a:lnTo>
                    <a:pt x="74" y="96"/>
                  </a:lnTo>
                  <a:lnTo>
                    <a:pt x="69" y="103"/>
                  </a:lnTo>
                  <a:lnTo>
                    <a:pt x="63" y="109"/>
                  </a:lnTo>
                  <a:lnTo>
                    <a:pt x="57" y="114"/>
                  </a:lnTo>
                  <a:lnTo>
                    <a:pt x="50" y="117"/>
                  </a:lnTo>
                  <a:lnTo>
                    <a:pt x="43" y="120"/>
                  </a:lnTo>
                  <a:lnTo>
                    <a:pt x="40" y="120"/>
                  </a:lnTo>
                  <a:lnTo>
                    <a:pt x="36" y="119"/>
                  </a:lnTo>
                  <a:lnTo>
                    <a:pt x="33" y="116"/>
                  </a:lnTo>
                  <a:lnTo>
                    <a:pt x="30" y="113"/>
                  </a:lnTo>
                  <a:lnTo>
                    <a:pt x="27" y="106"/>
                  </a:lnTo>
                  <a:lnTo>
                    <a:pt x="26" y="97"/>
                  </a:lnTo>
                  <a:lnTo>
                    <a:pt x="26" y="94"/>
                  </a:lnTo>
                  <a:lnTo>
                    <a:pt x="27" y="90"/>
                  </a:lnTo>
                  <a:lnTo>
                    <a:pt x="28" y="89"/>
                  </a:lnTo>
                  <a:lnTo>
                    <a:pt x="29" y="88"/>
                  </a:lnTo>
                  <a:lnTo>
                    <a:pt x="32" y="89"/>
                  </a:lnTo>
                  <a:lnTo>
                    <a:pt x="34" y="91"/>
                  </a:lnTo>
                  <a:lnTo>
                    <a:pt x="37" y="96"/>
                  </a:lnTo>
                  <a:lnTo>
                    <a:pt x="41" y="102"/>
                  </a:lnTo>
                  <a:lnTo>
                    <a:pt x="45" y="111"/>
                  </a:lnTo>
                  <a:lnTo>
                    <a:pt x="47" y="121"/>
                  </a:lnTo>
                  <a:lnTo>
                    <a:pt x="48" y="132"/>
                  </a:lnTo>
                  <a:lnTo>
                    <a:pt x="48" y="142"/>
                  </a:lnTo>
                  <a:lnTo>
                    <a:pt x="47" y="154"/>
                  </a:lnTo>
                  <a:lnTo>
                    <a:pt x="46" y="164"/>
                  </a:lnTo>
                  <a:lnTo>
                    <a:pt x="43" y="176"/>
                  </a:lnTo>
                  <a:lnTo>
                    <a:pt x="41" y="189"/>
                  </a:lnTo>
                  <a:lnTo>
                    <a:pt x="35" y="213"/>
                  </a:lnTo>
                  <a:lnTo>
                    <a:pt x="27" y="235"/>
                  </a:lnTo>
                  <a:lnTo>
                    <a:pt x="20" y="255"/>
                  </a:lnTo>
                  <a:lnTo>
                    <a:pt x="13" y="274"/>
                  </a:lnTo>
                  <a:lnTo>
                    <a:pt x="12" y="279"/>
                  </a:lnTo>
                  <a:lnTo>
                    <a:pt x="13" y="283"/>
                  </a:lnTo>
                  <a:lnTo>
                    <a:pt x="16" y="287"/>
                  </a:lnTo>
                  <a:lnTo>
                    <a:pt x="20" y="289"/>
                  </a:lnTo>
                  <a:lnTo>
                    <a:pt x="25" y="290"/>
                  </a:lnTo>
                  <a:lnTo>
                    <a:pt x="28" y="290"/>
                  </a:lnTo>
                  <a:lnTo>
                    <a:pt x="33" y="288"/>
                  </a:lnTo>
                  <a:lnTo>
                    <a:pt x="35" y="283"/>
                  </a:lnTo>
                  <a:close/>
                </a:path>
              </a:pathLst>
            </a:custGeom>
            <a:solidFill>
              <a:srgbClr val="B34E4B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6653" tIns="58327" rIns="116653" bIns="58327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434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137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66" name="Freeform 136"/>
            <p:cNvSpPr>
              <a:spLocks/>
            </p:cNvSpPr>
            <p:nvPr/>
          </p:nvSpPr>
          <p:spPr bwMode="auto">
            <a:xfrm>
              <a:off x="3825" y="1999"/>
              <a:ext cx="483" cy="662"/>
            </a:xfrm>
            <a:custGeom>
              <a:avLst/>
              <a:gdLst>
                <a:gd name="T0" fmla="*/ 261 w 1929"/>
                <a:gd name="T1" fmla="*/ 1590 h 2650"/>
                <a:gd name="T2" fmla="*/ 321 w 1929"/>
                <a:gd name="T3" fmla="*/ 1499 h 2650"/>
                <a:gd name="T4" fmla="*/ 357 w 1929"/>
                <a:gd name="T5" fmla="*/ 1428 h 2650"/>
                <a:gd name="T6" fmla="*/ 387 w 1929"/>
                <a:gd name="T7" fmla="*/ 1349 h 2650"/>
                <a:gd name="T8" fmla="*/ 407 w 1929"/>
                <a:gd name="T9" fmla="*/ 1262 h 2650"/>
                <a:gd name="T10" fmla="*/ 413 w 1929"/>
                <a:gd name="T11" fmla="*/ 1168 h 2650"/>
                <a:gd name="T12" fmla="*/ 400 w 1929"/>
                <a:gd name="T13" fmla="*/ 1072 h 2650"/>
                <a:gd name="T14" fmla="*/ 364 w 1929"/>
                <a:gd name="T15" fmla="*/ 970 h 2650"/>
                <a:gd name="T16" fmla="*/ 307 w 1929"/>
                <a:gd name="T17" fmla="*/ 867 h 2650"/>
                <a:gd name="T18" fmla="*/ 255 w 1929"/>
                <a:gd name="T19" fmla="*/ 757 h 2650"/>
                <a:gd name="T20" fmla="*/ 215 w 1929"/>
                <a:gd name="T21" fmla="*/ 647 h 2650"/>
                <a:gd name="T22" fmla="*/ 188 w 1929"/>
                <a:gd name="T23" fmla="*/ 536 h 2650"/>
                <a:gd name="T24" fmla="*/ 178 w 1929"/>
                <a:gd name="T25" fmla="*/ 430 h 2650"/>
                <a:gd name="T26" fmla="*/ 188 w 1929"/>
                <a:gd name="T27" fmla="*/ 329 h 2650"/>
                <a:gd name="T28" fmla="*/ 221 w 1929"/>
                <a:gd name="T29" fmla="*/ 237 h 2650"/>
                <a:gd name="T30" fmla="*/ 281 w 1929"/>
                <a:gd name="T31" fmla="*/ 156 h 2650"/>
                <a:gd name="T32" fmla="*/ 371 w 1929"/>
                <a:gd name="T33" fmla="*/ 89 h 2650"/>
                <a:gd name="T34" fmla="*/ 493 w 1929"/>
                <a:gd name="T35" fmla="*/ 38 h 2650"/>
                <a:gd name="T36" fmla="*/ 651 w 1929"/>
                <a:gd name="T37" fmla="*/ 6 h 2650"/>
                <a:gd name="T38" fmla="*/ 859 w 1929"/>
                <a:gd name="T39" fmla="*/ 6 h 2650"/>
                <a:gd name="T40" fmla="*/ 1012 w 1929"/>
                <a:gd name="T41" fmla="*/ 56 h 2650"/>
                <a:gd name="T42" fmla="*/ 1119 w 1929"/>
                <a:gd name="T43" fmla="*/ 147 h 2650"/>
                <a:gd name="T44" fmla="*/ 1191 w 1929"/>
                <a:gd name="T45" fmla="*/ 272 h 2650"/>
                <a:gd name="T46" fmla="*/ 1241 w 1929"/>
                <a:gd name="T47" fmla="*/ 421 h 2650"/>
                <a:gd name="T48" fmla="*/ 1301 w 1929"/>
                <a:gd name="T49" fmla="*/ 696 h 2650"/>
                <a:gd name="T50" fmla="*/ 1341 w 1929"/>
                <a:gd name="T51" fmla="*/ 862 h 2650"/>
                <a:gd name="T52" fmla="*/ 1398 w 1929"/>
                <a:gd name="T53" fmla="*/ 1020 h 2650"/>
                <a:gd name="T54" fmla="*/ 1483 w 1929"/>
                <a:gd name="T55" fmla="*/ 1158 h 2650"/>
                <a:gd name="T56" fmla="*/ 1607 w 1929"/>
                <a:gd name="T57" fmla="*/ 1267 h 2650"/>
                <a:gd name="T58" fmla="*/ 1696 w 1929"/>
                <a:gd name="T59" fmla="*/ 1344 h 2650"/>
                <a:gd name="T60" fmla="*/ 1781 w 1929"/>
                <a:gd name="T61" fmla="*/ 1454 h 2650"/>
                <a:gd name="T62" fmla="*/ 1853 w 1929"/>
                <a:gd name="T63" fmla="*/ 1593 h 2650"/>
                <a:gd name="T64" fmla="*/ 1905 w 1929"/>
                <a:gd name="T65" fmla="*/ 1750 h 2650"/>
                <a:gd name="T66" fmla="*/ 1928 w 1929"/>
                <a:gd name="T67" fmla="*/ 1916 h 2650"/>
                <a:gd name="T68" fmla="*/ 1916 w 1929"/>
                <a:gd name="T69" fmla="*/ 2084 h 2650"/>
                <a:gd name="T70" fmla="*/ 1859 w 1929"/>
                <a:gd name="T71" fmla="*/ 2244 h 2650"/>
                <a:gd name="T72" fmla="*/ 1750 w 1929"/>
                <a:gd name="T73" fmla="*/ 2389 h 2650"/>
                <a:gd name="T74" fmla="*/ 1581 w 1929"/>
                <a:gd name="T75" fmla="*/ 2510 h 2650"/>
                <a:gd name="T76" fmla="*/ 1343 w 1929"/>
                <a:gd name="T77" fmla="*/ 2598 h 2650"/>
                <a:gd name="T78" fmla="*/ 1037 w 1929"/>
                <a:gd name="T79" fmla="*/ 2645 h 2650"/>
                <a:gd name="T80" fmla="*/ 751 w 1929"/>
                <a:gd name="T81" fmla="*/ 2645 h 2650"/>
                <a:gd name="T82" fmla="*/ 514 w 1929"/>
                <a:gd name="T83" fmla="*/ 2605 h 2650"/>
                <a:gd name="T84" fmla="*/ 324 w 1929"/>
                <a:gd name="T85" fmla="*/ 2531 h 2650"/>
                <a:gd name="T86" fmla="*/ 179 w 1929"/>
                <a:gd name="T87" fmla="*/ 2430 h 2650"/>
                <a:gd name="T88" fmla="*/ 76 w 1929"/>
                <a:gd name="T89" fmla="*/ 2311 h 2650"/>
                <a:gd name="T90" fmla="*/ 18 w 1929"/>
                <a:gd name="T91" fmla="*/ 2179 h 2650"/>
                <a:gd name="T92" fmla="*/ 0 w 1929"/>
                <a:gd name="T93" fmla="*/ 2043 h 2650"/>
                <a:gd name="T94" fmla="*/ 20 w 1929"/>
                <a:gd name="T95" fmla="*/ 1910 h 2650"/>
                <a:gd name="T96" fmla="*/ 78 w 1929"/>
                <a:gd name="T97" fmla="*/ 1786 h 2650"/>
                <a:gd name="T98" fmla="*/ 173 w 1929"/>
                <a:gd name="T99" fmla="*/ 1680 h 26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929" h="2650">
                  <a:moveTo>
                    <a:pt x="212" y="1650"/>
                  </a:moveTo>
                  <a:lnTo>
                    <a:pt x="226" y="1634"/>
                  </a:lnTo>
                  <a:lnTo>
                    <a:pt x="261" y="1590"/>
                  </a:lnTo>
                  <a:lnTo>
                    <a:pt x="285" y="1557"/>
                  </a:lnTo>
                  <a:lnTo>
                    <a:pt x="309" y="1519"/>
                  </a:lnTo>
                  <a:lnTo>
                    <a:pt x="321" y="1499"/>
                  </a:lnTo>
                  <a:lnTo>
                    <a:pt x="333" y="1477"/>
                  </a:lnTo>
                  <a:lnTo>
                    <a:pt x="345" y="1453"/>
                  </a:lnTo>
                  <a:lnTo>
                    <a:pt x="357" y="1428"/>
                  </a:lnTo>
                  <a:lnTo>
                    <a:pt x="367" y="1402"/>
                  </a:lnTo>
                  <a:lnTo>
                    <a:pt x="378" y="1376"/>
                  </a:lnTo>
                  <a:lnTo>
                    <a:pt x="387" y="1349"/>
                  </a:lnTo>
                  <a:lnTo>
                    <a:pt x="395" y="1321"/>
                  </a:lnTo>
                  <a:lnTo>
                    <a:pt x="401" y="1292"/>
                  </a:lnTo>
                  <a:lnTo>
                    <a:pt x="407" y="1262"/>
                  </a:lnTo>
                  <a:lnTo>
                    <a:pt x="411" y="1232"/>
                  </a:lnTo>
                  <a:lnTo>
                    <a:pt x="413" y="1200"/>
                  </a:lnTo>
                  <a:lnTo>
                    <a:pt x="413" y="1168"/>
                  </a:lnTo>
                  <a:lnTo>
                    <a:pt x="411" y="1136"/>
                  </a:lnTo>
                  <a:lnTo>
                    <a:pt x="406" y="1103"/>
                  </a:lnTo>
                  <a:lnTo>
                    <a:pt x="400" y="1072"/>
                  </a:lnTo>
                  <a:lnTo>
                    <a:pt x="391" y="1037"/>
                  </a:lnTo>
                  <a:lnTo>
                    <a:pt x="379" y="1004"/>
                  </a:lnTo>
                  <a:lnTo>
                    <a:pt x="364" y="970"/>
                  </a:lnTo>
                  <a:lnTo>
                    <a:pt x="346" y="937"/>
                  </a:lnTo>
                  <a:lnTo>
                    <a:pt x="326" y="902"/>
                  </a:lnTo>
                  <a:lnTo>
                    <a:pt x="307" y="867"/>
                  </a:lnTo>
                  <a:lnTo>
                    <a:pt x="289" y="830"/>
                  </a:lnTo>
                  <a:lnTo>
                    <a:pt x="272" y="794"/>
                  </a:lnTo>
                  <a:lnTo>
                    <a:pt x="255" y="757"/>
                  </a:lnTo>
                  <a:lnTo>
                    <a:pt x="241" y="721"/>
                  </a:lnTo>
                  <a:lnTo>
                    <a:pt x="227" y="683"/>
                  </a:lnTo>
                  <a:lnTo>
                    <a:pt x="215" y="647"/>
                  </a:lnTo>
                  <a:lnTo>
                    <a:pt x="205" y="610"/>
                  </a:lnTo>
                  <a:lnTo>
                    <a:pt x="195" y="572"/>
                  </a:lnTo>
                  <a:lnTo>
                    <a:pt x="188" y="536"/>
                  </a:lnTo>
                  <a:lnTo>
                    <a:pt x="182" y="501"/>
                  </a:lnTo>
                  <a:lnTo>
                    <a:pt x="179" y="465"/>
                  </a:lnTo>
                  <a:lnTo>
                    <a:pt x="178" y="430"/>
                  </a:lnTo>
                  <a:lnTo>
                    <a:pt x="179" y="396"/>
                  </a:lnTo>
                  <a:lnTo>
                    <a:pt x="182" y="362"/>
                  </a:lnTo>
                  <a:lnTo>
                    <a:pt x="188" y="329"/>
                  </a:lnTo>
                  <a:lnTo>
                    <a:pt x="196" y="297"/>
                  </a:lnTo>
                  <a:lnTo>
                    <a:pt x="207" y="266"/>
                  </a:lnTo>
                  <a:lnTo>
                    <a:pt x="221" y="237"/>
                  </a:lnTo>
                  <a:lnTo>
                    <a:pt x="238" y="209"/>
                  </a:lnTo>
                  <a:lnTo>
                    <a:pt x="258" y="182"/>
                  </a:lnTo>
                  <a:lnTo>
                    <a:pt x="281" y="156"/>
                  </a:lnTo>
                  <a:lnTo>
                    <a:pt x="307" y="132"/>
                  </a:lnTo>
                  <a:lnTo>
                    <a:pt x="337" y="110"/>
                  </a:lnTo>
                  <a:lnTo>
                    <a:pt x="371" y="89"/>
                  </a:lnTo>
                  <a:lnTo>
                    <a:pt x="407" y="70"/>
                  </a:lnTo>
                  <a:lnTo>
                    <a:pt x="448" y="53"/>
                  </a:lnTo>
                  <a:lnTo>
                    <a:pt x="493" y="38"/>
                  </a:lnTo>
                  <a:lnTo>
                    <a:pt x="541" y="25"/>
                  </a:lnTo>
                  <a:lnTo>
                    <a:pt x="594" y="14"/>
                  </a:lnTo>
                  <a:lnTo>
                    <a:pt x="651" y="6"/>
                  </a:lnTo>
                  <a:lnTo>
                    <a:pt x="727" y="0"/>
                  </a:lnTo>
                  <a:lnTo>
                    <a:pt x="797" y="0"/>
                  </a:lnTo>
                  <a:lnTo>
                    <a:pt x="859" y="6"/>
                  </a:lnTo>
                  <a:lnTo>
                    <a:pt x="916" y="17"/>
                  </a:lnTo>
                  <a:lnTo>
                    <a:pt x="966" y="34"/>
                  </a:lnTo>
                  <a:lnTo>
                    <a:pt x="1012" y="56"/>
                  </a:lnTo>
                  <a:lnTo>
                    <a:pt x="1052" y="83"/>
                  </a:lnTo>
                  <a:lnTo>
                    <a:pt x="1088" y="113"/>
                  </a:lnTo>
                  <a:lnTo>
                    <a:pt x="1119" y="147"/>
                  </a:lnTo>
                  <a:lnTo>
                    <a:pt x="1146" y="186"/>
                  </a:lnTo>
                  <a:lnTo>
                    <a:pt x="1170" y="228"/>
                  </a:lnTo>
                  <a:lnTo>
                    <a:pt x="1191" y="272"/>
                  </a:lnTo>
                  <a:lnTo>
                    <a:pt x="1210" y="319"/>
                  </a:lnTo>
                  <a:lnTo>
                    <a:pt x="1227" y="370"/>
                  </a:lnTo>
                  <a:lnTo>
                    <a:pt x="1241" y="421"/>
                  </a:lnTo>
                  <a:lnTo>
                    <a:pt x="1254" y="474"/>
                  </a:lnTo>
                  <a:lnTo>
                    <a:pt x="1277" y="584"/>
                  </a:lnTo>
                  <a:lnTo>
                    <a:pt x="1301" y="696"/>
                  </a:lnTo>
                  <a:lnTo>
                    <a:pt x="1312" y="751"/>
                  </a:lnTo>
                  <a:lnTo>
                    <a:pt x="1325" y="808"/>
                  </a:lnTo>
                  <a:lnTo>
                    <a:pt x="1341" y="862"/>
                  </a:lnTo>
                  <a:lnTo>
                    <a:pt x="1357" y="916"/>
                  </a:lnTo>
                  <a:lnTo>
                    <a:pt x="1376" y="969"/>
                  </a:lnTo>
                  <a:lnTo>
                    <a:pt x="1398" y="1020"/>
                  </a:lnTo>
                  <a:lnTo>
                    <a:pt x="1423" y="1068"/>
                  </a:lnTo>
                  <a:lnTo>
                    <a:pt x="1451" y="1114"/>
                  </a:lnTo>
                  <a:lnTo>
                    <a:pt x="1483" y="1158"/>
                  </a:lnTo>
                  <a:lnTo>
                    <a:pt x="1520" y="1198"/>
                  </a:lnTo>
                  <a:lnTo>
                    <a:pt x="1561" y="1234"/>
                  </a:lnTo>
                  <a:lnTo>
                    <a:pt x="1607" y="1267"/>
                  </a:lnTo>
                  <a:lnTo>
                    <a:pt x="1637" y="1288"/>
                  </a:lnTo>
                  <a:lnTo>
                    <a:pt x="1667" y="1313"/>
                  </a:lnTo>
                  <a:lnTo>
                    <a:pt x="1696" y="1344"/>
                  </a:lnTo>
                  <a:lnTo>
                    <a:pt x="1726" y="1376"/>
                  </a:lnTo>
                  <a:lnTo>
                    <a:pt x="1754" y="1414"/>
                  </a:lnTo>
                  <a:lnTo>
                    <a:pt x="1781" y="1454"/>
                  </a:lnTo>
                  <a:lnTo>
                    <a:pt x="1807" y="1498"/>
                  </a:lnTo>
                  <a:lnTo>
                    <a:pt x="1830" y="1544"/>
                  </a:lnTo>
                  <a:lnTo>
                    <a:pt x="1853" y="1593"/>
                  </a:lnTo>
                  <a:lnTo>
                    <a:pt x="1873" y="1644"/>
                  </a:lnTo>
                  <a:lnTo>
                    <a:pt x="1891" y="1695"/>
                  </a:lnTo>
                  <a:lnTo>
                    <a:pt x="1905" y="1750"/>
                  </a:lnTo>
                  <a:lnTo>
                    <a:pt x="1916" y="1804"/>
                  </a:lnTo>
                  <a:lnTo>
                    <a:pt x="1925" y="1859"/>
                  </a:lnTo>
                  <a:lnTo>
                    <a:pt x="1928" y="1916"/>
                  </a:lnTo>
                  <a:lnTo>
                    <a:pt x="1929" y="1972"/>
                  </a:lnTo>
                  <a:lnTo>
                    <a:pt x="1925" y="2027"/>
                  </a:lnTo>
                  <a:lnTo>
                    <a:pt x="1916" y="2084"/>
                  </a:lnTo>
                  <a:lnTo>
                    <a:pt x="1902" y="2138"/>
                  </a:lnTo>
                  <a:lnTo>
                    <a:pt x="1883" y="2192"/>
                  </a:lnTo>
                  <a:lnTo>
                    <a:pt x="1859" y="2244"/>
                  </a:lnTo>
                  <a:lnTo>
                    <a:pt x="1829" y="2295"/>
                  </a:lnTo>
                  <a:lnTo>
                    <a:pt x="1793" y="2343"/>
                  </a:lnTo>
                  <a:lnTo>
                    <a:pt x="1750" y="2389"/>
                  </a:lnTo>
                  <a:lnTo>
                    <a:pt x="1701" y="2432"/>
                  </a:lnTo>
                  <a:lnTo>
                    <a:pt x="1644" y="2472"/>
                  </a:lnTo>
                  <a:lnTo>
                    <a:pt x="1581" y="2510"/>
                  </a:lnTo>
                  <a:lnTo>
                    <a:pt x="1509" y="2543"/>
                  </a:lnTo>
                  <a:lnTo>
                    <a:pt x="1430" y="2572"/>
                  </a:lnTo>
                  <a:lnTo>
                    <a:pt x="1343" y="2598"/>
                  </a:lnTo>
                  <a:lnTo>
                    <a:pt x="1248" y="2618"/>
                  </a:lnTo>
                  <a:lnTo>
                    <a:pt x="1143" y="2635"/>
                  </a:lnTo>
                  <a:lnTo>
                    <a:pt x="1037" y="2645"/>
                  </a:lnTo>
                  <a:lnTo>
                    <a:pt x="936" y="2650"/>
                  </a:lnTo>
                  <a:lnTo>
                    <a:pt x="840" y="2650"/>
                  </a:lnTo>
                  <a:lnTo>
                    <a:pt x="751" y="2645"/>
                  </a:lnTo>
                  <a:lnTo>
                    <a:pt x="666" y="2636"/>
                  </a:lnTo>
                  <a:lnTo>
                    <a:pt x="587" y="2623"/>
                  </a:lnTo>
                  <a:lnTo>
                    <a:pt x="514" y="2605"/>
                  </a:lnTo>
                  <a:lnTo>
                    <a:pt x="445" y="2584"/>
                  </a:lnTo>
                  <a:lnTo>
                    <a:pt x="381" y="2558"/>
                  </a:lnTo>
                  <a:lnTo>
                    <a:pt x="324" y="2531"/>
                  </a:lnTo>
                  <a:lnTo>
                    <a:pt x="269" y="2499"/>
                  </a:lnTo>
                  <a:lnTo>
                    <a:pt x="221" y="2467"/>
                  </a:lnTo>
                  <a:lnTo>
                    <a:pt x="179" y="2430"/>
                  </a:lnTo>
                  <a:lnTo>
                    <a:pt x="140" y="2392"/>
                  </a:lnTo>
                  <a:lnTo>
                    <a:pt x="106" y="2352"/>
                  </a:lnTo>
                  <a:lnTo>
                    <a:pt x="76" y="2311"/>
                  </a:lnTo>
                  <a:lnTo>
                    <a:pt x="53" y="2268"/>
                  </a:lnTo>
                  <a:lnTo>
                    <a:pt x="33" y="2224"/>
                  </a:lnTo>
                  <a:lnTo>
                    <a:pt x="18" y="2179"/>
                  </a:lnTo>
                  <a:lnTo>
                    <a:pt x="7" y="2133"/>
                  </a:lnTo>
                  <a:lnTo>
                    <a:pt x="1" y="2089"/>
                  </a:lnTo>
                  <a:lnTo>
                    <a:pt x="0" y="2043"/>
                  </a:lnTo>
                  <a:lnTo>
                    <a:pt x="2" y="1998"/>
                  </a:lnTo>
                  <a:lnTo>
                    <a:pt x="9" y="1953"/>
                  </a:lnTo>
                  <a:lnTo>
                    <a:pt x="20" y="1910"/>
                  </a:lnTo>
                  <a:lnTo>
                    <a:pt x="35" y="1867"/>
                  </a:lnTo>
                  <a:lnTo>
                    <a:pt x="55" y="1826"/>
                  </a:lnTo>
                  <a:lnTo>
                    <a:pt x="78" y="1786"/>
                  </a:lnTo>
                  <a:lnTo>
                    <a:pt x="106" y="1748"/>
                  </a:lnTo>
                  <a:lnTo>
                    <a:pt x="138" y="1713"/>
                  </a:lnTo>
                  <a:lnTo>
                    <a:pt x="173" y="1680"/>
                  </a:lnTo>
                  <a:lnTo>
                    <a:pt x="212" y="1650"/>
                  </a:lnTo>
                  <a:close/>
                </a:path>
              </a:pathLst>
            </a:custGeom>
            <a:solidFill>
              <a:srgbClr val="D35856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6653" tIns="58327" rIns="116653" bIns="58327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434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137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67" name="Freeform 137"/>
            <p:cNvSpPr>
              <a:spLocks/>
            </p:cNvSpPr>
            <p:nvPr/>
          </p:nvSpPr>
          <p:spPr bwMode="auto">
            <a:xfrm>
              <a:off x="3824" y="1989"/>
              <a:ext cx="500" cy="682"/>
            </a:xfrm>
            <a:custGeom>
              <a:avLst/>
              <a:gdLst>
                <a:gd name="T0" fmla="*/ 371 w 2001"/>
                <a:gd name="T1" fmla="*/ 1586 h 2731"/>
                <a:gd name="T2" fmla="*/ 447 w 2001"/>
                <a:gd name="T3" fmla="*/ 1420 h 2731"/>
                <a:gd name="T4" fmla="*/ 476 w 2001"/>
                <a:gd name="T5" fmla="*/ 1242 h 2731"/>
                <a:gd name="T6" fmla="*/ 454 w 2001"/>
                <a:gd name="T7" fmla="*/ 1058 h 2731"/>
                <a:gd name="T8" fmla="*/ 325 w 2001"/>
                <a:gd name="T9" fmla="*/ 765 h 2731"/>
                <a:gd name="T10" fmla="*/ 249 w 2001"/>
                <a:gd name="T11" fmla="*/ 520 h 2731"/>
                <a:gd name="T12" fmla="*/ 270 w 2001"/>
                <a:gd name="T13" fmla="*/ 350 h 2731"/>
                <a:gd name="T14" fmla="*/ 362 w 2001"/>
                <a:gd name="T15" fmla="*/ 219 h 2731"/>
                <a:gd name="T16" fmla="*/ 508 w 2001"/>
                <a:gd name="T17" fmla="*/ 128 h 2731"/>
                <a:gd name="T18" fmla="*/ 820 w 2001"/>
                <a:gd name="T19" fmla="*/ 73 h 2731"/>
                <a:gd name="T20" fmla="*/ 1140 w 2001"/>
                <a:gd name="T21" fmla="*/ 264 h 2731"/>
                <a:gd name="T22" fmla="*/ 1286 w 2001"/>
                <a:gd name="T23" fmla="*/ 666 h 2731"/>
                <a:gd name="T24" fmla="*/ 1424 w 2001"/>
                <a:gd name="T25" fmla="*/ 1101 h 2731"/>
                <a:gd name="T26" fmla="*/ 1697 w 2001"/>
                <a:gd name="T27" fmla="*/ 1423 h 2731"/>
                <a:gd name="T28" fmla="*/ 1890 w 2001"/>
                <a:gd name="T29" fmla="*/ 1779 h 2731"/>
                <a:gd name="T30" fmla="*/ 1889 w 2001"/>
                <a:gd name="T31" fmla="*/ 2150 h 2731"/>
                <a:gd name="T32" fmla="*/ 1674 w 2001"/>
                <a:gd name="T33" fmla="*/ 2459 h 2731"/>
                <a:gd name="T34" fmla="*/ 1314 w 2001"/>
                <a:gd name="T35" fmla="*/ 2619 h 2731"/>
                <a:gd name="T36" fmla="*/ 998 w 2001"/>
                <a:gd name="T37" fmla="*/ 2664 h 2731"/>
                <a:gd name="T38" fmla="*/ 673 w 2001"/>
                <a:gd name="T39" fmla="*/ 2642 h 2731"/>
                <a:gd name="T40" fmla="*/ 374 w 2001"/>
                <a:gd name="T41" fmla="*/ 2538 h 2731"/>
                <a:gd name="T42" fmla="*/ 163 w 2001"/>
                <a:gd name="T43" fmla="*/ 2366 h 2731"/>
                <a:gd name="T44" fmla="*/ 81 w 2001"/>
                <a:gd name="T45" fmla="*/ 2185 h 2731"/>
                <a:gd name="T46" fmla="*/ 86 w 2001"/>
                <a:gd name="T47" fmla="*/ 1991 h 2731"/>
                <a:gd name="T48" fmla="*/ 172 w 2001"/>
                <a:gd name="T49" fmla="*/ 1813 h 2731"/>
                <a:gd name="T50" fmla="*/ 278 w 2001"/>
                <a:gd name="T51" fmla="*/ 1704 h 2731"/>
                <a:gd name="T52" fmla="*/ 260 w 2001"/>
                <a:gd name="T53" fmla="*/ 1656 h 2731"/>
                <a:gd name="T54" fmla="*/ 174 w 2001"/>
                <a:gd name="T55" fmla="*/ 1705 h 2731"/>
                <a:gd name="T56" fmla="*/ 66 w 2001"/>
                <a:gd name="T57" fmla="*/ 1842 h 2731"/>
                <a:gd name="T58" fmla="*/ 8 w 2001"/>
                <a:gd name="T59" fmla="*/ 2001 h 2731"/>
                <a:gd name="T60" fmla="*/ 7 w 2001"/>
                <a:gd name="T61" fmla="*/ 2173 h 2731"/>
                <a:gd name="T62" fmla="*/ 76 w 2001"/>
                <a:gd name="T63" fmla="*/ 2367 h 2731"/>
                <a:gd name="T64" fmla="*/ 234 w 2001"/>
                <a:gd name="T65" fmla="*/ 2539 h 2731"/>
                <a:gd name="T66" fmla="*/ 446 w 2001"/>
                <a:gd name="T67" fmla="*/ 2649 h 2731"/>
                <a:gd name="T68" fmla="*/ 680 w 2001"/>
                <a:gd name="T69" fmla="*/ 2708 h 2731"/>
                <a:gd name="T70" fmla="*/ 1009 w 2001"/>
                <a:gd name="T71" fmla="*/ 2730 h 2731"/>
                <a:gd name="T72" fmla="*/ 1314 w 2001"/>
                <a:gd name="T73" fmla="*/ 2696 h 2731"/>
                <a:gd name="T74" fmla="*/ 1602 w 2001"/>
                <a:gd name="T75" fmla="*/ 2597 h 2731"/>
                <a:gd name="T76" fmla="*/ 1840 w 2001"/>
                <a:gd name="T77" fmla="*/ 2420 h 2731"/>
                <a:gd name="T78" fmla="*/ 1965 w 2001"/>
                <a:gd name="T79" fmla="*/ 2218 h 2731"/>
                <a:gd name="T80" fmla="*/ 2000 w 2001"/>
                <a:gd name="T81" fmla="*/ 2021 h 2731"/>
                <a:gd name="T82" fmla="*/ 1981 w 2001"/>
                <a:gd name="T83" fmla="*/ 1820 h 2731"/>
                <a:gd name="T84" fmla="*/ 1873 w 2001"/>
                <a:gd name="T85" fmla="*/ 1522 h 2731"/>
                <a:gd name="T86" fmla="*/ 1734 w 2001"/>
                <a:gd name="T87" fmla="*/ 1336 h 2731"/>
                <a:gd name="T88" fmla="*/ 1550 w 2001"/>
                <a:gd name="T89" fmla="*/ 1164 h 2731"/>
                <a:gd name="T90" fmla="*/ 1418 w 2001"/>
                <a:gd name="T91" fmla="*/ 915 h 2731"/>
                <a:gd name="T92" fmla="*/ 1332 w 2001"/>
                <a:gd name="T93" fmla="*/ 539 h 2731"/>
                <a:gd name="T94" fmla="*/ 1237 w 2001"/>
                <a:gd name="T95" fmla="*/ 245 h 2731"/>
                <a:gd name="T96" fmla="*/ 1099 w 2001"/>
                <a:gd name="T97" fmla="*/ 86 h 2731"/>
                <a:gd name="T98" fmla="*/ 878 w 2001"/>
                <a:gd name="T99" fmla="*/ 8 h 2731"/>
                <a:gd name="T100" fmla="*/ 620 w 2001"/>
                <a:gd name="T101" fmla="*/ 13 h 2731"/>
                <a:gd name="T102" fmla="*/ 382 w 2001"/>
                <a:gd name="T103" fmla="*/ 104 h 2731"/>
                <a:gd name="T104" fmla="*/ 217 w 2001"/>
                <a:gd name="T105" fmla="*/ 283 h 2731"/>
                <a:gd name="T106" fmla="*/ 174 w 2001"/>
                <a:gd name="T107" fmla="*/ 511 h 2731"/>
                <a:gd name="T108" fmla="*/ 226 w 2001"/>
                <a:gd name="T109" fmla="*/ 736 h 2731"/>
                <a:gd name="T110" fmla="*/ 366 w 2001"/>
                <a:gd name="T111" fmla="*/ 1045 h 2731"/>
                <a:gd name="T112" fmla="*/ 411 w 2001"/>
                <a:gd name="T113" fmla="*/ 1269 h 2731"/>
                <a:gd name="T114" fmla="*/ 346 w 2001"/>
                <a:gd name="T115" fmla="*/ 1486 h 2731"/>
                <a:gd name="T116" fmla="*/ 227 w 2001"/>
                <a:gd name="T117" fmla="*/ 1658 h 2731"/>
                <a:gd name="T118" fmla="*/ 217 w 2001"/>
                <a:gd name="T119" fmla="*/ 1712 h 2731"/>
                <a:gd name="T120" fmla="*/ 265 w 2001"/>
                <a:gd name="T121" fmla="*/ 1722 h 27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2001" h="2731">
                  <a:moveTo>
                    <a:pt x="270" y="1716"/>
                  </a:moveTo>
                  <a:lnTo>
                    <a:pt x="287" y="1699"/>
                  </a:lnTo>
                  <a:lnTo>
                    <a:pt x="302" y="1681"/>
                  </a:lnTo>
                  <a:lnTo>
                    <a:pt x="318" y="1662"/>
                  </a:lnTo>
                  <a:lnTo>
                    <a:pt x="332" y="1645"/>
                  </a:lnTo>
                  <a:lnTo>
                    <a:pt x="346" y="1625"/>
                  </a:lnTo>
                  <a:lnTo>
                    <a:pt x="359" y="1606"/>
                  </a:lnTo>
                  <a:lnTo>
                    <a:pt x="371" y="1586"/>
                  </a:lnTo>
                  <a:lnTo>
                    <a:pt x="382" y="1567"/>
                  </a:lnTo>
                  <a:lnTo>
                    <a:pt x="394" y="1546"/>
                  </a:lnTo>
                  <a:lnTo>
                    <a:pt x="405" y="1526"/>
                  </a:lnTo>
                  <a:lnTo>
                    <a:pt x="414" y="1506"/>
                  </a:lnTo>
                  <a:lnTo>
                    <a:pt x="424" y="1485"/>
                  </a:lnTo>
                  <a:lnTo>
                    <a:pt x="432" y="1463"/>
                  </a:lnTo>
                  <a:lnTo>
                    <a:pt x="440" y="1442"/>
                  </a:lnTo>
                  <a:lnTo>
                    <a:pt x="447" y="1420"/>
                  </a:lnTo>
                  <a:lnTo>
                    <a:pt x="453" y="1399"/>
                  </a:lnTo>
                  <a:lnTo>
                    <a:pt x="459" y="1376"/>
                  </a:lnTo>
                  <a:lnTo>
                    <a:pt x="464" y="1354"/>
                  </a:lnTo>
                  <a:lnTo>
                    <a:pt x="468" y="1333"/>
                  </a:lnTo>
                  <a:lnTo>
                    <a:pt x="472" y="1310"/>
                  </a:lnTo>
                  <a:lnTo>
                    <a:pt x="474" y="1288"/>
                  </a:lnTo>
                  <a:lnTo>
                    <a:pt x="476" y="1264"/>
                  </a:lnTo>
                  <a:lnTo>
                    <a:pt x="476" y="1242"/>
                  </a:lnTo>
                  <a:lnTo>
                    <a:pt x="478" y="1220"/>
                  </a:lnTo>
                  <a:lnTo>
                    <a:pt x="476" y="1196"/>
                  </a:lnTo>
                  <a:lnTo>
                    <a:pt x="475" y="1174"/>
                  </a:lnTo>
                  <a:lnTo>
                    <a:pt x="473" y="1150"/>
                  </a:lnTo>
                  <a:lnTo>
                    <a:pt x="469" y="1128"/>
                  </a:lnTo>
                  <a:lnTo>
                    <a:pt x="465" y="1104"/>
                  </a:lnTo>
                  <a:lnTo>
                    <a:pt x="460" y="1082"/>
                  </a:lnTo>
                  <a:lnTo>
                    <a:pt x="454" y="1058"/>
                  </a:lnTo>
                  <a:lnTo>
                    <a:pt x="447" y="1036"/>
                  </a:lnTo>
                  <a:lnTo>
                    <a:pt x="438" y="1008"/>
                  </a:lnTo>
                  <a:lnTo>
                    <a:pt x="427" y="980"/>
                  </a:lnTo>
                  <a:lnTo>
                    <a:pt x="415" y="952"/>
                  </a:lnTo>
                  <a:lnTo>
                    <a:pt x="403" y="925"/>
                  </a:lnTo>
                  <a:lnTo>
                    <a:pt x="378" y="871"/>
                  </a:lnTo>
                  <a:lnTo>
                    <a:pt x="352" y="818"/>
                  </a:lnTo>
                  <a:lnTo>
                    <a:pt x="325" y="765"/>
                  </a:lnTo>
                  <a:lnTo>
                    <a:pt x="301" y="710"/>
                  </a:lnTo>
                  <a:lnTo>
                    <a:pt x="289" y="683"/>
                  </a:lnTo>
                  <a:lnTo>
                    <a:pt x="279" y="653"/>
                  </a:lnTo>
                  <a:lnTo>
                    <a:pt x="270" y="625"/>
                  </a:lnTo>
                  <a:lnTo>
                    <a:pt x="262" y="596"/>
                  </a:lnTo>
                  <a:lnTo>
                    <a:pt x="256" y="570"/>
                  </a:lnTo>
                  <a:lnTo>
                    <a:pt x="253" y="545"/>
                  </a:lnTo>
                  <a:lnTo>
                    <a:pt x="249" y="520"/>
                  </a:lnTo>
                  <a:lnTo>
                    <a:pt x="248" y="497"/>
                  </a:lnTo>
                  <a:lnTo>
                    <a:pt x="247" y="475"/>
                  </a:lnTo>
                  <a:lnTo>
                    <a:pt x="248" y="452"/>
                  </a:lnTo>
                  <a:lnTo>
                    <a:pt x="250" y="430"/>
                  </a:lnTo>
                  <a:lnTo>
                    <a:pt x="254" y="409"/>
                  </a:lnTo>
                  <a:lnTo>
                    <a:pt x="259" y="389"/>
                  </a:lnTo>
                  <a:lnTo>
                    <a:pt x="263" y="369"/>
                  </a:lnTo>
                  <a:lnTo>
                    <a:pt x="270" y="350"/>
                  </a:lnTo>
                  <a:lnTo>
                    <a:pt x="279" y="331"/>
                  </a:lnTo>
                  <a:lnTo>
                    <a:pt x="287" y="313"/>
                  </a:lnTo>
                  <a:lnTo>
                    <a:pt x="298" y="296"/>
                  </a:lnTo>
                  <a:lnTo>
                    <a:pt x="308" y="279"/>
                  </a:lnTo>
                  <a:lnTo>
                    <a:pt x="320" y="263"/>
                  </a:lnTo>
                  <a:lnTo>
                    <a:pt x="333" y="247"/>
                  </a:lnTo>
                  <a:lnTo>
                    <a:pt x="347" y="233"/>
                  </a:lnTo>
                  <a:lnTo>
                    <a:pt x="362" y="219"/>
                  </a:lnTo>
                  <a:lnTo>
                    <a:pt x="378" y="205"/>
                  </a:lnTo>
                  <a:lnTo>
                    <a:pt x="394" y="192"/>
                  </a:lnTo>
                  <a:lnTo>
                    <a:pt x="411" y="180"/>
                  </a:lnTo>
                  <a:lnTo>
                    <a:pt x="429" y="168"/>
                  </a:lnTo>
                  <a:lnTo>
                    <a:pt x="448" y="158"/>
                  </a:lnTo>
                  <a:lnTo>
                    <a:pt x="467" y="147"/>
                  </a:lnTo>
                  <a:lnTo>
                    <a:pt x="487" y="138"/>
                  </a:lnTo>
                  <a:lnTo>
                    <a:pt x="508" y="128"/>
                  </a:lnTo>
                  <a:lnTo>
                    <a:pt x="529" y="120"/>
                  </a:lnTo>
                  <a:lnTo>
                    <a:pt x="552" y="113"/>
                  </a:lnTo>
                  <a:lnTo>
                    <a:pt x="575" y="106"/>
                  </a:lnTo>
                  <a:lnTo>
                    <a:pt x="599" y="99"/>
                  </a:lnTo>
                  <a:lnTo>
                    <a:pt x="622" y="93"/>
                  </a:lnTo>
                  <a:lnTo>
                    <a:pt x="694" y="80"/>
                  </a:lnTo>
                  <a:lnTo>
                    <a:pt x="760" y="73"/>
                  </a:lnTo>
                  <a:lnTo>
                    <a:pt x="820" y="73"/>
                  </a:lnTo>
                  <a:lnTo>
                    <a:pt x="876" y="79"/>
                  </a:lnTo>
                  <a:lnTo>
                    <a:pt x="925" y="91"/>
                  </a:lnTo>
                  <a:lnTo>
                    <a:pt x="971" y="108"/>
                  </a:lnTo>
                  <a:lnTo>
                    <a:pt x="1012" y="131"/>
                  </a:lnTo>
                  <a:lnTo>
                    <a:pt x="1049" y="158"/>
                  </a:lnTo>
                  <a:lnTo>
                    <a:pt x="1083" y="188"/>
                  </a:lnTo>
                  <a:lnTo>
                    <a:pt x="1113" y="224"/>
                  </a:lnTo>
                  <a:lnTo>
                    <a:pt x="1140" y="264"/>
                  </a:lnTo>
                  <a:lnTo>
                    <a:pt x="1164" y="306"/>
                  </a:lnTo>
                  <a:lnTo>
                    <a:pt x="1186" y="351"/>
                  </a:lnTo>
                  <a:lnTo>
                    <a:pt x="1206" y="399"/>
                  </a:lnTo>
                  <a:lnTo>
                    <a:pt x="1224" y="450"/>
                  </a:lnTo>
                  <a:lnTo>
                    <a:pt x="1242" y="502"/>
                  </a:lnTo>
                  <a:lnTo>
                    <a:pt x="1257" y="556"/>
                  </a:lnTo>
                  <a:lnTo>
                    <a:pt x="1272" y="611"/>
                  </a:lnTo>
                  <a:lnTo>
                    <a:pt x="1286" y="666"/>
                  </a:lnTo>
                  <a:lnTo>
                    <a:pt x="1301" y="723"/>
                  </a:lnTo>
                  <a:lnTo>
                    <a:pt x="1316" y="779"/>
                  </a:lnTo>
                  <a:lnTo>
                    <a:pt x="1330" y="836"/>
                  </a:lnTo>
                  <a:lnTo>
                    <a:pt x="1346" y="891"/>
                  </a:lnTo>
                  <a:lnTo>
                    <a:pt x="1363" y="945"/>
                  </a:lnTo>
                  <a:lnTo>
                    <a:pt x="1382" y="1000"/>
                  </a:lnTo>
                  <a:lnTo>
                    <a:pt x="1402" y="1051"/>
                  </a:lnTo>
                  <a:lnTo>
                    <a:pt x="1424" y="1101"/>
                  </a:lnTo>
                  <a:lnTo>
                    <a:pt x="1450" y="1149"/>
                  </a:lnTo>
                  <a:lnTo>
                    <a:pt x="1477" y="1194"/>
                  </a:lnTo>
                  <a:lnTo>
                    <a:pt x="1508" y="1235"/>
                  </a:lnTo>
                  <a:lnTo>
                    <a:pt x="1542" y="1274"/>
                  </a:lnTo>
                  <a:lnTo>
                    <a:pt x="1580" y="1309"/>
                  </a:lnTo>
                  <a:lnTo>
                    <a:pt x="1622" y="1346"/>
                  </a:lnTo>
                  <a:lnTo>
                    <a:pt x="1661" y="1383"/>
                  </a:lnTo>
                  <a:lnTo>
                    <a:pt x="1697" y="1423"/>
                  </a:lnTo>
                  <a:lnTo>
                    <a:pt x="1731" y="1465"/>
                  </a:lnTo>
                  <a:lnTo>
                    <a:pt x="1763" y="1507"/>
                  </a:lnTo>
                  <a:lnTo>
                    <a:pt x="1791" y="1550"/>
                  </a:lnTo>
                  <a:lnTo>
                    <a:pt x="1817" y="1594"/>
                  </a:lnTo>
                  <a:lnTo>
                    <a:pt x="1840" y="1640"/>
                  </a:lnTo>
                  <a:lnTo>
                    <a:pt x="1860" y="1686"/>
                  </a:lnTo>
                  <a:lnTo>
                    <a:pt x="1876" y="1732"/>
                  </a:lnTo>
                  <a:lnTo>
                    <a:pt x="1890" y="1779"/>
                  </a:lnTo>
                  <a:lnTo>
                    <a:pt x="1901" y="1826"/>
                  </a:lnTo>
                  <a:lnTo>
                    <a:pt x="1909" y="1873"/>
                  </a:lnTo>
                  <a:lnTo>
                    <a:pt x="1914" y="1920"/>
                  </a:lnTo>
                  <a:lnTo>
                    <a:pt x="1915" y="1967"/>
                  </a:lnTo>
                  <a:lnTo>
                    <a:pt x="1913" y="2013"/>
                  </a:lnTo>
                  <a:lnTo>
                    <a:pt x="1908" y="2059"/>
                  </a:lnTo>
                  <a:lnTo>
                    <a:pt x="1900" y="2105"/>
                  </a:lnTo>
                  <a:lnTo>
                    <a:pt x="1889" y="2150"/>
                  </a:lnTo>
                  <a:lnTo>
                    <a:pt x="1874" y="2193"/>
                  </a:lnTo>
                  <a:lnTo>
                    <a:pt x="1856" y="2236"/>
                  </a:lnTo>
                  <a:lnTo>
                    <a:pt x="1834" y="2277"/>
                  </a:lnTo>
                  <a:lnTo>
                    <a:pt x="1809" y="2317"/>
                  </a:lnTo>
                  <a:lnTo>
                    <a:pt x="1781" y="2356"/>
                  </a:lnTo>
                  <a:lnTo>
                    <a:pt x="1749" y="2392"/>
                  </a:lnTo>
                  <a:lnTo>
                    <a:pt x="1713" y="2426"/>
                  </a:lnTo>
                  <a:lnTo>
                    <a:pt x="1674" y="2459"/>
                  </a:lnTo>
                  <a:lnTo>
                    <a:pt x="1631" y="2490"/>
                  </a:lnTo>
                  <a:lnTo>
                    <a:pt x="1584" y="2519"/>
                  </a:lnTo>
                  <a:lnTo>
                    <a:pt x="1534" y="2545"/>
                  </a:lnTo>
                  <a:lnTo>
                    <a:pt x="1480" y="2569"/>
                  </a:lnTo>
                  <a:lnTo>
                    <a:pt x="1422" y="2589"/>
                  </a:lnTo>
                  <a:lnTo>
                    <a:pt x="1387" y="2601"/>
                  </a:lnTo>
                  <a:lnTo>
                    <a:pt x="1351" y="2610"/>
                  </a:lnTo>
                  <a:lnTo>
                    <a:pt x="1314" y="2619"/>
                  </a:lnTo>
                  <a:lnTo>
                    <a:pt x="1276" y="2629"/>
                  </a:lnTo>
                  <a:lnTo>
                    <a:pt x="1238" y="2636"/>
                  </a:lnTo>
                  <a:lnTo>
                    <a:pt x="1199" y="2643"/>
                  </a:lnTo>
                  <a:lnTo>
                    <a:pt x="1159" y="2649"/>
                  </a:lnTo>
                  <a:lnTo>
                    <a:pt x="1119" y="2653"/>
                  </a:lnTo>
                  <a:lnTo>
                    <a:pt x="1079" y="2658"/>
                  </a:lnTo>
                  <a:lnTo>
                    <a:pt x="1039" y="2662"/>
                  </a:lnTo>
                  <a:lnTo>
                    <a:pt x="998" y="2664"/>
                  </a:lnTo>
                  <a:lnTo>
                    <a:pt x="957" y="2664"/>
                  </a:lnTo>
                  <a:lnTo>
                    <a:pt x="917" y="2665"/>
                  </a:lnTo>
                  <a:lnTo>
                    <a:pt x="876" y="2664"/>
                  </a:lnTo>
                  <a:lnTo>
                    <a:pt x="834" y="2662"/>
                  </a:lnTo>
                  <a:lnTo>
                    <a:pt x="793" y="2658"/>
                  </a:lnTo>
                  <a:lnTo>
                    <a:pt x="753" y="2653"/>
                  </a:lnTo>
                  <a:lnTo>
                    <a:pt x="713" y="2648"/>
                  </a:lnTo>
                  <a:lnTo>
                    <a:pt x="673" y="2642"/>
                  </a:lnTo>
                  <a:lnTo>
                    <a:pt x="633" y="2633"/>
                  </a:lnTo>
                  <a:lnTo>
                    <a:pt x="594" y="2624"/>
                  </a:lnTo>
                  <a:lnTo>
                    <a:pt x="555" y="2612"/>
                  </a:lnTo>
                  <a:lnTo>
                    <a:pt x="518" y="2601"/>
                  </a:lnTo>
                  <a:lnTo>
                    <a:pt x="481" y="2588"/>
                  </a:lnTo>
                  <a:lnTo>
                    <a:pt x="445" y="2572"/>
                  </a:lnTo>
                  <a:lnTo>
                    <a:pt x="408" y="2556"/>
                  </a:lnTo>
                  <a:lnTo>
                    <a:pt x="374" y="2538"/>
                  </a:lnTo>
                  <a:lnTo>
                    <a:pt x="340" y="2519"/>
                  </a:lnTo>
                  <a:lnTo>
                    <a:pt x="308" y="2498"/>
                  </a:lnTo>
                  <a:lnTo>
                    <a:pt x="276" y="2476"/>
                  </a:lnTo>
                  <a:lnTo>
                    <a:pt x="247" y="2452"/>
                  </a:lnTo>
                  <a:lnTo>
                    <a:pt x="217" y="2426"/>
                  </a:lnTo>
                  <a:lnTo>
                    <a:pt x="197" y="2407"/>
                  </a:lnTo>
                  <a:lnTo>
                    <a:pt x="180" y="2387"/>
                  </a:lnTo>
                  <a:lnTo>
                    <a:pt x="163" y="2366"/>
                  </a:lnTo>
                  <a:lnTo>
                    <a:pt x="148" y="2346"/>
                  </a:lnTo>
                  <a:lnTo>
                    <a:pt x="134" y="2324"/>
                  </a:lnTo>
                  <a:lnTo>
                    <a:pt x="122" y="2302"/>
                  </a:lnTo>
                  <a:lnTo>
                    <a:pt x="112" y="2279"/>
                  </a:lnTo>
                  <a:lnTo>
                    <a:pt x="101" y="2256"/>
                  </a:lnTo>
                  <a:lnTo>
                    <a:pt x="94" y="2232"/>
                  </a:lnTo>
                  <a:lnTo>
                    <a:pt x="87" y="2209"/>
                  </a:lnTo>
                  <a:lnTo>
                    <a:pt x="81" y="2185"/>
                  </a:lnTo>
                  <a:lnTo>
                    <a:pt x="77" y="2160"/>
                  </a:lnTo>
                  <a:lnTo>
                    <a:pt x="74" y="2137"/>
                  </a:lnTo>
                  <a:lnTo>
                    <a:pt x="73" y="2112"/>
                  </a:lnTo>
                  <a:lnTo>
                    <a:pt x="73" y="2087"/>
                  </a:lnTo>
                  <a:lnTo>
                    <a:pt x="74" y="2064"/>
                  </a:lnTo>
                  <a:lnTo>
                    <a:pt x="76" y="2039"/>
                  </a:lnTo>
                  <a:lnTo>
                    <a:pt x="80" y="2015"/>
                  </a:lnTo>
                  <a:lnTo>
                    <a:pt x="86" y="1991"/>
                  </a:lnTo>
                  <a:lnTo>
                    <a:pt x="92" y="1967"/>
                  </a:lnTo>
                  <a:lnTo>
                    <a:pt x="100" y="1944"/>
                  </a:lnTo>
                  <a:lnTo>
                    <a:pt x="108" y="1921"/>
                  </a:lnTo>
                  <a:lnTo>
                    <a:pt x="119" y="1899"/>
                  </a:lnTo>
                  <a:lnTo>
                    <a:pt x="129" y="1877"/>
                  </a:lnTo>
                  <a:lnTo>
                    <a:pt x="142" y="1855"/>
                  </a:lnTo>
                  <a:lnTo>
                    <a:pt x="156" y="1834"/>
                  </a:lnTo>
                  <a:lnTo>
                    <a:pt x="172" y="1813"/>
                  </a:lnTo>
                  <a:lnTo>
                    <a:pt x="187" y="1793"/>
                  </a:lnTo>
                  <a:lnTo>
                    <a:pt x="205" y="1774"/>
                  </a:lnTo>
                  <a:lnTo>
                    <a:pt x="223" y="1756"/>
                  </a:lnTo>
                  <a:lnTo>
                    <a:pt x="243" y="1739"/>
                  </a:lnTo>
                  <a:lnTo>
                    <a:pt x="263" y="1722"/>
                  </a:lnTo>
                  <a:lnTo>
                    <a:pt x="269" y="1716"/>
                  </a:lnTo>
                  <a:lnTo>
                    <a:pt x="274" y="1711"/>
                  </a:lnTo>
                  <a:lnTo>
                    <a:pt x="278" y="1704"/>
                  </a:lnTo>
                  <a:lnTo>
                    <a:pt x="279" y="1696"/>
                  </a:lnTo>
                  <a:lnTo>
                    <a:pt x="279" y="1689"/>
                  </a:lnTo>
                  <a:lnTo>
                    <a:pt x="279" y="1682"/>
                  </a:lnTo>
                  <a:lnTo>
                    <a:pt x="276" y="1676"/>
                  </a:lnTo>
                  <a:lnTo>
                    <a:pt x="273" y="1671"/>
                  </a:lnTo>
                  <a:lnTo>
                    <a:pt x="269" y="1665"/>
                  </a:lnTo>
                  <a:lnTo>
                    <a:pt x="265" y="1660"/>
                  </a:lnTo>
                  <a:lnTo>
                    <a:pt x="260" y="1656"/>
                  </a:lnTo>
                  <a:lnTo>
                    <a:pt x="254" y="1654"/>
                  </a:lnTo>
                  <a:lnTo>
                    <a:pt x="248" y="1653"/>
                  </a:lnTo>
                  <a:lnTo>
                    <a:pt x="241" y="1653"/>
                  </a:lnTo>
                  <a:lnTo>
                    <a:pt x="234" y="1655"/>
                  </a:lnTo>
                  <a:lnTo>
                    <a:pt x="227" y="1660"/>
                  </a:lnTo>
                  <a:lnTo>
                    <a:pt x="209" y="1674"/>
                  </a:lnTo>
                  <a:lnTo>
                    <a:pt x="192" y="1689"/>
                  </a:lnTo>
                  <a:lnTo>
                    <a:pt x="174" y="1705"/>
                  </a:lnTo>
                  <a:lnTo>
                    <a:pt x="159" y="1720"/>
                  </a:lnTo>
                  <a:lnTo>
                    <a:pt x="143" y="1736"/>
                  </a:lnTo>
                  <a:lnTo>
                    <a:pt x="128" y="1753"/>
                  </a:lnTo>
                  <a:lnTo>
                    <a:pt x="114" y="1769"/>
                  </a:lnTo>
                  <a:lnTo>
                    <a:pt x="101" y="1787"/>
                  </a:lnTo>
                  <a:lnTo>
                    <a:pt x="88" y="1805"/>
                  </a:lnTo>
                  <a:lnTo>
                    <a:pt x="76" y="1824"/>
                  </a:lnTo>
                  <a:lnTo>
                    <a:pt x="66" y="1842"/>
                  </a:lnTo>
                  <a:lnTo>
                    <a:pt x="56" y="1861"/>
                  </a:lnTo>
                  <a:lnTo>
                    <a:pt x="47" y="1880"/>
                  </a:lnTo>
                  <a:lnTo>
                    <a:pt x="37" y="1900"/>
                  </a:lnTo>
                  <a:lnTo>
                    <a:pt x="30" y="1919"/>
                  </a:lnTo>
                  <a:lnTo>
                    <a:pt x="23" y="1939"/>
                  </a:lnTo>
                  <a:lnTo>
                    <a:pt x="17" y="1960"/>
                  </a:lnTo>
                  <a:lnTo>
                    <a:pt x="13" y="1980"/>
                  </a:lnTo>
                  <a:lnTo>
                    <a:pt x="8" y="2001"/>
                  </a:lnTo>
                  <a:lnTo>
                    <a:pt x="4" y="2023"/>
                  </a:lnTo>
                  <a:lnTo>
                    <a:pt x="2" y="2044"/>
                  </a:lnTo>
                  <a:lnTo>
                    <a:pt x="1" y="2065"/>
                  </a:lnTo>
                  <a:lnTo>
                    <a:pt x="0" y="2086"/>
                  </a:lnTo>
                  <a:lnTo>
                    <a:pt x="0" y="2107"/>
                  </a:lnTo>
                  <a:lnTo>
                    <a:pt x="1" y="2130"/>
                  </a:lnTo>
                  <a:lnTo>
                    <a:pt x="3" y="2152"/>
                  </a:lnTo>
                  <a:lnTo>
                    <a:pt x="7" y="2173"/>
                  </a:lnTo>
                  <a:lnTo>
                    <a:pt x="10" y="2196"/>
                  </a:lnTo>
                  <a:lnTo>
                    <a:pt x="15" y="2218"/>
                  </a:lnTo>
                  <a:lnTo>
                    <a:pt x="21" y="2240"/>
                  </a:lnTo>
                  <a:lnTo>
                    <a:pt x="28" y="2263"/>
                  </a:lnTo>
                  <a:lnTo>
                    <a:pt x="36" y="2284"/>
                  </a:lnTo>
                  <a:lnTo>
                    <a:pt x="48" y="2313"/>
                  </a:lnTo>
                  <a:lnTo>
                    <a:pt x="61" y="2340"/>
                  </a:lnTo>
                  <a:lnTo>
                    <a:pt x="76" y="2367"/>
                  </a:lnTo>
                  <a:lnTo>
                    <a:pt x="92" y="2392"/>
                  </a:lnTo>
                  <a:lnTo>
                    <a:pt x="109" y="2417"/>
                  </a:lnTo>
                  <a:lnTo>
                    <a:pt x="127" y="2439"/>
                  </a:lnTo>
                  <a:lnTo>
                    <a:pt x="147" y="2462"/>
                  </a:lnTo>
                  <a:lnTo>
                    <a:pt x="167" y="2483"/>
                  </a:lnTo>
                  <a:lnTo>
                    <a:pt x="188" y="2502"/>
                  </a:lnTo>
                  <a:lnTo>
                    <a:pt x="210" y="2520"/>
                  </a:lnTo>
                  <a:lnTo>
                    <a:pt x="234" y="2539"/>
                  </a:lnTo>
                  <a:lnTo>
                    <a:pt x="259" y="2556"/>
                  </a:lnTo>
                  <a:lnTo>
                    <a:pt x="283" y="2571"/>
                  </a:lnTo>
                  <a:lnTo>
                    <a:pt x="309" y="2586"/>
                  </a:lnTo>
                  <a:lnTo>
                    <a:pt x="335" y="2601"/>
                  </a:lnTo>
                  <a:lnTo>
                    <a:pt x="362" y="2613"/>
                  </a:lnTo>
                  <a:lnTo>
                    <a:pt x="389" y="2626"/>
                  </a:lnTo>
                  <a:lnTo>
                    <a:pt x="418" y="2638"/>
                  </a:lnTo>
                  <a:lnTo>
                    <a:pt x="446" y="2649"/>
                  </a:lnTo>
                  <a:lnTo>
                    <a:pt x="474" y="2658"/>
                  </a:lnTo>
                  <a:lnTo>
                    <a:pt x="504" y="2668"/>
                  </a:lnTo>
                  <a:lnTo>
                    <a:pt x="532" y="2676"/>
                  </a:lnTo>
                  <a:lnTo>
                    <a:pt x="561" y="2684"/>
                  </a:lnTo>
                  <a:lnTo>
                    <a:pt x="591" y="2691"/>
                  </a:lnTo>
                  <a:lnTo>
                    <a:pt x="620" y="2697"/>
                  </a:lnTo>
                  <a:lnTo>
                    <a:pt x="650" y="2703"/>
                  </a:lnTo>
                  <a:lnTo>
                    <a:pt x="680" y="2708"/>
                  </a:lnTo>
                  <a:lnTo>
                    <a:pt x="708" y="2712"/>
                  </a:lnTo>
                  <a:lnTo>
                    <a:pt x="767" y="2721"/>
                  </a:lnTo>
                  <a:lnTo>
                    <a:pt x="824" y="2725"/>
                  </a:lnTo>
                  <a:lnTo>
                    <a:pt x="860" y="2728"/>
                  </a:lnTo>
                  <a:lnTo>
                    <a:pt x="897" y="2730"/>
                  </a:lnTo>
                  <a:lnTo>
                    <a:pt x="933" y="2730"/>
                  </a:lnTo>
                  <a:lnTo>
                    <a:pt x="971" y="2731"/>
                  </a:lnTo>
                  <a:lnTo>
                    <a:pt x="1009" y="2730"/>
                  </a:lnTo>
                  <a:lnTo>
                    <a:pt x="1046" y="2729"/>
                  </a:lnTo>
                  <a:lnTo>
                    <a:pt x="1084" y="2726"/>
                  </a:lnTo>
                  <a:lnTo>
                    <a:pt x="1123" y="2724"/>
                  </a:lnTo>
                  <a:lnTo>
                    <a:pt x="1160" y="2721"/>
                  </a:lnTo>
                  <a:lnTo>
                    <a:pt x="1199" y="2716"/>
                  </a:lnTo>
                  <a:lnTo>
                    <a:pt x="1237" y="2710"/>
                  </a:lnTo>
                  <a:lnTo>
                    <a:pt x="1275" y="2704"/>
                  </a:lnTo>
                  <a:lnTo>
                    <a:pt x="1314" y="2696"/>
                  </a:lnTo>
                  <a:lnTo>
                    <a:pt x="1351" y="2688"/>
                  </a:lnTo>
                  <a:lnTo>
                    <a:pt x="1388" y="2678"/>
                  </a:lnTo>
                  <a:lnTo>
                    <a:pt x="1425" y="2668"/>
                  </a:lnTo>
                  <a:lnTo>
                    <a:pt x="1462" y="2656"/>
                  </a:lnTo>
                  <a:lnTo>
                    <a:pt x="1497" y="2643"/>
                  </a:lnTo>
                  <a:lnTo>
                    <a:pt x="1532" y="2629"/>
                  </a:lnTo>
                  <a:lnTo>
                    <a:pt x="1568" y="2613"/>
                  </a:lnTo>
                  <a:lnTo>
                    <a:pt x="1602" y="2597"/>
                  </a:lnTo>
                  <a:lnTo>
                    <a:pt x="1635" y="2581"/>
                  </a:lnTo>
                  <a:lnTo>
                    <a:pt x="1667" y="2562"/>
                  </a:lnTo>
                  <a:lnTo>
                    <a:pt x="1698" y="2542"/>
                  </a:lnTo>
                  <a:lnTo>
                    <a:pt x="1729" y="2519"/>
                  </a:lnTo>
                  <a:lnTo>
                    <a:pt x="1759" y="2497"/>
                  </a:lnTo>
                  <a:lnTo>
                    <a:pt x="1787" y="2473"/>
                  </a:lnTo>
                  <a:lnTo>
                    <a:pt x="1814" y="2447"/>
                  </a:lnTo>
                  <a:lnTo>
                    <a:pt x="1840" y="2420"/>
                  </a:lnTo>
                  <a:lnTo>
                    <a:pt x="1864" y="2392"/>
                  </a:lnTo>
                  <a:lnTo>
                    <a:pt x="1887" y="2363"/>
                  </a:lnTo>
                  <a:lnTo>
                    <a:pt x="1909" y="2331"/>
                  </a:lnTo>
                  <a:lnTo>
                    <a:pt x="1922" y="2310"/>
                  </a:lnTo>
                  <a:lnTo>
                    <a:pt x="1934" y="2287"/>
                  </a:lnTo>
                  <a:lnTo>
                    <a:pt x="1946" y="2265"/>
                  </a:lnTo>
                  <a:lnTo>
                    <a:pt x="1955" y="2241"/>
                  </a:lnTo>
                  <a:lnTo>
                    <a:pt x="1965" y="2218"/>
                  </a:lnTo>
                  <a:lnTo>
                    <a:pt x="1973" y="2194"/>
                  </a:lnTo>
                  <a:lnTo>
                    <a:pt x="1980" y="2171"/>
                  </a:lnTo>
                  <a:lnTo>
                    <a:pt x="1986" y="2146"/>
                  </a:lnTo>
                  <a:lnTo>
                    <a:pt x="1990" y="2121"/>
                  </a:lnTo>
                  <a:lnTo>
                    <a:pt x="1994" y="2097"/>
                  </a:lnTo>
                  <a:lnTo>
                    <a:pt x="1997" y="2072"/>
                  </a:lnTo>
                  <a:lnTo>
                    <a:pt x="1999" y="2047"/>
                  </a:lnTo>
                  <a:lnTo>
                    <a:pt x="2000" y="2021"/>
                  </a:lnTo>
                  <a:lnTo>
                    <a:pt x="2001" y="1997"/>
                  </a:lnTo>
                  <a:lnTo>
                    <a:pt x="2000" y="1972"/>
                  </a:lnTo>
                  <a:lnTo>
                    <a:pt x="1999" y="1946"/>
                  </a:lnTo>
                  <a:lnTo>
                    <a:pt x="1996" y="1921"/>
                  </a:lnTo>
                  <a:lnTo>
                    <a:pt x="1994" y="1895"/>
                  </a:lnTo>
                  <a:lnTo>
                    <a:pt x="1990" y="1871"/>
                  </a:lnTo>
                  <a:lnTo>
                    <a:pt x="1986" y="1845"/>
                  </a:lnTo>
                  <a:lnTo>
                    <a:pt x="1981" y="1820"/>
                  </a:lnTo>
                  <a:lnTo>
                    <a:pt x="1976" y="1795"/>
                  </a:lnTo>
                  <a:lnTo>
                    <a:pt x="1969" y="1771"/>
                  </a:lnTo>
                  <a:lnTo>
                    <a:pt x="1963" y="1746"/>
                  </a:lnTo>
                  <a:lnTo>
                    <a:pt x="1948" y="1698"/>
                  </a:lnTo>
                  <a:lnTo>
                    <a:pt x="1932" y="1649"/>
                  </a:lnTo>
                  <a:lnTo>
                    <a:pt x="1913" y="1603"/>
                  </a:lnTo>
                  <a:lnTo>
                    <a:pt x="1893" y="1559"/>
                  </a:lnTo>
                  <a:lnTo>
                    <a:pt x="1873" y="1522"/>
                  </a:lnTo>
                  <a:lnTo>
                    <a:pt x="1852" y="1486"/>
                  </a:lnTo>
                  <a:lnTo>
                    <a:pt x="1829" y="1450"/>
                  </a:lnTo>
                  <a:lnTo>
                    <a:pt x="1804" y="1415"/>
                  </a:lnTo>
                  <a:lnTo>
                    <a:pt x="1791" y="1399"/>
                  </a:lnTo>
                  <a:lnTo>
                    <a:pt x="1777" y="1382"/>
                  </a:lnTo>
                  <a:lnTo>
                    <a:pt x="1763" y="1367"/>
                  </a:lnTo>
                  <a:lnTo>
                    <a:pt x="1749" y="1352"/>
                  </a:lnTo>
                  <a:lnTo>
                    <a:pt x="1734" y="1336"/>
                  </a:lnTo>
                  <a:lnTo>
                    <a:pt x="1718" y="1322"/>
                  </a:lnTo>
                  <a:lnTo>
                    <a:pt x="1702" y="1309"/>
                  </a:lnTo>
                  <a:lnTo>
                    <a:pt x="1687" y="1295"/>
                  </a:lnTo>
                  <a:lnTo>
                    <a:pt x="1655" y="1270"/>
                  </a:lnTo>
                  <a:lnTo>
                    <a:pt x="1625" y="1244"/>
                  </a:lnTo>
                  <a:lnTo>
                    <a:pt x="1598" y="1217"/>
                  </a:lnTo>
                  <a:lnTo>
                    <a:pt x="1574" y="1191"/>
                  </a:lnTo>
                  <a:lnTo>
                    <a:pt x="1550" y="1164"/>
                  </a:lnTo>
                  <a:lnTo>
                    <a:pt x="1529" y="1136"/>
                  </a:lnTo>
                  <a:lnTo>
                    <a:pt x="1509" y="1107"/>
                  </a:lnTo>
                  <a:lnTo>
                    <a:pt x="1490" y="1077"/>
                  </a:lnTo>
                  <a:lnTo>
                    <a:pt x="1474" y="1048"/>
                  </a:lnTo>
                  <a:lnTo>
                    <a:pt x="1458" y="1016"/>
                  </a:lnTo>
                  <a:lnTo>
                    <a:pt x="1443" y="983"/>
                  </a:lnTo>
                  <a:lnTo>
                    <a:pt x="1430" y="950"/>
                  </a:lnTo>
                  <a:lnTo>
                    <a:pt x="1418" y="915"/>
                  </a:lnTo>
                  <a:lnTo>
                    <a:pt x="1407" y="878"/>
                  </a:lnTo>
                  <a:lnTo>
                    <a:pt x="1396" y="841"/>
                  </a:lnTo>
                  <a:lnTo>
                    <a:pt x="1385" y="802"/>
                  </a:lnTo>
                  <a:lnTo>
                    <a:pt x="1375" y="754"/>
                  </a:lnTo>
                  <a:lnTo>
                    <a:pt x="1364" y="702"/>
                  </a:lnTo>
                  <a:lnTo>
                    <a:pt x="1355" y="649"/>
                  </a:lnTo>
                  <a:lnTo>
                    <a:pt x="1344" y="595"/>
                  </a:lnTo>
                  <a:lnTo>
                    <a:pt x="1332" y="539"/>
                  </a:lnTo>
                  <a:lnTo>
                    <a:pt x="1321" y="483"/>
                  </a:lnTo>
                  <a:lnTo>
                    <a:pt x="1306" y="427"/>
                  </a:lnTo>
                  <a:lnTo>
                    <a:pt x="1290" y="373"/>
                  </a:lnTo>
                  <a:lnTo>
                    <a:pt x="1281" y="346"/>
                  </a:lnTo>
                  <a:lnTo>
                    <a:pt x="1271" y="320"/>
                  </a:lnTo>
                  <a:lnTo>
                    <a:pt x="1261" y="294"/>
                  </a:lnTo>
                  <a:lnTo>
                    <a:pt x="1249" y="270"/>
                  </a:lnTo>
                  <a:lnTo>
                    <a:pt x="1237" y="245"/>
                  </a:lnTo>
                  <a:lnTo>
                    <a:pt x="1223" y="221"/>
                  </a:lnTo>
                  <a:lnTo>
                    <a:pt x="1209" y="199"/>
                  </a:lnTo>
                  <a:lnTo>
                    <a:pt x="1193" y="178"/>
                  </a:lnTo>
                  <a:lnTo>
                    <a:pt x="1177" y="157"/>
                  </a:lnTo>
                  <a:lnTo>
                    <a:pt x="1159" y="137"/>
                  </a:lnTo>
                  <a:lnTo>
                    <a:pt x="1140" y="119"/>
                  </a:lnTo>
                  <a:lnTo>
                    <a:pt x="1120" y="101"/>
                  </a:lnTo>
                  <a:lnTo>
                    <a:pt x="1099" y="86"/>
                  </a:lnTo>
                  <a:lnTo>
                    <a:pt x="1077" y="71"/>
                  </a:lnTo>
                  <a:lnTo>
                    <a:pt x="1052" y="58"/>
                  </a:lnTo>
                  <a:lnTo>
                    <a:pt x="1026" y="47"/>
                  </a:lnTo>
                  <a:lnTo>
                    <a:pt x="998" y="37"/>
                  </a:lnTo>
                  <a:lnTo>
                    <a:pt x="969" y="27"/>
                  </a:lnTo>
                  <a:lnTo>
                    <a:pt x="939" y="20"/>
                  </a:lnTo>
                  <a:lnTo>
                    <a:pt x="909" y="13"/>
                  </a:lnTo>
                  <a:lnTo>
                    <a:pt x="878" y="8"/>
                  </a:lnTo>
                  <a:lnTo>
                    <a:pt x="846" y="4"/>
                  </a:lnTo>
                  <a:lnTo>
                    <a:pt x="814" y="1"/>
                  </a:lnTo>
                  <a:lnTo>
                    <a:pt x="781" y="0"/>
                  </a:lnTo>
                  <a:lnTo>
                    <a:pt x="750" y="0"/>
                  </a:lnTo>
                  <a:lnTo>
                    <a:pt x="717" y="1"/>
                  </a:lnTo>
                  <a:lnTo>
                    <a:pt x="685" y="4"/>
                  </a:lnTo>
                  <a:lnTo>
                    <a:pt x="652" y="8"/>
                  </a:lnTo>
                  <a:lnTo>
                    <a:pt x="620" y="13"/>
                  </a:lnTo>
                  <a:lnTo>
                    <a:pt x="588" y="20"/>
                  </a:lnTo>
                  <a:lnTo>
                    <a:pt x="557" y="27"/>
                  </a:lnTo>
                  <a:lnTo>
                    <a:pt x="526" y="37"/>
                  </a:lnTo>
                  <a:lnTo>
                    <a:pt x="495" y="47"/>
                  </a:lnTo>
                  <a:lnTo>
                    <a:pt x="466" y="60"/>
                  </a:lnTo>
                  <a:lnTo>
                    <a:pt x="438" y="73"/>
                  </a:lnTo>
                  <a:lnTo>
                    <a:pt x="409" y="87"/>
                  </a:lnTo>
                  <a:lnTo>
                    <a:pt x="382" y="104"/>
                  </a:lnTo>
                  <a:lnTo>
                    <a:pt x="358" y="121"/>
                  </a:lnTo>
                  <a:lnTo>
                    <a:pt x="333" y="140"/>
                  </a:lnTo>
                  <a:lnTo>
                    <a:pt x="309" y="160"/>
                  </a:lnTo>
                  <a:lnTo>
                    <a:pt x="288" y="181"/>
                  </a:lnTo>
                  <a:lnTo>
                    <a:pt x="268" y="205"/>
                  </a:lnTo>
                  <a:lnTo>
                    <a:pt x="249" y="230"/>
                  </a:lnTo>
                  <a:lnTo>
                    <a:pt x="233" y="256"/>
                  </a:lnTo>
                  <a:lnTo>
                    <a:pt x="217" y="283"/>
                  </a:lnTo>
                  <a:lnTo>
                    <a:pt x="205" y="311"/>
                  </a:lnTo>
                  <a:lnTo>
                    <a:pt x="194" y="340"/>
                  </a:lnTo>
                  <a:lnTo>
                    <a:pt x="185" y="372"/>
                  </a:lnTo>
                  <a:lnTo>
                    <a:pt x="179" y="399"/>
                  </a:lnTo>
                  <a:lnTo>
                    <a:pt x="175" y="426"/>
                  </a:lnTo>
                  <a:lnTo>
                    <a:pt x="174" y="455"/>
                  </a:lnTo>
                  <a:lnTo>
                    <a:pt x="173" y="483"/>
                  </a:lnTo>
                  <a:lnTo>
                    <a:pt x="174" y="511"/>
                  </a:lnTo>
                  <a:lnTo>
                    <a:pt x="177" y="540"/>
                  </a:lnTo>
                  <a:lnTo>
                    <a:pt x="181" y="569"/>
                  </a:lnTo>
                  <a:lnTo>
                    <a:pt x="187" y="597"/>
                  </a:lnTo>
                  <a:lnTo>
                    <a:pt x="193" y="625"/>
                  </a:lnTo>
                  <a:lnTo>
                    <a:pt x="200" y="653"/>
                  </a:lnTo>
                  <a:lnTo>
                    <a:pt x="208" y="682"/>
                  </a:lnTo>
                  <a:lnTo>
                    <a:pt x="216" y="709"/>
                  </a:lnTo>
                  <a:lnTo>
                    <a:pt x="226" y="736"/>
                  </a:lnTo>
                  <a:lnTo>
                    <a:pt x="236" y="762"/>
                  </a:lnTo>
                  <a:lnTo>
                    <a:pt x="246" y="788"/>
                  </a:lnTo>
                  <a:lnTo>
                    <a:pt x="256" y="812"/>
                  </a:lnTo>
                  <a:lnTo>
                    <a:pt x="281" y="865"/>
                  </a:lnTo>
                  <a:lnTo>
                    <a:pt x="307" y="917"/>
                  </a:lnTo>
                  <a:lnTo>
                    <a:pt x="332" y="968"/>
                  </a:lnTo>
                  <a:lnTo>
                    <a:pt x="355" y="1020"/>
                  </a:lnTo>
                  <a:lnTo>
                    <a:pt x="366" y="1045"/>
                  </a:lnTo>
                  <a:lnTo>
                    <a:pt x="376" y="1071"/>
                  </a:lnTo>
                  <a:lnTo>
                    <a:pt x="386" y="1098"/>
                  </a:lnTo>
                  <a:lnTo>
                    <a:pt x="393" y="1126"/>
                  </a:lnTo>
                  <a:lnTo>
                    <a:pt x="400" y="1154"/>
                  </a:lnTo>
                  <a:lnTo>
                    <a:pt x="405" y="1182"/>
                  </a:lnTo>
                  <a:lnTo>
                    <a:pt x="408" y="1211"/>
                  </a:lnTo>
                  <a:lnTo>
                    <a:pt x="411" y="1241"/>
                  </a:lnTo>
                  <a:lnTo>
                    <a:pt x="411" y="1269"/>
                  </a:lnTo>
                  <a:lnTo>
                    <a:pt x="408" y="1296"/>
                  </a:lnTo>
                  <a:lnTo>
                    <a:pt x="403" y="1324"/>
                  </a:lnTo>
                  <a:lnTo>
                    <a:pt x="398" y="1352"/>
                  </a:lnTo>
                  <a:lnTo>
                    <a:pt x="391" y="1380"/>
                  </a:lnTo>
                  <a:lnTo>
                    <a:pt x="381" y="1407"/>
                  </a:lnTo>
                  <a:lnTo>
                    <a:pt x="371" y="1433"/>
                  </a:lnTo>
                  <a:lnTo>
                    <a:pt x="359" y="1460"/>
                  </a:lnTo>
                  <a:lnTo>
                    <a:pt x="346" y="1486"/>
                  </a:lnTo>
                  <a:lnTo>
                    <a:pt x="332" y="1512"/>
                  </a:lnTo>
                  <a:lnTo>
                    <a:pt x="316" y="1536"/>
                  </a:lnTo>
                  <a:lnTo>
                    <a:pt x="301" y="1560"/>
                  </a:lnTo>
                  <a:lnTo>
                    <a:pt x="285" y="1583"/>
                  </a:lnTo>
                  <a:lnTo>
                    <a:pt x="268" y="1607"/>
                  </a:lnTo>
                  <a:lnTo>
                    <a:pt x="252" y="1628"/>
                  </a:lnTo>
                  <a:lnTo>
                    <a:pt x="234" y="1649"/>
                  </a:lnTo>
                  <a:lnTo>
                    <a:pt x="227" y="1658"/>
                  </a:lnTo>
                  <a:lnTo>
                    <a:pt x="220" y="1666"/>
                  </a:lnTo>
                  <a:lnTo>
                    <a:pt x="215" y="1672"/>
                  </a:lnTo>
                  <a:lnTo>
                    <a:pt x="212" y="1679"/>
                  </a:lnTo>
                  <a:lnTo>
                    <a:pt x="210" y="1686"/>
                  </a:lnTo>
                  <a:lnTo>
                    <a:pt x="210" y="1693"/>
                  </a:lnTo>
                  <a:lnTo>
                    <a:pt x="212" y="1699"/>
                  </a:lnTo>
                  <a:lnTo>
                    <a:pt x="214" y="1706"/>
                  </a:lnTo>
                  <a:lnTo>
                    <a:pt x="217" y="1712"/>
                  </a:lnTo>
                  <a:lnTo>
                    <a:pt x="222" y="1716"/>
                  </a:lnTo>
                  <a:lnTo>
                    <a:pt x="227" y="1721"/>
                  </a:lnTo>
                  <a:lnTo>
                    <a:pt x="233" y="1725"/>
                  </a:lnTo>
                  <a:lnTo>
                    <a:pt x="239" y="1727"/>
                  </a:lnTo>
                  <a:lnTo>
                    <a:pt x="245" y="1728"/>
                  </a:lnTo>
                  <a:lnTo>
                    <a:pt x="252" y="1727"/>
                  </a:lnTo>
                  <a:lnTo>
                    <a:pt x="259" y="1726"/>
                  </a:lnTo>
                  <a:lnTo>
                    <a:pt x="265" y="1722"/>
                  </a:lnTo>
                  <a:lnTo>
                    <a:pt x="270" y="1716"/>
                  </a:lnTo>
                  <a:close/>
                </a:path>
              </a:pathLst>
            </a:custGeom>
            <a:solidFill>
              <a:srgbClr val="B34E4B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6653" tIns="58327" rIns="116653" bIns="58327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434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137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68" name="Freeform 138"/>
            <p:cNvSpPr>
              <a:spLocks/>
            </p:cNvSpPr>
            <p:nvPr/>
          </p:nvSpPr>
          <p:spPr bwMode="auto">
            <a:xfrm>
              <a:off x="4011" y="2030"/>
              <a:ext cx="95" cy="95"/>
            </a:xfrm>
            <a:custGeom>
              <a:avLst/>
              <a:gdLst>
                <a:gd name="T0" fmla="*/ 380 w 380"/>
                <a:gd name="T1" fmla="*/ 187 h 380"/>
                <a:gd name="T2" fmla="*/ 378 w 380"/>
                <a:gd name="T3" fmla="*/ 225 h 380"/>
                <a:gd name="T4" fmla="*/ 367 w 380"/>
                <a:gd name="T5" fmla="*/ 260 h 380"/>
                <a:gd name="T6" fmla="*/ 351 w 380"/>
                <a:gd name="T7" fmla="*/ 293 h 380"/>
                <a:gd name="T8" fmla="*/ 329 w 380"/>
                <a:gd name="T9" fmla="*/ 321 h 380"/>
                <a:gd name="T10" fmla="*/ 300 w 380"/>
                <a:gd name="T11" fmla="*/ 345 h 380"/>
                <a:gd name="T12" fmla="*/ 268 w 380"/>
                <a:gd name="T13" fmla="*/ 364 h 380"/>
                <a:gd name="T14" fmla="*/ 232 w 380"/>
                <a:gd name="T15" fmla="*/ 375 h 380"/>
                <a:gd name="T16" fmla="*/ 194 w 380"/>
                <a:gd name="T17" fmla="*/ 380 h 380"/>
                <a:gd name="T18" fmla="*/ 157 w 380"/>
                <a:gd name="T19" fmla="*/ 378 h 380"/>
                <a:gd name="T20" fmla="*/ 120 w 380"/>
                <a:gd name="T21" fmla="*/ 367 h 380"/>
                <a:gd name="T22" fmla="*/ 88 w 380"/>
                <a:gd name="T23" fmla="*/ 351 h 380"/>
                <a:gd name="T24" fmla="*/ 59 w 380"/>
                <a:gd name="T25" fmla="*/ 328 h 380"/>
                <a:gd name="T26" fmla="*/ 35 w 380"/>
                <a:gd name="T27" fmla="*/ 300 h 380"/>
                <a:gd name="T28" fmla="*/ 17 w 380"/>
                <a:gd name="T29" fmla="*/ 268 h 380"/>
                <a:gd name="T30" fmla="*/ 5 w 380"/>
                <a:gd name="T31" fmla="*/ 233 h 380"/>
                <a:gd name="T32" fmla="*/ 0 w 380"/>
                <a:gd name="T33" fmla="*/ 194 h 380"/>
                <a:gd name="T34" fmla="*/ 4 w 380"/>
                <a:gd name="T35" fmla="*/ 157 h 380"/>
                <a:gd name="T36" fmla="*/ 13 w 380"/>
                <a:gd name="T37" fmla="*/ 121 h 380"/>
                <a:gd name="T38" fmla="*/ 31 w 380"/>
                <a:gd name="T39" fmla="*/ 88 h 380"/>
                <a:gd name="T40" fmla="*/ 53 w 380"/>
                <a:gd name="T41" fmla="*/ 60 h 380"/>
                <a:gd name="T42" fmla="*/ 80 w 380"/>
                <a:gd name="T43" fmla="*/ 35 h 380"/>
                <a:gd name="T44" fmla="*/ 112 w 380"/>
                <a:gd name="T45" fmla="*/ 18 h 380"/>
                <a:gd name="T46" fmla="*/ 148 w 380"/>
                <a:gd name="T47" fmla="*/ 5 h 380"/>
                <a:gd name="T48" fmla="*/ 187 w 380"/>
                <a:gd name="T49" fmla="*/ 0 h 380"/>
                <a:gd name="T50" fmla="*/ 225 w 380"/>
                <a:gd name="T51" fmla="*/ 3 h 380"/>
                <a:gd name="T52" fmla="*/ 260 w 380"/>
                <a:gd name="T53" fmla="*/ 14 h 380"/>
                <a:gd name="T54" fmla="*/ 292 w 380"/>
                <a:gd name="T55" fmla="*/ 31 h 380"/>
                <a:gd name="T56" fmla="*/ 321 w 380"/>
                <a:gd name="T57" fmla="*/ 53 h 380"/>
                <a:gd name="T58" fmla="*/ 345 w 380"/>
                <a:gd name="T59" fmla="*/ 80 h 380"/>
                <a:gd name="T60" fmla="*/ 364 w 380"/>
                <a:gd name="T61" fmla="*/ 113 h 380"/>
                <a:gd name="T62" fmla="*/ 376 w 380"/>
                <a:gd name="T63" fmla="*/ 148 h 3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380" h="380">
                  <a:moveTo>
                    <a:pt x="379" y="167"/>
                  </a:moveTo>
                  <a:lnTo>
                    <a:pt x="380" y="187"/>
                  </a:lnTo>
                  <a:lnTo>
                    <a:pt x="380" y="206"/>
                  </a:lnTo>
                  <a:lnTo>
                    <a:pt x="378" y="225"/>
                  </a:lnTo>
                  <a:lnTo>
                    <a:pt x="373" y="242"/>
                  </a:lnTo>
                  <a:lnTo>
                    <a:pt x="367" y="260"/>
                  </a:lnTo>
                  <a:lnTo>
                    <a:pt x="359" y="277"/>
                  </a:lnTo>
                  <a:lnTo>
                    <a:pt x="351" y="293"/>
                  </a:lnTo>
                  <a:lnTo>
                    <a:pt x="340" y="307"/>
                  </a:lnTo>
                  <a:lnTo>
                    <a:pt x="329" y="321"/>
                  </a:lnTo>
                  <a:lnTo>
                    <a:pt x="314" y="334"/>
                  </a:lnTo>
                  <a:lnTo>
                    <a:pt x="300" y="345"/>
                  </a:lnTo>
                  <a:lnTo>
                    <a:pt x="285" y="355"/>
                  </a:lnTo>
                  <a:lnTo>
                    <a:pt x="268" y="364"/>
                  </a:lnTo>
                  <a:lnTo>
                    <a:pt x="251" y="371"/>
                  </a:lnTo>
                  <a:lnTo>
                    <a:pt x="232" y="375"/>
                  </a:lnTo>
                  <a:lnTo>
                    <a:pt x="213" y="379"/>
                  </a:lnTo>
                  <a:lnTo>
                    <a:pt x="194" y="380"/>
                  </a:lnTo>
                  <a:lnTo>
                    <a:pt x="174" y="380"/>
                  </a:lnTo>
                  <a:lnTo>
                    <a:pt x="157" y="378"/>
                  </a:lnTo>
                  <a:lnTo>
                    <a:pt x="138" y="373"/>
                  </a:lnTo>
                  <a:lnTo>
                    <a:pt x="120" y="367"/>
                  </a:lnTo>
                  <a:lnTo>
                    <a:pt x="104" y="360"/>
                  </a:lnTo>
                  <a:lnTo>
                    <a:pt x="88" y="351"/>
                  </a:lnTo>
                  <a:lnTo>
                    <a:pt x="73" y="340"/>
                  </a:lnTo>
                  <a:lnTo>
                    <a:pt x="59" y="328"/>
                  </a:lnTo>
                  <a:lnTo>
                    <a:pt x="47" y="315"/>
                  </a:lnTo>
                  <a:lnTo>
                    <a:pt x="35" y="300"/>
                  </a:lnTo>
                  <a:lnTo>
                    <a:pt x="26" y="285"/>
                  </a:lnTo>
                  <a:lnTo>
                    <a:pt x="17" y="268"/>
                  </a:lnTo>
                  <a:lnTo>
                    <a:pt x="11" y="251"/>
                  </a:lnTo>
                  <a:lnTo>
                    <a:pt x="5" y="233"/>
                  </a:lnTo>
                  <a:lnTo>
                    <a:pt x="1" y="213"/>
                  </a:lnTo>
                  <a:lnTo>
                    <a:pt x="0" y="194"/>
                  </a:lnTo>
                  <a:lnTo>
                    <a:pt x="1" y="175"/>
                  </a:lnTo>
                  <a:lnTo>
                    <a:pt x="4" y="157"/>
                  </a:lnTo>
                  <a:lnTo>
                    <a:pt x="7" y="139"/>
                  </a:lnTo>
                  <a:lnTo>
                    <a:pt x="13" y="121"/>
                  </a:lnTo>
                  <a:lnTo>
                    <a:pt x="21" y="104"/>
                  </a:lnTo>
                  <a:lnTo>
                    <a:pt x="31" y="88"/>
                  </a:lnTo>
                  <a:lnTo>
                    <a:pt x="40" y="73"/>
                  </a:lnTo>
                  <a:lnTo>
                    <a:pt x="53" y="60"/>
                  </a:lnTo>
                  <a:lnTo>
                    <a:pt x="66" y="47"/>
                  </a:lnTo>
                  <a:lnTo>
                    <a:pt x="80" y="35"/>
                  </a:lnTo>
                  <a:lnTo>
                    <a:pt x="95" y="26"/>
                  </a:lnTo>
                  <a:lnTo>
                    <a:pt x="112" y="18"/>
                  </a:lnTo>
                  <a:lnTo>
                    <a:pt x="130" y="11"/>
                  </a:lnTo>
                  <a:lnTo>
                    <a:pt x="148" y="5"/>
                  </a:lnTo>
                  <a:lnTo>
                    <a:pt x="167" y="2"/>
                  </a:lnTo>
                  <a:lnTo>
                    <a:pt x="187" y="0"/>
                  </a:lnTo>
                  <a:lnTo>
                    <a:pt x="206" y="1"/>
                  </a:lnTo>
                  <a:lnTo>
                    <a:pt x="225" y="3"/>
                  </a:lnTo>
                  <a:lnTo>
                    <a:pt x="243" y="8"/>
                  </a:lnTo>
                  <a:lnTo>
                    <a:pt x="260" y="14"/>
                  </a:lnTo>
                  <a:lnTo>
                    <a:pt x="277" y="21"/>
                  </a:lnTo>
                  <a:lnTo>
                    <a:pt x="292" y="31"/>
                  </a:lnTo>
                  <a:lnTo>
                    <a:pt x="307" y="41"/>
                  </a:lnTo>
                  <a:lnTo>
                    <a:pt x="321" y="53"/>
                  </a:lnTo>
                  <a:lnTo>
                    <a:pt x="334" y="66"/>
                  </a:lnTo>
                  <a:lnTo>
                    <a:pt x="345" y="80"/>
                  </a:lnTo>
                  <a:lnTo>
                    <a:pt x="356" y="96"/>
                  </a:lnTo>
                  <a:lnTo>
                    <a:pt x="364" y="113"/>
                  </a:lnTo>
                  <a:lnTo>
                    <a:pt x="371" y="131"/>
                  </a:lnTo>
                  <a:lnTo>
                    <a:pt x="376" y="148"/>
                  </a:lnTo>
                  <a:lnTo>
                    <a:pt x="379" y="167"/>
                  </a:lnTo>
                  <a:close/>
                </a:path>
              </a:pathLst>
            </a:cu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6653" tIns="58327" rIns="116653" bIns="58327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434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137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69" name="Freeform 139"/>
            <p:cNvSpPr>
              <a:spLocks noEditPoints="1"/>
            </p:cNvSpPr>
            <p:nvPr/>
          </p:nvSpPr>
          <p:spPr bwMode="auto">
            <a:xfrm>
              <a:off x="4006" y="2025"/>
              <a:ext cx="104" cy="105"/>
            </a:xfrm>
            <a:custGeom>
              <a:avLst/>
              <a:gdLst>
                <a:gd name="T0" fmla="*/ 154 w 418"/>
                <a:gd name="T1" fmla="*/ 47 h 418"/>
                <a:gd name="T2" fmla="*/ 111 w 418"/>
                <a:gd name="T3" fmla="*/ 70 h 418"/>
                <a:gd name="T4" fmla="*/ 74 w 418"/>
                <a:gd name="T5" fmla="*/ 104 h 418"/>
                <a:gd name="T6" fmla="*/ 51 w 418"/>
                <a:gd name="T7" fmla="*/ 147 h 418"/>
                <a:gd name="T8" fmla="*/ 39 w 418"/>
                <a:gd name="T9" fmla="*/ 196 h 418"/>
                <a:gd name="T10" fmla="*/ 43 w 418"/>
                <a:gd name="T11" fmla="*/ 247 h 418"/>
                <a:gd name="T12" fmla="*/ 61 w 418"/>
                <a:gd name="T13" fmla="*/ 294 h 418"/>
                <a:gd name="T14" fmla="*/ 92 w 418"/>
                <a:gd name="T15" fmla="*/ 333 h 418"/>
                <a:gd name="T16" fmla="*/ 132 w 418"/>
                <a:gd name="T17" fmla="*/ 362 h 418"/>
                <a:gd name="T18" fmla="*/ 179 w 418"/>
                <a:gd name="T19" fmla="*/ 378 h 418"/>
                <a:gd name="T20" fmla="*/ 230 w 418"/>
                <a:gd name="T21" fmla="*/ 379 h 418"/>
                <a:gd name="T22" fmla="*/ 279 w 418"/>
                <a:gd name="T23" fmla="*/ 365 h 418"/>
                <a:gd name="T24" fmla="*/ 322 w 418"/>
                <a:gd name="T25" fmla="*/ 339 h 418"/>
                <a:gd name="T26" fmla="*/ 353 w 418"/>
                <a:gd name="T27" fmla="*/ 301 h 418"/>
                <a:gd name="T28" fmla="*/ 373 w 418"/>
                <a:gd name="T29" fmla="*/ 257 h 418"/>
                <a:gd name="T30" fmla="*/ 380 w 418"/>
                <a:gd name="T31" fmla="*/ 206 h 418"/>
                <a:gd name="T32" fmla="*/ 371 w 418"/>
                <a:gd name="T33" fmla="*/ 156 h 418"/>
                <a:gd name="T34" fmla="*/ 349 w 418"/>
                <a:gd name="T35" fmla="*/ 111 h 418"/>
                <a:gd name="T36" fmla="*/ 315 w 418"/>
                <a:gd name="T37" fmla="*/ 74 h 418"/>
                <a:gd name="T38" fmla="*/ 272 w 418"/>
                <a:gd name="T39" fmla="*/ 51 h 418"/>
                <a:gd name="T40" fmla="*/ 223 w 418"/>
                <a:gd name="T41" fmla="*/ 39 h 418"/>
                <a:gd name="T42" fmla="*/ 235 w 418"/>
                <a:gd name="T43" fmla="*/ 417 h 418"/>
                <a:gd name="T44" fmla="*/ 172 w 418"/>
                <a:gd name="T45" fmla="*/ 416 h 418"/>
                <a:gd name="T46" fmla="*/ 114 w 418"/>
                <a:gd name="T47" fmla="*/ 396 h 418"/>
                <a:gd name="T48" fmla="*/ 65 w 418"/>
                <a:gd name="T49" fmla="*/ 362 h 418"/>
                <a:gd name="T50" fmla="*/ 28 w 418"/>
                <a:gd name="T51" fmla="*/ 313 h 418"/>
                <a:gd name="T52" fmla="*/ 5 w 418"/>
                <a:gd name="T53" fmla="*/ 256 h 418"/>
                <a:gd name="T54" fmla="*/ 1 w 418"/>
                <a:gd name="T55" fmla="*/ 192 h 418"/>
                <a:gd name="T56" fmla="*/ 14 w 418"/>
                <a:gd name="T57" fmla="*/ 133 h 418"/>
                <a:gd name="T58" fmla="*/ 45 w 418"/>
                <a:gd name="T59" fmla="*/ 80 h 418"/>
                <a:gd name="T60" fmla="*/ 89 w 418"/>
                <a:gd name="T61" fmla="*/ 39 h 418"/>
                <a:gd name="T62" fmla="*/ 143 w 418"/>
                <a:gd name="T63" fmla="*/ 12 h 418"/>
                <a:gd name="T64" fmla="*/ 205 w 418"/>
                <a:gd name="T65" fmla="*/ 0 h 418"/>
                <a:gd name="T66" fmla="*/ 266 w 418"/>
                <a:gd name="T67" fmla="*/ 8 h 418"/>
                <a:gd name="T68" fmla="*/ 322 w 418"/>
                <a:gd name="T69" fmla="*/ 33 h 418"/>
                <a:gd name="T70" fmla="*/ 368 w 418"/>
                <a:gd name="T71" fmla="*/ 73 h 418"/>
                <a:gd name="T72" fmla="*/ 401 w 418"/>
                <a:gd name="T73" fmla="*/ 124 h 418"/>
                <a:gd name="T74" fmla="*/ 417 w 418"/>
                <a:gd name="T75" fmla="*/ 185 h 418"/>
                <a:gd name="T76" fmla="*/ 415 w 418"/>
                <a:gd name="T77" fmla="*/ 247 h 418"/>
                <a:gd name="T78" fmla="*/ 396 w 418"/>
                <a:gd name="T79" fmla="*/ 305 h 418"/>
                <a:gd name="T80" fmla="*/ 360 w 418"/>
                <a:gd name="T81" fmla="*/ 353 h 418"/>
                <a:gd name="T82" fmla="*/ 313 w 418"/>
                <a:gd name="T83" fmla="*/ 391 h 418"/>
                <a:gd name="T84" fmla="*/ 256 w 418"/>
                <a:gd name="T85" fmla="*/ 413 h 4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418" h="418">
                  <a:moveTo>
                    <a:pt x="189" y="39"/>
                  </a:moveTo>
                  <a:lnTo>
                    <a:pt x="171" y="42"/>
                  </a:lnTo>
                  <a:lnTo>
                    <a:pt x="154" y="47"/>
                  </a:lnTo>
                  <a:lnTo>
                    <a:pt x="139" y="53"/>
                  </a:lnTo>
                  <a:lnTo>
                    <a:pt x="124" y="61"/>
                  </a:lnTo>
                  <a:lnTo>
                    <a:pt x="111" y="70"/>
                  </a:lnTo>
                  <a:lnTo>
                    <a:pt x="98" y="80"/>
                  </a:lnTo>
                  <a:lnTo>
                    <a:pt x="85" y="92"/>
                  </a:lnTo>
                  <a:lnTo>
                    <a:pt x="74" y="104"/>
                  </a:lnTo>
                  <a:lnTo>
                    <a:pt x="65" y="118"/>
                  </a:lnTo>
                  <a:lnTo>
                    <a:pt x="57" y="132"/>
                  </a:lnTo>
                  <a:lnTo>
                    <a:pt x="51" y="147"/>
                  </a:lnTo>
                  <a:lnTo>
                    <a:pt x="45" y="163"/>
                  </a:lnTo>
                  <a:lnTo>
                    <a:pt x="41" y="179"/>
                  </a:lnTo>
                  <a:lnTo>
                    <a:pt x="39" y="196"/>
                  </a:lnTo>
                  <a:lnTo>
                    <a:pt x="38" y="213"/>
                  </a:lnTo>
                  <a:lnTo>
                    <a:pt x="39" y="231"/>
                  </a:lnTo>
                  <a:lnTo>
                    <a:pt x="43" y="247"/>
                  </a:lnTo>
                  <a:lnTo>
                    <a:pt x="47" y="264"/>
                  </a:lnTo>
                  <a:lnTo>
                    <a:pt x="53" y="280"/>
                  </a:lnTo>
                  <a:lnTo>
                    <a:pt x="61" y="294"/>
                  </a:lnTo>
                  <a:lnTo>
                    <a:pt x="70" y="309"/>
                  </a:lnTo>
                  <a:lnTo>
                    <a:pt x="80" y="321"/>
                  </a:lnTo>
                  <a:lnTo>
                    <a:pt x="92" y="333"/>
                  </a:lnTo>
                  <a:lnTo>
                    <a:pt x="104" y="344"/>
                  </a:lnTo>
                  <a:lnTo>
                    <a:pt x="117" y="353"/>
                  </a:lnTo>
                  <a:lnTo>
                    <a:pt x="132" y="362"/>
                  </a:lnTo>
                  <a:lnTo>
                    <a:pt x="146" y="369"/>
                  </a:lnTo>
                  <a:lnTo>
                    <a:pt x="163" y="374"/>
                  </a:lnTo>
                  <a:lnTo>
                    <a:pt x="179" y="378"/>
                  </a:lnTo>
                  <a:lnTo>
                    <a:pt x="196" y="380"/>
                  </a:lnTo>
                  <a:lnTo>
                    <a:pt x="212" y="380"/>
                  </a:lnTo>
                  <a:lnTo>
                    <a:pt x="230" y="379"/>
                  </a:lnTo>
                  <a:lnTo>
                    <a:pt x="247" y="377"/>
                  </a:lnTo>
                  <a:lnTo>
                    <a:pt x="264" y="372"/>
                  </a:lnTo>
                  <a:lnTo>
                    <a:pt x="279" y="365"/>
                  </a:lnTo>
                  <a:lnTo>
                    <a:pt x="295" y="358"/>
                  </a:lnTo>
                  <a:lnTo>
                    <a:pt x="309" y="349"/>
                  </a:lnTo>
                  <a:lnTo>
                    <a:pt x="322" y="339"/>
                  </a:lnTo>
                  <a:lnTo>
                    <a:pt x="333" y="327"/>
                  </a:lnTo>
                  <a:lnTo>
                    <a:pt x="344" y="314"/>
                  </a:lnTo>
                  <a:lnTo>
                    <a:pt x="353" y="301"/>
                  </a:lnTo>
                  <a:lnTo>
                    <a:pt x="362" y="287"/>
                  </a:lnTo>
                  <a:lnTo>
                    <a:pt x="369" y="272"/>
                  </a:lnTo>
                  <a:lnTo>
                    <a:pt x="373" y="257"/>
                  </a:lnTo>
                  <a:lnTo>
                    <a:pt x="378" y="240"/>
                  </a:lnTo>
                  <a:lnTo>
                    <a:pt x="379" y="224"/>
                  </a:lnTo>
                  <a:lnTo>
                    <a:pt x="380" y="206"/>
                  </a:lnTo>
                  <a:lnTo>
                    <a:pt x="379" y="188"/>
                  </a:lnTo>
                  <a:lnTo>
                    <a:pt x="376" y="172"/>
                  </a:lnTo>
                  <a:lnTo>
                    <a:pt x="371" y="156"/>
                  </a:lnTo>
                  <a:lnTo>
                    <a:pt x="365" y="139"/>
                  </a:lnTo>
                  <a:lnTo>
                    <a:pt x="358" y="125"/>
                  </a:lnTo>
                  <a:lnTo>
                    <a:pt x="349" y="111"/>
                  </a:lnTo>
                  <a:lnTo>
                    <a:pt x="338" y="98"/>
                  </a:lnTo>
                  <a:lnTo>
                    <a:pt x="328" y="86"/>
                  </a:lnTo>
                  <a:lnTo>
                    <a:pt x="315" y="74"/>
                  </a:lnTo>
                  <a:lnTo>
                    <a:pt x="302" y="65"/>
                  </a:lnTo>
                  <a:lnTo>
                    <a:pt x="287" y="57"/>
                  </a:lnTo>
                  <a:lnTo>
                    <a:pt x="272" y="51"/>
                  </a:lnTo>
                  <a:lnTo>
                    <a:pt x="256" y="45"/>
                  </a:lnTo>
                  <a:lnTo>
                    <a:pt x="240" y="41"/>
                  </a:lnTo>
                  <a:lnTo>
                    <a:pt x="223" y="39"/>
                  </a:lnTo>
                  <a:lnTo>
                    <a:pt x="206" y="38"/>
                  </a:lnTo>
                  <a:lnTo>
                    <a:pt x="189" y="39"/>
                  </a:lnTo>
                  <a:close/>
                  <a:moveTo>
                    <a:pt x="235" y="417"/>
                  </a:moveTo>
                  <a:lnTo>
                    <a:pt x="213" y="418"/>
                  </a:lnTo>
                  <a:lnTo>
                    <a:pt x="192" y="418"/>
                  </a:lnTo>
                  <a:lnTo>
                    <a:pt x="172" y="416"/>
                  </a:lnTo>
                  <a:lnTo>
                    <a:pt x="152" y="411"/>
                  </a:lnTo>
                  <a:lnTo>
                    <a:pt x="133" y="404"/>
                  </a:lnTo>
                  <a:lnTo>
                    <a:pt x="114" y="396"/>
                  </a:lnTo>
                  <a:lnTo>
                    <a:pt x="97" y="385"/>
                  </a:lnTo>
                  <a:lnTo>
                    <a:pt x="80" y="374"/>
                  </a:lnTo>
                  <a:lnTo>
                    <a:pt x="65" y="362"/>
                  </a:lnTo>
                  <a:lnTo>
                    <a:pt x="51" y="346"/>
                  </a:lnTo>
                  <a:lnTo>
                    <a:pt x="39" y="331"/>
                  </a:lnTo>
                  <a:lnTo>
                    <a:pt x="28" y="313"/>
                  </a:lnTo>
                  <a:lnTo>
                    <a:pt x="19" y="296"/>
                  </a:lnTo>
                  <a:lnTo>
                    <a:pt x="11" y="276"/>
                  </a:lnTo>
                  <a:lnTo>
                    <a:pt x="5" y="256"/>
                  </a:lnTo>
                  <a:lnTo>
                    <a:pt x="1" y="234"/>
                  </a:lnTo>
                  <a:lnTo>
                    <a:pt x="0" y="213"/>
                  </a:lnTo>
                  <a:lnTo>
                    <a:pt x="1" y="192"/>
                  </a:lnTo>
                  <a:lnTo>
                    <a:pt x="4" y="172"/>
                  </a:lnTo>
                  <a:lnTo>
                    <a:pt x="8" y="152"/>
                  </a:lnTo>
                  <a:lnTo>
                    <a:pt x="14" y="133"/>
                  </a:lnTo>
                  <a:lnTo>
                    <a:pt x="23" y="114"/>
                  </a:lnTo>
                  <a:lnTo>
                    <a:pt x="33" y="97"/>
                  </a:lnTo>
                  <a:lnTo>
                    <a:pt x="45" y="80"/>
                  </a:lnTo>
                  <a:lnTo>
                    <a:pt x="58" y="66"/>
                  </a:lnTo>
                  <a:lnTo>
                    <a:pt x="72" y="52"/>
                  </a:lnTo>
                  <a:lnTo>
                    <a:pt x="89" y="39"/>
                  </a:lnTo>
                  <a:lnTo>
                    <a:pt x="105" y="28"/>
                  </a:lnTo>
                  <a:lnTo>
                    <a:pt x="124" y="19"/>
                  </a:lnTo>
                  <a:lnTo>
                    <a:pt x="143" y="12"/>
                  </a:lnTo>
                  <a:lnTo>
                    <a:pt x="163" y="6"/>
                  </a:lnTo>
                  <a:lnTo>
                    <a:pt x="184" y="2"/>
                  </a:lnTo>
                  <a:lnTo>
                    <a:pt x="205" y="0"/>
                  </a:lnTo>
                  <a:lnTo>
                    <a:pt x="226" y="1"/>
                  </a:lnTo>
                  <a:lnTo>
                    <a:pt x="247" y="4"/>
                  </a:lnTo>
                  <a:lnTo>
                    <a:pt x="266" y="8"/>
                  </a:lnTo>
                  <a:lnTo>
                    <a:pt x="286" y="15"/>
                  </a:lnTo>
                  <a:lnTo>
                    <a:pt x="304" y="24"/>
                  </a:lnTo>
                  <a:lnTo>
                    <a:pt x="322" y="33"/>
                  </a:lnTo>
                  <a:lnTo>
                    <a:pt x="338" y="45"/>
                  </a:lnTo>
                  <a:lnTo>
                    <a:pt x="353" y="58"/>
                  </a:lnTo>
                  <a:lnTo>
                    <a:pt x="368" y="73"/>
                  </a:lnTo>
                  <a:lnTo>
                    <a:pt x="379" y="88"/>
                  </a:lnTo>
                  <a:lnTo>
                    <a:pt x="391" y="106"/>
                  </a:lnTo>
                  <a:lnTo>
                    <a:pt x="401" y="124"/>
                  </a:lnTo>
                  <a:lnTo>
                    <a:pt x="408" y="143"/>
                  </a:lnTo>
                  <a:lnTo>
                    <a:pt x="413" y="164"/>
                  </a:lnTo>
                  <a:lnTo>
                    <a:pt x="417" y="185"/>
                  </a:lnTo>
                  <a:lnTo>
                    <a:pt x="418" y="206"/>
                  </a:lnTo>
                  <a:lnTo>
                    <a:pt x="418" y="226"/>
                  </a:lnTo>
                  <a:lnTo>
                    <a:pt x="415" y="247"/>
                  </a:lnTo>
                  <a:lnTo>
                    <a:pt x="410" y="267"/>
                  </a:lnTo>
                  <a:lnTo>
                    <a:pt x="404" y="286"/>
                  </a:lnTo>
                  <a:lnTo>
                    <a:pt x="396" y="305"/>
                  </a:lnTo>
                  <a:lnTo>
                    <a:pt x="385" y="321"/>
                  </a:lnTo>
                  <a:lnTo>
                    <a:pt x="373" y="338"/>
                  </a:lnTo>
                  <a:lnTo>
                    <a:pt x="360" y="353"/>
                  </a:lnTo>
                  <a:lnTo>
                    <a:pt x="346" y="367"/>
                  </a:lnTo>
                  <a:lnTo>
                    <a:pt x="330" y="380"/>
                  </a:lnTo>
                  <a:lnTo>
                    <a:pt x="313" y="391"/>
                  </a:lnTo>
                  <a:lnTo>
                    <a:pt x="295" y="400"/>
                  </a:lnTo>
                  <a:lnTo>
                    <a:pt x="276" y="407"/>
                  </a:lnTo>
                  <a:lnTo>
                    <a:pt x="256" y="413"/>
                  </a:lnTo>
                  <a:lnTo>
                    <a:pt x="235" y="417"/>
                  </a:lnTo>
                  <a:close/>
                </a:path>
              </a:pathLst>
            </a:custGeom>
            <a:solidFill>
              <a:srgbClr val="B34E4B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6653" tIns="58327" rIns="116653" bIns="58327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434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137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70" name="Freeform 140"/>
            <p:cNvSpPr>
              <a:spLocks/>
            </p:cNvSpPr>
            <p:nvPr/>
          </p:nvSpPr>
          <p:spPr bwMode="auto">
            <a:xfrm>
              <a:off x="4031" y="2050"/>
              <a:ext cx="55" cy="55"/>
            </a:xfrm>
            <a:custGeom>
              <a:avLst/>
              <a:gdLst>
                <a:gd name="T0" fmla="*/ 176 w 220"/>
                <a:gd name="T1" fmla="*/ 103 h 219"/>
                <a:gd name="T2" fmla="*/ 160 w 220"/>
                <a:gd name="T3" fmla="*/ 101 h 219"/>
                <a:gd name="T4" fmla="*/ 147 w 220"/>
                <a:gd name="T5" fmla="*/ 97 h 219"/>
                <a:gd name="T6" fmla="*/ 134 w 220"/>
                <a:gd name="T7" fmla="*/ 91 h 219"/>
                <a:gd name="T8" fmla="*/ 123 w 220"/>
                <a:gd name="T9" fmla="*/ 81 h 219"/>
                <a:gd name="T10" fmla="*/ 114 w 220"/>
                <a:gd name="T11" fmla="*/ 71 h 219"/>
                <a:gd name="T12" fmla="*/ 107 w 220"/>
                <a:gd name="T13" fmla="*/ 59 h 219"/>
                <a:gd name="T14" fmla="*/ 103 w 220"/>
                <a:gd name="T15" fmla="*/ 45 h 219"/>
                <a:gd name="T16" fmla="*/ 100 w 220"/>
                <a:gd name="T17" fmla="*/ 27 h 219"/>
                <a:gd name="T18" fmla="*/ 104 w 220"/>
                <a:gd name="T19" fmla="*/ 8 h 219"/>
                <a:gd name="T20" fmla="*/ 101 w 220"/>
                <a:gd name="T21" fmla="*/ 0 h 219"/>
                <a:gd name="T22" fmla="*/ 86 w 220"/>
                <a:gd name="T23" fmla="*/ 3 h 219"/>
                <a:gd name="T24" fmla="*/ 65 w 220"/>
                <a:gd name="T25" fmla="*/ 10 h 219"/>
                <a:gd name="T26" fmla="*/ 47 w 220"/>
                <a:gd name="T27" fmla="*/ 20 h 219"/>
                <a:gd name="T28" fmla="*/ 31 w 220"/>
                <a:gd name="T29" fmla="*/ 34 h 219"/>
                <a:gd name="T30" fmla="*/ 18 w 220"/>
                <a:gd name="T31" fmla="*/ 51 h 219"/>
                <a:gd name="T32" fmla="*/ 8 w 220"/>
                <a:gd name="T33" fmla="*/ 70 h 219"/>
                <a:gd name="T34" fmla="*/ 2 w 220"/>
                <a:gd name="T35" fmla="*/ 90 h 219"/>
                <a:gd name="T36" fmla="*/ 0 w 220"/>
                <a:gd name="T37" fmla="*/ 112 h 219"/>
                <a:gd name="T38" fmla="*/ 4 w 220"/>
                <a:gd name="T39" fmla="*/ 134 h 219"/>
                <a:gd name="T40" fmla="*/ 10 w 220"/>
                <a:gd name="T41" fmla="*/ 154 h 219"/>
                <a:gd name="T42" fmla="*/ 21 w 220"/>
                <a:gd name="T43" fmla="*/ 173 h 219"/>
                <a:gd name="T44" fmla="*/ 34 w 220"/>
                <a:gd name="T45" fmla="*/ 190 h 219"/>
                <a:gd name="T46" fmla="*/ 51 w 220"/>
                <a:gd name="T47" fmla="*/ 203 h 219"/>
                <a:gd name="T48" fmla="*/ 70 w 220"/>
                <a:gd name="T49" fmla="*/ 212 h 219"/>
                <a:gd name="T50" fmla="*/ 91 w 220"/>
                <a:gd name="T51" fmla="*/ 218 h 219"/>
                <a:gd name="T52" fmla="*/ 112 w 220"/>
                <a:gd name="T53" fmla="*/ 219 h 219"/>
                <a:gd name="T54" fmla="*/ 134 w 220"/>
                <a:gd name="T55" fmla="*/ 217 h 219"/>
                <a:gd name="T56" fmla="*/ 156 w 220"/>
                <a:gd name="T57" fmla="*/ 210 h 219"/>
                <a:gd name="T58" fmla="*/ 174 w 220"/>
                <a:gd name="T59" fmla="*/ 199 h 219"/>
                <a:gd name="T60" fmla="*/ 190 w 220"/>
                <a:gd name="T61" fmla="*/ 185 h 219"/>
                <a:gd name="T62" fmla="*/ 203 w 220"/>
                <a:gd name="T63" fmla="*/ 169 h 219"/>
                <a:gd name="T64" fmla="*/ 213 w 220"/>
                <a:gd name="T65" fmla="*/ 150 h 219"/>
                <a:gd name="T66" fmla="*/ 219 w 220"/>
                <a:gd name="T67" fmla="*/ 130 h 219"/>
                <a:gd name="T68" fmla="*/ 220 w 220"/>
                <a:gd name="T69" fmla="*/ 107 h 219"/>
                <a:gd name="T70" fmla="*/ 219 w 220"/>
                <a:gd name="T71" fmla="*/ 92 h 219"/>
                <a:gd name="T72" fmla="*/ 210 w 220"/>
                <a:gd name="T73" fmla="*/ 92 h 219"/>
                <a:gd name="T74" fmla="*/ 192 w 220"/>
                <a:gd name="T75" fmla="*/ 100 h 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220" h="219">
                  <a:moveTo>
                    <a:pt x="183" y="101"/>
                  </a:moveTo>
                  <a:lnTo>
                    <a:pt x="176" y="103"/>
                  </a:lnTo>
                  <a:lnTo>
                    <a:pt x="167" y="103"/>
                  </a:lnTo>
                  <a:lnTo>
                    <a:pt x="160" y="101"/>
                  </a:lnTo>
                  <a:lnTo>
                    <a:pt x="153" y="99"/>
                  </a:lnTo>
                  <a:lnTo>
                    <a:pt x="147" y="97"/>
                  </a:lnTo>
                  <a:lnTo>
                    <a:pt x="140" y="94"/>
                  </a:lnTo>
                  <a:lnTo>
                    <a:pt x="134" y="91"/>
                  </a:lnTo>
                  <a:lnTo>
                    <a:pt x="128" y="86"/>
                  </a:lnTo>
                  <a:lnTo>
                    <a:pt x="123" y="81"/>
                  </a:lnTo>
                  <a:lnTo>
                    <a:pt x="118" y="77"/>
                  </a:lnTo>
                  <a:lnTo>
                    <a:pt x="114" y="71"/>
                  </a:lnTo>
                  <a:lnTo>
                    <a:pt x="110" y="65"/>
                  </a:lnTo>
                  <a:lnTo>
                    <a:pt x="107" y="59"/>
                  </a:lnTo>
                  <a:lnTo>
                    <a:pt x="104" y="52"/>
                  </a:lnTo>
                  <a:lnTo>
                    <a:pt x="103" y="45"/>
                  </a:lnTo>
                  <a:lnTo>
                    <a:pt x="100" y="38"/>
                  </a:lnTo>
                  <a:lnTo>
                    <a:pt x="100" y="27"/>
                  </a:lnTo>
                  <a:lnTo>
                    <a:pt x="101" y="18"/>
                  </a:lnTo>
                  <a:lnTo>
                    <a:pt x="104" y="8"/>
                  </a:lnTo>
                  <a:lnTo>
                    <a:pt x="106" y="0"/>
                  </a:lnTo>
                  <a:lnTo>
                    <a:pt x="101" y="0"/>
                  </a:lnTo>
                  <a:lnTo>
                    <a:pt x="97" y="0"/>
                  </a:lnTo>
                  <a:lnTo>
                    <a:pt x="86" y="3"/>
                  </a:lnTo>
                  <a:lnTo>
                    <a:pt x="75" y="5"/>
                  </a:lnTo>
                  <a:lnTo>
                    <a:pt x="65" y="10"/>
                  </a:lnTo>
                  <a:lnTo>
                    <a:pt x="55" y="14"/>
                  </a:lnTo>
                  <a:lnTo>
                    <a:pt x="47" y="20"/>
                  </a:lnTo>
                  <a:lnTo>
                    <a:pt x="38" y="26"/>
                  </a:lnTo>
                  <a:lnTo>
                    <a:pt x="31" y="34"/>
                  </a:lnTo>
                  <a:lnTo>
                    <a:pt x="24" y="41"/>
                  </a:lnTo>
                  <a:lnTo>
                    <a:pt x="18" y="51"/>
                  </a:lnTo>
                  <a:lnTo>
                    <a:pt x="12" y="59"/>
                  </a:lnTo>
                  <a:lnTo>
                    <a:pt x="8" y="70"/>
                  </a:lnTo>
                  <a:lnTo>
                    <a:pt x="5" y="79"/>
                  </a:lnTo>
                  <a:lnTo>
                    <a:pt x="2" y="90"/>
                  </a:lnTo>
                  <a:lnTo>
                    <a:pt x="1" y="100"/>
                  </a:lnTo>
                  <a:lnTo>
                    <a:pt x="0" y="112"/>
                  </a:lnTo>
                  <a:lnTo>
                    <a:pt x="1" y="123"/>
                  </a:lnTo>
                  <a:lnTo>
                    <a:pt x="4" y="134"/>
                  </a:lnTo>
                  <a:lnTo>
                    <a:pt x="6" y="145"/>
                  </a:lnTo>
                  <a:lnTo>
                    <a:pt x="10" y="154"/>
                  </a:lnTo>
                  <a:lnTo>
                    <a:pt x="15" y="164"/>
                  </a:lnTo>
                  <a:lnTo>
                    <a:pt x="21" y="173"/>
                  </a:lnTo>
                  <a:lnTo>
                    <a:pt x="27" y="181"/>
                  </a:lnTo>
                  <a:lnTo>
                    <a:pt x="34" y="190"/>
                  </a:lnTo>
                  <a:lnTo>
                    <a:pt x="43" y="196"/>
                  </a:lnTo>
                  <a:lnTo>
                    <a:pt x="51" y="203"/>
                  </a:lnTo>
                  <a:lnTo>
                    <a:pt x="60" y="207"/>
                  </a:lnTo>
                  <a:lnTo>
                    <a:pt x="70" y="212"/>
                  </a:lnTo>
                  <a:lnTo>
                    <a:pt x="80" y="216"/>
                  </a:lnTo>
                  <a:lnTo>
                    <a:pt x="91" y="218"/>
                  </a:lnTo>
                  <a:lnTo>
                    <a:pt x="101" y="219"/>
                  </a:lnTo>
                  <a:lnTo>
                    <a:pt x="112" y="219"/>
                  </a:lnTo>
                  <a:lnTo>
                    <a:pt x="124" y="219"/>
                  </a:lnTo>
                  <a:lnTo>
                    <a:pt x="134" y="217"/>
                  </a:lnTo>
                  <a:lnTo>
                    <a:pt x="145" y="214"/>
                  </a:lnTo>
                  <a:lnTo>
                    <a:pt x="156" y="210"/>
                  </a:lnTo>
                  <a:lnTo>
                    <a:pt x="165" y="205"/>
                  </a:lnTo>
                  <a:lnTo>
                    <a:pt x="174" y="199"/>
                  </a:lnTo>
                  <a:lnTo>
                    <a:pt x="183" y="193"/>
                  </a:lnTo>
                  <a:lnTo>
                    <a:pt x="190" y="185"/>
                  </a:lnTo>
                  <a:lnTo>
                    <a:pt x="197" y="178"/>
                  </a:lnTo>
                  <a:lnTo>
                    <a:pt x="203" y="169"/>
                  </a:lnTo>
                  <a:lnTo>
                    <a:pt x="209" y="159"/>
                  </a:lnTo>
                  <a:lnTo>
                    <a:pt x="213" y="150"/>
                  </a:lnTo>
                  <a:lnTo>
                    <a:pt x="216" y="140"/>
                  </a:lnTo>
                  <a:lnTo>
                    <a:pt x="219" y="130"/>
                  </a:lnTo>
                  <a:lnTo>
                    <a:pt x="220" y="119"/>
                  </a:lnTo>
                  <a:lnTo>
                    <a:pt x="220" y="107"/>
                  </a:lnTo>
                  <a:lnTo>
                    <a:pt x="219" y="97"/>
                  </a:lnTo>
                  <a:lnTo>
                    <a:pt x="219" y="92"/>
                  </a:lnTo>
                  <a:lnTo>
                    <a:pt x="218" y="87"/>
                  </a:lnTo>
                  <a:lnTo>
                    <a:pt x="210" y="92"/>
                  </a:lnTo>
                  <a:lnTo>
                    <a:pt x="201" y="97"/>
                  </a:lnTo>
                  <a:lnTo>
                    <a:pt x="192" y="100"/>
                  </a:lnTo>
                  <a:lnTo>
                    <a:pt x="183" y="101"/>
                  </a:lnTo>
                  <a:close/>
                </a:path>
              </a:pathLst>
            </a:custGeom>
            <a:solidFill>
              <a:srgbClr val="655349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6653" tIns="58327" rIns="116653" bIns="58327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434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137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71" name="Freeform 141"/>
            <p:cNvSpPr>
              <a:spLocks/>
            </p:cNvSpPr>
            <p:nvPr/>
          </p:nvSpPr>
          <p:spPr bwMode="auto">
            <a:xfrm>
              <a:off x="3895" y="2044"/>
              <a:ext cx="95" cy="95"/>
            </a:xfrm>
            <a:custGeom>
              <a:avLst/>
              <a:gdLst>
                <a:gd name="T0" fmla="*/ 379 w 379"/>
                <a:gd name="T1" fmla="*/ 188 h 381"/>
                <a:gd name="T2" fmla="*/ 376 w 379"/>
                <a:gd name="T3" fmla="*/ 225 h 381"/>
                <a:gd name="T4" fmla="*/ 366 w 379"/>
                <a:gd name="T5" fmla="*/ 261 h 381"/>
                <a:gd name="T6" fmla="*/ 349 w 379"/>
                <a:gd name="T7" fmla="*/ 292 h 381"/>
                <a:gd name="T8" fmla="*/ 327 w 379"/>
                <a:gd name="T9" fmla="*/ 322 h 381"/>
                <a:gd name="T10" fmla="*/ 299 w 379"/>
                <a:gd name="T11" fmla="*/ 345 h 381"/>
                <a:gd name="T12" fmla="*/ 267 w 379"/>
                <a:gd name="T13" fmla="*/ 364 h 381"/>
                <a:gd name="T14" fmla="*/ 232 w 379"/>
                <a:gd name="T15" fmla="*/ 376 h 381"/>
                <a:gd name="T16" fmla="*/ 193 w 379"/>
                <a:gd name="T17" fmla="*/ 381 h 381"/>
                <a:gd name="T18" fmla="*/ 155 w 379"/>
                <a:gd name="T19" fmla="*/ 377 h 381"/>
                <a:gd name="T20" fmla="*/ 120 w 379"/>
                <a:gd name="T21" fmla="*/ 368 h 381"/>
                <a:gd name="T22" fmla="*/ 87 w 379"/>
                <a:gd name="T23" fmla="*/ 351 h 381"/>
                <a:gd name="T24" fmla="*/ 59 w 379"/>
                <a:gd name="T25" fmla="*/ 329 h 381"/>
                <a:gd name="T26" fmla="*/ 34 w 379"/>
                <a:gd name="T27" fmla="*/ 301 h 381"/>
                <a:gd name="T28" fmla="*/ 16 w 379"/>
                <a:gd name="T29" fmla="*/ 269 h 381"/>
                <a:gd name="T30" fmla="*/ 4 w 379"/>
                <a:gd name="T31" fmla="*/ 232 h 381"/>
                <a:gd name="T32" fmla="*/ 0 w 379"/>
                <a:gd name="T33" fmla="*/ 195 h 381"/>
                <a:gd name="T34" fmla="*/ 2 w 379"/>
                <a:gd name="T35" fmla="*/ 157 h 381"/>
                <a:gd name="T36" fmla="*/ 13 w 379"/>
                <a:gd name="T37" fmla="*/ 121 h 381"/>
                <a:gd name="T38" fmla="*/ 29 w 379"/>
                <a:gd name="T39" fmla="*/ 89 h 381"/>
                <a:gd name="T40" fmla="*/ 52 w 379"/>
                <a:gd name="T41" fmla="*/ 59 h 381"/>
                <a:gd name="T42" fmla="*/ 79 w 379"/>
                <a:gd name="T43" fmla="*/ 36 h 381"/>
                <a:gd name="T44" fmla="*/ 112 w 379"/>
                <a:gd name="T45" fmla="*/ 17 h 381"/>
                <a:gd name="T46" fmla="*/ 147 w 379"/>
                <a:gd name="T47" fmla="*/ 5 h 381"/>
                <a:gd name="T48" fmla="*/ 186 w 379"/>
                <a:gd name="T49" fmla="*/ 0 h 381"/>
                <a:gd name="T50" fmla="*/ 223 w 379"/>
                <a:gd name="T51" fmla="*/ 3 h 381"/>
                <a:gd name="T52" fmla="*/ 259 w 379"/>
                <a:gd name="T53" fmla="*/ 13 h 381"/>
                <a:gd name="T54" fmla="*/ 292 w 379"/>
                <a:gd name="T55" fmla="*/ 30 h 381"/>
                <a:gd name="T56" fmla="*/ 320 w 379"/>
                <a:gd name="T57" fmla="*/ 53 h 381"/>
                <a:gd name="T58" fmla="*/ 345 w 379"/>
                <a:gd name="T59" fmla="*/ 81 h 381"/>
                <a:gd name="T60" fmla="*/ 362 w 379"/>
                <a:gd name="T61" fmla="*/ 112 h 381"/>
                <a:gd name="T62" fmla="*/ 375 w 379"/>
                <a:gd name="T63" fmla="*/ 149 h 3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379" h="381">
                  <a:moveTo>
                    <a:pt x="378" y="168"/>
                  </a:moveTo>
                  <a:lnTo>
                    <a:pt x="379" y="188"/>
                  </a:lnTo>
                  <a:lnTo>
                    <a:pt x="379" y="206"/>
                  </a:lnTo>
                  <a:lnTo>
                    <a:pt x="376" y="225"/>
                  </a:lnTo>
                  <a:lnTo>
                    <a:pt x="372" y="243"/>
                  </a:lnTo>
                  <a:lnTo>
                    <a:pt x="366" y="261"/>
                  </a:lnTo>
                  <a:lnTo>
                    <a:pt x="359" y="277"/>
                  </a:lnTo>
                  <a:lnTo>
                    <a:pt x="349" y="292"/>
                  </a:lnTo>
                  <a:lnTo>
                    <a:pt x="339" y="308"/>
                  </a:lnTo>
                  <a:lnTo>
                    <a:pt x="327" y="322"/>
                  </a:lnTo>
                  <a:lnTo>
                    <a:pt x="314" y="334"/>
                  </a:lnTo>
                  <a:lnTo>
                    <a:pt x="299" y="345"/>
                  </a:lnTo>
                  <a:lnTo>
                    <a:pt x="283" y="356"/>
                  </a:lnTo>
                  <a:lnTo>
                    <a:pt x="267" y="364"/>
                  </a:lnTo>
                  <a:lnTo>
                    <a:pt x="249" y="371"/>
                  </a:lnTo>
                  <a:lnTo>
                    <a:pt x="232" y="376"/>
                  </a:lnTo>
                  <a:lnTo>
                    <a:pt x="212" y="380"/>
                  </a:lnTo>
                  <a:lnTo>
                    <a:pt x="193" y="381"/>
                  </a:lnTo>
                  <a:lnTo>
                    <a:pt x="174" y="380"/>
                  </a:lnTo>
                  <a:lnTo>
                    <a:pt x="155" y="377"/>
                  </a:lnTo>
                  <a:lnTo>
                    <a:pt x="138" y="374"/>
                  </a:lnTo>
                  <a:lnTo>
                    <a:pt x="120" y="368"/>
                  </a:lnTo>
                  <a:lnTo>
                    <a:pt x="103" y="359"/>
                  </a:lnTo>
                  <a:lnTo>
                    <a:pt x="87" y="351"/>
                  </a:lnTo>
                  <a:lnTo>
                    <a:pt x="72" y="341"/>
                  </a:lnTo>
                  <a:lnTo>
                    <a:pt x="59" y="329"/>
                  </a:lnTo>
                  <a:lnTo>
                    <a:pt x="46" y="315"/>
                  </a:lnTo>
                  <a:lnTo>
                    <a:pt x="34" y="301"/>
                  </a:lnTo>
                  <a:lnTo>
                    <a:pt x="24" y="285"/>
                  </a:lnTo>
                  <a:lnTo>
                    <a:pt x="16" y="269"/>
                  </a:lnTo>
                  <a:lnTo>
                    <a:pt x="9" y="251"/>
                  </a:lnTo>
                  <a:lnTo>
                    <a:pt x="4" y="232"/>
                  </a:lnTo>
                  <a:lnTo>
                    <a:pt x="1" y="214"/>
                  </a:lnTo>
                  <a:lnTo>
                    <a:pt x="0" y="195"/>
                  </a:lnTo>
                  <a:lnTo>
                    <a:pt x="0" y="175"/>
                  </a:lnTo>
                  <a:lnTo>
                    <a:pt x="2" y="157"/>
                  </a:lnTo>
                  <a:lnTo>
                    <a:pt x="7" y="138"/>
                  </a:lnTo>
                  <a:lnTo>
                    <a:pt x="13" y="121"/>
                  </a:lnTo>
                  <a:lnTo>
                    <a:pt x="20" y="104"/>
                  </a:lnTo>
                  <a:lnTo>
                    <a:pt x="29" y="89"/>
                  </a:lnTo>
                  <a:lnTo>
                    <a:pt x="40" y="73"/>
                  </a:lnTo>
                  <a:lnTo>
                    <a:pt x="52" y="59"/>
                  </a:lnTo>
                  <a:lnTo>
                    <a:pt x="65" y="46"/>
                  </a:lnTo>
                  <a:lnTo>
                    <a:pt x="79" y="36"/>
                  </a:lnTo>
                  <a:lnTo>
                    <a:pt x="95" y="25"/>
                  </a:lnTo>
                  <a:lnTo>
                    <a:pt x="112" y="17"/>
                  </a:lnTo>
                  <a:lnTo>
                    <a:pt x="129" y="10"/>
                  </a:lnTo>
                  <a:lnTo>
                    <a:pt x="147" y="5"/>
                  </a:lnTo>
                  <a:lnTo>
                    <a:pt x="166" y="2"/>
                  </a:lnTo>
                  <a:lnTo>
                    <a:pt x="186" y="0"/>
                  </a:lnTo>
                  <a:lnTo>
                    <a:pt x="205" y="0"/>
                  </a:lnTo>
                  <a:lnTo>
                    <a:pt x="223" y="3"/>
                  </a:lnTo>
                  <a:lnTo>
                    <a:pt x="241" y="8"/>
                  </a:lnTo>
                  <a:lnTo>
                    <a:pt x="259" y="13"/>
                  </a:lnTo>
                  <a:lnTo>
                    <a:pt x="275" y="22"/>
                  </a:lnTo>
                  <a:lnTo>
                    <a:pt x="292" y="30"/>
                  </a:lnTo>
                  <a:lnTo>
                    <a:pt x="307" y="40"/>
                  </a:lnTo>
                  <a:lnTo>
                    <a:pt x="320" y="53"/>
                  </a:lnTo>
                  <a:lnTo>
                    <a:pt x="333" y="66"/>
                  </a:lnTo>
                  <a:lnTo>
                    <a:pt x="345" y="81"/>
                  </a:lnTo>
                  <a:lnTo>
                    <a:pt x="354" y="96"/>
                  </a:lnTo>
                  <a:lnTo>
                    <a:pt x="362" y="112"/>
                  </a:lnTo>
                  <a:lnTo>
                    <a:pt x="369" y="130"/>
                  </a:lnTo>
                  <a:lnTo>
                    <a:pt x="375" y="149"/>
                  </a:lnTo>
                  <a:lnTo>
                    <a:pt x="378" y="168"/>
                  </a:lnTo>
                  <a:close/>
                </a:path>
              </a:pathLst>
            </a:cu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6653" tIns="58327" rIns="116653" bIns="58327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434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137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72" name="Freeform 142"/>
            <p:cNvSpPr>
              <a:spLocks noEditPoints="1"/>
            </p:cNvSpPr>
            <p:nvPr/>
          </p:nvSpPr>
          <p:spPr bwMode="auto">
            <a:xfrm>
              <a:off x="3890" y="2039"/>
              <a:ext cx="105" cy="105"/>
            </a:xfrm>
            <a:custGeom>
              <a:avLst/>
              <a:gdLst>
                <a:gd name="T0" fmla="*/ 155 w 419"/>
                <a:gd name="T1" fmla="*/ 47 h 418"/>
                <a:gd name="T2" fmla="*/ 110 w 419"/>
                <a:gd name="T3" fmla="*/ 69 h 418"/>
                <a:gd name="T4" fmla="*/ 75 w 419"/>
                <a:gd name="T5" fmla="*/ 103 h 418"/>
                <a:gd name="T6" fmla="*/ 50 w 419"/>
                <a:gd name="T7" fmla="*/ 146 h 418"/>
                <a:gd name="T8" fmla="*/ 39 w 419"/>
                <a:gd name="T9" fmla="*/ 195 h 418"/>
                <a:gd name="T10" fmla="*/ 42 w 419"/>
                <a:gd name="T11" fmla="*/ 247 h 418"/>
                <a:gd name="T12" fmla="*/ 61 w 419"/>
                <a:gd name="T13" fmla="*/ 294 h 418"/>
                <a:gd name="T14" fmla="*/ 92 w 419"/>
                <a:gd name="T15" fmla="*/ 333 h 418"/>
                <a:gd name="T16" fmla="*/ 132 w 419"/>
                <a:gd name="T17" fmla="*/ 361 h 418"/>
                <a:gd name="T18" fmla="*/ 179 w 419"/>
                <a:gd name="T19" fmla="*/ 377 h 418"/>
                <a:gd name="T20" fmla="*/ 231 w 419"/>
                <a:gd name="T21" fmla="*/ 379 h 418"/>
                <a:gd name="T22" fmla="*/ 280 w 419"/>
                <a:gd name="T23" fmla="*/ 365 h 418"/>
                <a:gd name="T24" fmla="*/ 321 w 419"/>
                <a:gd name="T25" fmla="*/ 337 h 418"/>
                <a:gd name="T26" fmla="*/ 353 w 419"/>
                <a:gd name="T27" fmla="*/ 301 h 418"/>
                <a:gd name="T28" fmla="*/ 374 w 419"/>
                <a:gd name="T29" fmla="*/ 256 h 418"/>
                <a:gd name="T30" fmla="*/ 380 w 419"/>
                <a:gd name="T31" fmla="*/ 206 h 418"/>
                <a:gd name="T32" fmla="*/ 372 w 419"/>
                <a:gd name="T33" fmla="*/ 154 h 418"/>
                <a:gd name="T34" fmla="*/ 348 w 419"/>
                <a:gd name="T35" fmla="*/ 109 h 418"/>
                <a:gd name="T36" fmla="*/ 314 w 419"/>
                <a:gd name="T37" fmla="*/ 74 h 418"/>
                <a:gd name="T38" fmla="*/ 272 w 419"/>
                <a:gd name="T39" fmla="*/ 49 h 418"/>
                <a:gd name="T40" fmla="*/ 223 w 419"/>
                <a:gd name="T41" fmla="*/ 38 h 418"/>
                <a:gd name="T42" fmla="*/ 234 w 419"/>
                <a:gd name="T43" fmla="*/ 416 h 418"/>
                <a:gd name="T44" fmla="*/ 172 w 419"/>
                <a:gd name="T45" fmla="*/ 414 h 418"/>
                <a:gd name="T46" fmla="*/ 114 w 419"/>
                <a:gd name="T47" fmla="*/ 395 h 418"/>
                <a:gd name="T48" fmla="*/ 66 w 419"/>
                <a:gd name="T49" fmla="*/ 360 h 418"/>
                <a:gd name="T50" fmla="*/ 28 w 419"/>
                <a:gd name="T51" fmla="*/ 313 h 418"/>
                <a:gd name="T52" fmla="*/ 6 w 419"/>
                <a:gd name="T53" fmla="*/ 255 h 418"/>
                <a:gd name="T54" fmla="*/ 1 w 419"/>
                <a:gd name="T55" fmla="*/ 192 h 418"/>
                <a:gd name="T56" fmla="*/ 15 w 419"/>
                <a:gd name="T57" fmla="*/ 131 h 418"/>
                <a:gd name="T58" fmla="*/ 44 w 419"/>
                <a:gd name="T59" fmla="*/ 80 h 418"/>
                <a:gd name="T60" fmla="*/ 88 w 419"/>
                <a:gd name="T61" fmla="*/ 38 h 418"/>
                <a:gd name="T62" fmla="*/ 143 w 419"/>
                <a:gd name="T63" fmla="*/ 10 h 418"/>
                <a:gd name="T64" fmla="*/ 206 w 419"/>
                <a:gd name="T65" fmla="*/ 0 h 418"/>
                <a:gd name="T66" fmla="*/ 267 w 419"/>
                <a:gd name="T67" fmla="*/ 8 h 418"/>
                <a:gd name="T68" fmla="*/ 322 w 419"/>
                <a:gd name="T69" fmla="*/ 33 h 418"/>
                <a:gd name="T70" fmla="*/ 367 w 419"/>
                <a:gd name="T71" fmla="*/ 71 h 418"/>
                <a:gd name="T72" fmla="*/ 400 w 419"/>
                <a:gd name="T73" fmla="*/ 123 h 418"/>
                <a:gd name="T74" fmla="*/ 417 w 419"/>
                <a:gd name="T75" fmla="*/ 183 h 418"/>
                <a:gd name="T76" fmla="*/ 415 w 419"/>
                <a:gd name="T77" fmla="*/ 246 h 418"/>
                <a:gd name="T78" fmla="*/ 395 w 419"/>
                <a:gd name="T79" fmla="*/ 303 h 418"/>
                <a:gd name="T80" fmla="*/ 361 w 419"/>
                <a:gd name="T81" fmla="*/ 353 h 418"/>
                <a:gd name="T82" fmla="*/ 313 w 419"/>
                <a:gd name="T83" fmla="*/ 390 h 418"/>
                <a:gd name="T84" fmla="*/ 255 w 419"/>
                <a:gd name="T85" fmla="*/ 413 h 4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419" h="418">
                  <a:moveTo>
                    <a:pt x="188" y="38"/>
                  </a:moveTo>
                  <a:lnTo>
                    <a:pt x="172" y="42"/>
                  </a:lnTo>
                  <a:lnTo>
                    <a:pt x="155" y="47"/>
                  </a:lnTo>
                  <a:lnTo>
                    <a:pt x="139" y="53"/>
                  </a:lnTo>
                  <a:lnTo>
                    <a:pt x="125" y="60"/>
                  </a:lnTo>
                  <a:lnTo>
                    <a:pt x="110" y="69"/>
                  </a:lnTo>
                  <a:lnTo>
                    <a:pt x="97" y="80"/>
                  </a:lnTo>
                  <a:lnTo>
                    <a:pt x="86" y="90"/>
                  </a:lnTo>
                  <a:lnTo>
                    <a:pt x="75" y="103"/>
                  </a:lnTo>
                  <a:lnTo>
                    <a:pt x="66" y="116"/>
                  </a:lnTo>
                  <a:lnTo>
                    <a:pt x="57" y="131"/>
                  </a:lnTo>
                  <a:lnTo>
                    <a:pt x="50" y="146"/>
                  </a:lnTo>
                  <a:lnTo>
                    <a:pt x="44" y="162"/>
                  </a:lnTo>
                  <a:lnTo>
                    <a:pt x="41" y="179"/>
                  </a:lnTo>
                  <a:lnTo>
                    <a:pt x="39" y="195"/>
                  </a:lnTo>
                  <a:lnTo>
                    <a:pt x="39" y="212"/>
                  </a:lnTo>
                  <a:lnTo>
                    <a:pt x="40" y="229"/>
                  </a:lnTo>
                  <a:lnTo>
                    <a:pt x="42" y="247"/>
                  </a:lnTo>
                  <a:lnTo>
                    <a:pt x="47" y="263"/>
                  </a:lnTo>
                  <a:lnTo>
                    <a:pt x="54" y="279"/>
                  </a:lnTo>
                  <a:lnTo>
                    <a:pt x="61" y="294"/>
                  </a:lnTo>
                  <a:lnTo>
                    <a:pt x="70" y="308"/>
                  </a:lnTo>
                  <a:lnTo>
                    <a:pt x="80" y="321"/>
                  </a:lnTo>
                  <a:lnTo>
                    <a:pt x="92" y="333"/>
                  </a:lnTo>
                  <a:lnTo>
                    <a:pt x="105" y="343"/>
                  </a:lnTo>
                  <a:lnTo>
                    <a:pt x="117" y="353"/>
                  </a:lnTo>
                  <a:lnTo>
                    <a:pt x="132" y="361"/>
                  </a:lnTo>
                  <a:lnTo>
                    <a:pt x="147" y="368"/>
                  </a:lnTo>
                  <a:lnTo>
                    <a:pt x="162" y="373"/>
                  </a:lnTo>
                  <a:lnTo>
                    <a:pt x="179" y="377"/>
                  </a:lnTo>
                  <a:lnTo>
                    <a:pt x="195" y="379"/>
                  </a:lnTo>
                  <a:lnTo>
                    <a:pt x="213" y="380"/>
                  </a:lnTo>
                  <a:lnTo>
                    <a:pt x="231" y="379"/>
                  </a:lnTo>
                  <a:lnTo>
                    <a:pt x="247" y="375"/>
                  </a:lnTo>
                  <a:lnTo>
                    <a:pt x="263" y="370"/>
                  </a:lnTo>
                  <a:lnTo>
                    <a:pt x="280" y="365"/>
                  </a:lnTo>
                  <a:lnTo>
                    <a:pt x="294" y="357"/>
                  </a:lnTo>
                  <a:lnTo>
                    <a:pt x="308" y="348"/>
                  </a:lnTo>
                  <a:lnTo>
                    <a:pt x="321" y="337"/>
                  </a:lnTo>
                  <a:lnTo>
                    <a:pt x="333" y="327"/>
                  </a:lnTo>
                  <a:lnTo>
                    <a:pt x="344" y="314"/>
                  </a:lnTo>
                  <a:lnTo>
                    <a:pt x="353" y="301"/>
                  </a:lnTo>
                  <a:lnTo>
                    <a:pt x="361" y="287"/>
                  </a:lnTo>
                  <a:lnTo>
                    <a:pt x="368" y="272"/>
                  </a:lnTo>
                  <a:lnTo>
                    <a:pt x="374" y="256"/>
                  </a:lnTo>
                  <a:lnTo>
                    <a:pt x="378" y="240"/>
                  </a:lnTo>
                  <a:lnTo>
                    <a:pt x="380" y="222"/>
                  </a:lnTo>
                  <a:lnTo>
                    <a:pt x="380" y="206"/>
                  </a:lnTo>
                  <a:lnTo>
                    <a:pt x="379" y="188"/>
                  </a:lnTo>
                  <a:lnTo>
                    <a:pt x="376" y="170"/>
                  </a:lnTo>
                  <a:lnTo>
                    <a:pt x="372" y="154"/>
                  </a:lnTo>
                  <a:lnTo>
                    <a:pt x="366" y="139"/>
                  </a:lnTo>
                  <a:lnTo>
                    <a:pt x="358" y="123"/>
                  </a:lnTo>
                  <a:lnTo>
                    <a:pt x="348" y="109"/>
                  </a:lnTo>
                  <a:lnTo>
                    <a:pt x="339" y="96"/>
                  </a:lnTo>
                  <a:lnTo>
                    <a:pt x="327" y="84"/>
                  </a:lnTo>
                  <a:lnTo>
                    <a:pt x="314" y="74"/>
                  </a:lnTo>
                  <a:lnTo>
                    <a:pt x="301" y="64"/>
                  </a:lnTo>
                  <a:lnTo>
                    <a:pt x="287" y="56"/>
                  </a:lnTo>
                  <a:lnTo>
                    <a:pt x="272" y="49"/>
                  </a:lnTo>
                  <a:lnTo>
                    <a:pt x="256" y="44"/>
                  </a:lnTo>
                  <a:lnTo>
                    <a:pt x="240" y="41"/>
                  </a:lnTo>
                  <a:lnTo>
                    <a:pt x="223" y="38"/>
                  </a:lnTo>
                  <a:lnTo>
                    <a:pt x="206" y="37"/>
                  </a:lnTo>
                  <a:lnTo>
                    <a:pt x="188" y="38"/>
                  </a:lnTo>
                  <a:close/>
                  <a:moveTo>
                    <a:pt x="234" y="416"/>
                  </a:moveTo>
                  <a:lnTo>
                    <a:pt x="213" y="418"/>
                  </a:lnTo>
                  <a:lnTo>
                    <a:pt x="193" y="418"/>
                  </a:lnTo>
                  <a:lnTo>
                    <a:pt x="172" y="414"/>
                  </a:lnTo>
                  <a:lnTo>
                    <a:pt x="152" y="409"/>
                  </a:lnTo>
                  <a:lnTo>
                    <a:pt x="133" y="403"/>
                  </a:lnTo>
                  <a:lnTo>
                    <a:pt x="114" y="395"/>
                  </a:lnTo>
                  <a:lnTo>
                    <a:pt x="96" y="385"/>
                  </a:lnTo>
                  <a:lnTo>
                    <a:pt x="81" y="373"/>
                  </a:lnTo>
                  <a:lnTo>
                    <a:pt x="66" y="360"/>
                  </a:lnTo>
                  <a:lnTo>
                    <a:pt x="52" y="346"/>
                  </a:lnTo>
                  <a:lnTo>
                    <a:pt x="39" y="329"/>
                  </a:lnTo>
                  <a:lnTo>
                    <a:pt x="28" y="313"/>
                  </a:lnTo>
                  <a:lnTo>
                    <a:pt x="19" y="295"/>
                  </a:lnTo>
                  <a:lnTo>
                    <a:pt x="12" y="275"/>
                  </a:lnTo>
                  <a:lnTo>
                    <a:pt x="6" y="255"/>
                  </a:lnTo>
                  <a:lnTo>
                    <a:pt x="2" y="234"/>
                  </a:lnTo>
                  <a:lnTo>
                    <a:pt x="0" y="213"/>
                  </a:lnTo>
                  <a:lnTo>
                    <a:pt x="1" y="192"/>
                  </a:lnTo>
                  <a:lnTo>
                    <a:pt x="3" y="171"/>
                  </a:lnTo>
                  <a:lnTo>
                    <a:pt x="8" y="151"/>
                  </a:lnTo>
                  <a:lnTo>
                    <a:pt x="15" y="131"/>
                  </a:lnTo>
                  <a:lnTo>
                    <a:pt x="23" y="114"/>
                  </a:lnTo>
                  <a:lnTo>
                    <a:pt x="33" y="96"/>
                  </a:lnTo>
                  <a:lnTo>
                    <a:pt x="44" y="80"/>
                  </a:lnTo>
                  <a:lnTo>
                    <a:pt x="57" y="64"/>
                  </a:lnTo>
                  <a:lnTo>
                    <a:pt x="73" y="50"/>
                  </a:lnTo>
                  <a:lnTo>
                    <a:pt x="88" y="38"/>
                  </a:lnTo>
                  <a:lnTo>
                    <a:pt x="106" y="27"/>
                  </a:lnTo>
                  <a:lnTo>
                    <a:pt x="123" y="18"/>
                  </a:lnTo>
                  <a:lnTo>
                    <a:pt x="143" y="10"/>
                  </a:lnTo>
                  <a:lnTo>
                    <a:pt x="163" y="4"/>
                  </a:lnTo>
                  <a:lnTo>
                    <a:pt x="185" y="1"/>
                  </a:lnTo>
                  <a:lnTo>
                    <a:pt x="206" y="0"/>
                  </a:lnTo>
                  <a:lnTo>
                    <a:pt x="226" y="0"/>
                  </a:lnTo>
                  <a:lnTo>
                    <a:pt x="247" y="3"/>
                  </a:lnTo>
                  <a:lnTo>
                    <a:pt x="267" y="8"/>
                  </a:lnTo>
                  <a:lnTo>
                    <a:pt x="286" y="14"/>
                  </a:lnTo>
                  <a:lnTo>
                    <a:pt x="305" y="22"/>
                  </a:lnTo>
                  <a:lnTo>
                    <a:pt x="322" y="33"/>
                  </a:lnTo>
                  <a:lnTo>
                    <a:pt x="338" y="44"/>
                  </a:lnTo>
                  <a:lnTo>
                    <a:pt x="353" y="57"/>
                  </a:lnTo>
                  <a:lnTo>
                    <a:pt x="367" y="71"/>
                  </a:lnTo>
                  <a:lnTo>
                    <a:pt x="380" y="88"/>
                  </a:lnTo>
                  <a:lnTo>
                    <a:pt x="391" y="104"/>
                  </a:lnTo>
                  <a:lnTo>
                    <a:pt x="400" y="123"/>
                  </a:lnTo>
                  <a:lnTo>
                    <a:pt x="407" y="142"/>
                  </a:lnTo>
                  <a:lnTo>
                    <a:pt x="413" y="162"/>
                  </a:lnTo>
                  <a:lnTo>
                    <a:pt x="417" y="183"/>
                  </a:lnTo>
                  <a:lnTo>
                    <a:pt x="419" y="204"/>
                  </a:lnTo>
                  <a:lnTo>
                    <a:pt x="418" y="226"/>
                  </a:lnTo>
                  <a:lnTo>
                    <a:pt x="415" y="246"/>
                  </a:lnTo>
                  <a:lnTo>
                    <a:pt x="411" y="266"/>
                  </a:lnTo>
                  <a:lnTo>
                    <a:pt x="404" y="286"/>
                  </a:lnTo>
                  <a:lnTo>
                    <a:pt x="395" y="303"/>
                  </a:lnTo>
                  <a:lnTo>
                    <a:pt x="386" y="321"/>
                  </a:lnTo>
                  <a:lnTo>
                    <a:pt x="374" y="337"/>
                  </a:lnTo>
                  <a:lnTo>
                    <a:pt x="361" y="353"/>
                  </a:lnTo>
                  <a:lnTo>
                    <a:pt x="346" y="367"/>
                  </a:lnTo>
                  <a:lnTo>
                    <a:pt x="331" y="379"/>
                  </a:lnTo>
                  <a:lnTo>
                    <a:pt x="313" y="390"/>
                  </a:lnTo>
                  <a:lnTo>
                    <a:pt x="295" y="400"/>
                  </a:lnTo>
                  <a:lnTo>
                    <a:pt x="275" y="407"/>
                  </a:lnTo>
                  <a:lnTo>
                    <a:pt x="255" y="413"/>
                  </a:lnTo>
                  <a:lnTo>
                    <a:pt x="234" y="416"/>
                  </a:lnTo>
                  <a:close/>
                </a:path>
              </a:pathLst>
            </a:custGeom>
            <a:solidFill>
              <a:srgbClr val="B34E4B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6653" tIns="58327" rIns="116653" bIns="58327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434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137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73" name="Freeform 143"/>
            <p:cNvSpPr>
              <a:spLocks/>
            </p:cNvSpPr>
            <p:nvPr/>
          </p:nvSpPr>
          <p:spPr bwMode="auto">
            <a:xfrm>
              <a:off x="3915" y="2064"/>
              <a:ext cx="55" cy="55"/>
            </a:xfrm>
            <a:custGeom>
              <a:avLst/>
              <a:gdLst>
                <a:gd name="T0" fmla="*/ 174 w 219"/>
                <a:gd name="T1" fmla="*/ 102 h 220"/>
                <a:gd name="T2" fmla="*/ 160 w 219"/>
                <a:gd name="T3" fmla="*/ 101 h 220"/>
                <a:gd name="T4" fmla="*/ 146 w 219"/>
                <a:gd name="T5" fmla="*/ 97 h 220"/>
                <a:gd name="T6" fmla="*/ 133 w 219"/>
                <a:gd name="T7" fmla="*/ 91 h 220"/>
                <a:gd name="T8" fmla="*/ 122 w 219"/>
                <a:gd name="T9" fmla="*/ 82 h 220"/>
                <a:gd name="T10" fmla="*/ 113 w 219"/>
                <a:gd name="T11" fmla="*/ 71 h 220"/>
                <a:gd name="T12" fmla="*/ 106 w 219"/>
                <a:gd name="T13" fmla="*/ 58 h 220"/>
                <a:gd name="T14" fmla="*/ 101 w 219"/>
                <a:gd name="T15" fmla="*/ 45 h 220"/>
                <a:gd name="T16" fmla="*/ 100 w 219"/>
                <a:gd name="T17" fmla="*/ 28 h 220"/>
                <a:gd name="T18" fmla="*/ 102 w 219"/>
                <a:gd name="T19" fmla="*/ 9 h 220"/>
                <a:gd name="T20" fmla="*/ 101 w 219"/>
                <a:gd name="T21" fmla="*/ 1 h 220"/>
                <a:gd name="T22" fmla="*/ 85 w 219"/>
                <a:gd name="T23" fmla="*/ 3 h 220"/>
                <a:gd name="T24" fmla="*/ 65 w 219"/>
                <a:gd name="T25" fmla="*/ 9 h 220"/>
                <a:gd name="T26" fmla="*/ 46 w 219"/>
                <a:gd name="T27" fmla="*/ 20 h 220"/>
                <a:gd name="T28" fmla="*/ 29 w 219"/>
                <a:gd name="T29" fmla="*/ 34 h 220"/>
                <a:gd name="T30" fmla="*/ 16 w 219"/>
                <a:gd name="T31" fmla="*/ 50 h 220"/>
                <a:gd name="T32" fmla="*/ 7 w 219"/>
                <a:gd name="T33" fmla="*/ 69 h 220"/>
                <a:gd name="T34" fmla="*/ 1 w 219"/>
                <a:gd name="T35" fmla="*/ 90 h 220"/>
                <a:gd name="T36" fmla="*/ 0 w 219"/>
                <a:gd name="T37" fmla="*/ 111 h 220"/>
                <a:gd name="T38" fmla="*/ 2 w 219"/>
                <a:gd name="T39" fmla="*/ 134 h 220"/>
                <a:gd name="T40" fmla="*/ 9 w 219"/>
                <a:gd name="T41" fmla="*/ 155 h 220"/>
                <a:gd name="T42" fmla="*/ 20 w 219"/>
                <a:gd name="T43" fmla="*/ 174 h 220"/>
                <a:gd name="T44" fmla="*/ 34 w 219"/>
                <a:gd name="T45" fmla="*/ 189 h 220"/>
                <a:gd name="T46" fmla="*/ 50 w 219"/>
                <a:gd name="T47" fmla="*/ 202 h 220"/>
                <a:gd name="T48" fmla="*/ 69 w 219"/>
                <a:gd name="T49" fmla="*/ 213 h 220"/>
                <a:gd name="T50" fmla="*/ 89 w 219"/>
                <a:gd name="T51" fmla="*/ 218 h 220"/>
                <a:gd name="T52" fmla="*/ 112 w 219"/>
                <a:gd name="T53" fmla="*/ 220 h 220"/>
                <a:gd name="T54" fmla="*/ 134 w 219"/>
                <a:gd name="T55" fmla="*/ 217 h 220"/>
                <a:gd name="T56" fmla="*/ 154 w 219"/>
                <a:gd name="T57" fmla="*/ 210 h 220"/>
                <a:gd name="T58" fmla="*/ 173 w 219"/>
                <a:gd name="T59" fmla="*/ 200 h 220"/>
                <a:gd name="T60" fmla="*/ 189 w 219"/>
                <a:gd name="T61" fmla="*/ 185 h 220"/>
                <a:gd name="T62" fmla="*/ 202 w 219"/>
                <a:gd name="T63" fmla="*/ 169 h 220"/>
                <a:gd name="T64" fmla="*/ 212 w 219"/>
                <a:gd name="T65" fmla="*/ 150 h 220"/>
                <a:gd name="T66" fmla="*/ 218 w 219"/>
                <a:gd name="T67" fmla="*/ 129 h 220"/>
                <a:gd name="T68" fmla="*/ 219 w 219"/>
                <a:gd name="T69" fmla="*/ 108 h 220"/>
                <a:gd name="T70" fmla="*/ 218 w 219"/>
                <a:gd name="T71" fmla="*/ 91 h 220"/>
                <a:gd name="T72" fmla="*/ 209 w 219"/>
                <a:gd name="T73" fmla="*/ 93 h 220"/>
                <a:gd name="T74" fmla="*/ 192 w 219"/>
                <a:gd name="T75" fmla="*/ 100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219" h="220">
                  <a:moveTo>
                    <a:pt x="181" y="102"/>
                  </a:moveTo>
                  <a:lnTo>
                    <a:pt x="174" y="102"/>
                  </a:lnTo>
                  <a:lnTo>
                    <a:pt x="167" y="102"/>
                  </a:lnTo>
                  <a:lnTo>
                    <a:pt x="160" y="101"/>
                  </a:lnTo>
                  <a:lnTo>
                    <a:pt x="153" y="100"/>
                  </a:lnTo>
                  <a:lnTo>
                    <a:pt x="146" y="97"/>
                  </a:lnTo>
                  <a:lnTo>
                    <a:pt x="140" y="95"/>
                  </a:lnTo>
                  <a:lnTo>
                    <a:pt x="133" y="91"/>
                  </a:lnTo>
                  <a:lnTo>
                    <a:pt x="127" y="87"/>
                  </a:lnTo>
                  <a:lnTo>
                    <a:pt x="122" y="82"/>
                  </a:lnTo>
                  <a:lnTo>
                    <a:pt x="118" y="77"/>
                  </a:lnTo>
                  <a:lnTo>
                    <a:pt x="113" y="71"/>
                  </a:lnTo>
                  <a:lnTo>
                    <a:pt x="109" y="65"/>
                  </a:lnTo>
                  <a:lnTo>
                    <a:pt x="106" y="58"/>
                  </a:lnTo>
                  <a:lnTo>
                    <a:pt x="103" y="52"/>
                  </a:lnTo>
                  <a:lnTo>
                    <a:pt x="101" y="45"/>
                  </a:lnTo>
                  <a:lnTo>
                    <a:pt x="100" y="37"/>
                  </a:lnTo>
                  <a:lnTo>
                    <a:pt x="100" y="28"/>
                  </a:lnTo>
                  <a:lnTo>
                    <a:pt x="100" y="18"/>
                  </a:lnTo>
                  <a:lnTo>
                    <a:pt x="102" y="9"/>
                  </a:lnTo>
                  <a:lnTo>
                    <a:pt x="106" y="0"/>
                  </a:lnTo>
                  <a:lnTo>
                    <a:pt x="101" y="1"/>
                  </a:lnTo>
                  <a:lnTo>
                    <a:pt x="96" y="1"/>
                  </a:lnTo>
                  <a:lnTo>
                    <a:pt x="85" y="3"/>
                  </a:lnTo>
                  <a:lnTo>
                    <a:pt x="74" y="5"/>
                  </a:lnTo>
                  <a:lnTo>
                    <a:pt x="65" y="9"/>
                  </a:lnTo>
                  <a:lnTo>
                    <a:pt x="55" y="15"/>
                  </a:lnTo>
                  <a:lnTo>
                    <a:pt x="46" y="20"/>
                  </a:lnTo>
                  <a:lnTo>
                    <a:pt x="37" y="27"/>
                  </a:lnTo>
                  <a:lnTo>
                    <a:pt x="29" y="34"/>
                  </a:lnTo>
                  <a:lnTo>
                    <a:pt x="22" y="42"/>
                  </a:lnTo>
                  <a:lnTo>
                    <a:pt x="16" y="50"/>
                  </a:lnTo>
                  <a:lnTo>
                    <a:pt x="12" y="60"/>
                  </a:lnTo>
                  <a:lnTo>
                    <a:pt x="7" y="69"/>
                  </a:lnTo>
                  <a:lnTo>
                    <a:pt x="3" y="80"/>
                  </a:lnTo>
                  <a:lnTo>
                    <a:pt x="1" y="90"/>
                  </a:lnTo>
                  <a:lnTo>
                    <a:pt x="0" y="101"/>
                  </a:lnTo>
                  <a:lnTo>
                    <a:pt x="0" y="111"/>
                  </a:lnTo>
                  <a:lnTo>
                    <a:pt x="0" y="123"/>
                  </a:lnTo>
                  <a:lnTo>
                    <a:pt x="2" y="134"/>
                  </a:lnTo>
                  <a:lnTo>
                    <a:pt x="5" y="144"/>
                  </a:lnTo>
                  <a:lnTo>
                    <a:pt x="9" y="155"/>
                  </a:lnTo>
                  <a:lnTo>
                    <a:pt x="14" y="164"/>
                  </a:lnTo>
                  <a:lnTo>
                    <a:pt x="20" y="174"/>
                  </a:lnTo>
                  <a:lnTo>
                    <a:pt x="26" y="182"/>
                  </a:lnTo>
                  <a:lnTo>
                    <a:pt x="34" y="189"/>
                  </a:lnTo>
                  <a:lnTo>
                    <a:pt x="41" y="196"/>
                  </a:lnTo>
                  <a:lnTo>
                    <a:pt x="50" y="202"/>
                  </a:lnTo>
                  <a:lnTo>
                    <a:pt x="60" y="208"/>
                  </a:lnTo>
                  <a:lnTo>
                    <a:pt x="69" y="213"/>
                  </a:lnTo>
                  <a:lnTo>
                    <a:pt x="79" y="215"/>
                  </a:lnTo>
                  <a:lnTo>
                    <a:pt x="89" y="218"/>
                  </a:lnTo>
                  <a:lnTo>
                    <a:pt x="100" y="220"/>
                  </a:lnTo>
                  <a:lnTo>
                    <a:pt x="112" y="220"/>
                  </a:lnTo>
                  <a:lnTo>
                    <a:pt x="122" y="218"/>
                  </a:lnTo>
                  <a:lnTo>
                    <a:pt x="134" y="217"/>
                  </a:lnTo>
                  <a:lnTo>
                    <a:pt x="145" y="214"/>
                  </a:lnTo>
                  <a:lnTo>
                    <a:pt x="154" y="210"/>
                  </a:lnTo>
                  <a:lnTo>
                    <a:pt x="165" y="206"/>
                  </a:lnTo>
                  <a:lnTo>
                    <a:pt x="173" y="200"/>
                  </a:lnTo>
                  <a:lnTo>
                    <a:pt x="181" y="193"/>
                  </a:lnTo>
                  <a:lnTo>
                    <a:pt x="189" y="185"/>
                  </a:lnTo>
                  <a:lnTo>
                    <a:pt x="196" y="177"/>
                  </a:lnTo>
                  <a:lnTo>
                    <a:pt x="202" y="169"/>
                  </a:lnTo>
                  <a:lnTo>
                    <a:pt x="207" y="160"/>
                  </a:lnTo>
                  <a:lnTo>
                    <a:pt x="212" y="150"/>
                  </a:lnTo>
                  <a:lnTo>
                    <a:pt x="215" y="140"/>
                  </a:lnTo>
                  <a:lnTo>
                    <a:pt x="218" y="129"/>
                  </a:lnTo>
                  <a:lnTo>
                    <a:pt x="219" y="118"/>
                  </a:lnTo>
                  <a:lnTo>
                    <a:pt x="219" y="108"/>
                  </a:lnTo>
                  <a:lnTo>
                    <a:pt x="219" y="96"/>
                  </a:lnTo>
                  <a:lnTo>
                    <a:pt x="218" y="91"/>
                  </a:lnTo>
                  <a:lnTo>
                    <a:pt x="216" y="88"/>
                  </a:lnTo>
                  <a:lnTo>
                    <a:pt x="209" y="93"/>
                  </a:lnTo>
                  <a:lnTo>
                    <a:pt x="201" y="97"/>
                  </a:lnTo>
                  <a:lnTo>
                    <a:pt x="192" y="100"/>
                  </a:lnTo>
                  <a:lnTo>
                    <a:pt x="181" y="102"/>
                  </a:lnTo>
                  <a:close/>
                </a:path>
              </a:pathLst>
            </a:custGeom>
            <a:solidFill>
              <a:srgbClr val="655349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6653" tIns="58327" rIns="116653" bIns="58327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434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137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74" name="Freeform 144"/>
            <p:cNvSpPr>
              <a:spLocks/>
            </p:cNvSpPr>
            <p:nvPr/>
          </p:nvSpPr>
          <p:spPr bwMode="auto">
            <a:xfrm>
              <a:off x="3946" y="2155"/>
              <a:ext cx="150" cy="95"/>
            </a:xfrm>
            <a:custGeom>
              <a:avLst/>
              <a:gdLst>
                <a:gd name="T0" fmla="*/ 265 w 600"/>
                <a:gd name="T1" fmla="*/ 164 h 379"/>
                <a:gd name="T2" fmla="*/ 191 w 600"/>
                <a:gd name="T3" fmla="*/ 232 h 379"/>
                <a:gd name="T4" fmla="*/ 166 w 600"/>
                <a:gd name="T5" fmla="*/ 233 h 379"/>
                <a:gd name="T6" fmla="*/ 144 w 600"/>
                <a:gd name="T7" fmla="*/ 233 h 379"/>
                <a:gd name="T8" fmla="*/ 105 w 600"/>
                <a:gd name="T9" fmla="*/ 224 h 379"/>
                <a:gd name="T10" fmla="*/ 72 w 600"/>
                <a:gd name="T11" fmla="*/ 209 h 379"/>
                <a:gd name="T12" fmla="*/ 46 w 600"/>
                <a:gd name="T13" fmla="*/ 191 h 379"/>
                <a:gd name="T14" fmla="*/ 26 w 600"/>
                <a:gd name="T15" fmla="*/ 171 h 379"/>
                <a:gd name="T16" fmla="*/ 12 w 600"/>
                <a:gd name="T17" fmla="*/ 154 h 379"/>
                <a:gd name="T18" fmla="*/ 0 w 600"/>
                <a:gd name="T19" fmla="*/ 135 h 379"/>
                <a:gd name="T20" fmla="*/ 23 w 600"/>
                <a:gd name="T21" fmla="*/ 114 h 379"/>
                <a:gd name="T22" fmla="*/ 37 w 600"/>
                <a:gd name="T23" fmla="*/ 134 h 379"/>
                <a:gd name="T24" fmla="*/ 53 w 600"/>
                <a:gd name="T25" fmla="*/ 150 h 379"/>
                <a:gd name="T26" fmla="*/ 75 w 600"/>
                <a:gd name="T27" fmla="*/ 168 h 379"/>
                <a:gd name="T28" fmla="*/ 101 w 600"/>
                <a:gd name="T29" fmla="*/ 183 h 379"/>
                <a:gd name="T30" fmla="*/ 131 w 600"/>
                <a:gd name="T31" fmla="*/ 194 h 379"/>
                <a:gd name="T32" fmla="*/ 168 w 600"/>
                <a:gd name="T33" fmla="*/ 199 h 379"/>
                <a:gd name="T34" fmla="*/ 296 w 600"/>
                <a:gd name="T35" fmla="*/ 109 h 379"/>
                <a:gd name="T36" fmla="*/ 403 w 600"/>
                <a:gd name="T37" fmla="*/ 119 h 379"/>
                <a:gd name="T38" fmla="*/ 453 w 600"/>
                <a:gd name="T39" fmla="*/ 207 h 379"/>
                <a:gd name="T40" fmla="*/ 484 w 600"/>
                <a:gd name="T41" fmla="*/ 184 h 379"/>
                <a:gd name="T42" fmla="*/ 508 w 600"/>
                <a:gd name="T43" fmla="*/ 163 h 379"/>
                <a:gd name="T44" fmla="*/ 529 w 600"/>
                <a:gd name="T45" fmla="*/ 137 h 379"/>
                <a:gd name="T46" fmla="*/ 547 w 600"/>
                <a:gd name="T47" fmla="*/ 106 h 379"/>
                <a:gd name="T48" fmla="*/ 560 w 600"/>
                <a:gd name="T49" fmla="*/ 68 h 379"/>
                <a:gd name="T50" fmla="*/ 567 w 600"/>
                <a:gd name="T51" fmla="*/ 26 h 379"/>
                <a:gd name="T52" fmla="*/ 600 w 600"/>
                <a:gd name="T53" fmla="*/ 0 h 379"/>
                <a:gd name="T54" fmla="*/ 600 w 600"/>
                <a:gd name="T55" fmla="*/ 34 h 379"/>
                <a:gd name="T56" fmla="*/ 596 w 600"/>
                <a:gd name="T57" fmla="*/ 64 h 379"/>
                <a:gd name="T58" fmla="*/ 588 w 600"/>
                <a:gd name="T59" fmla="*/ 93 h 379"/>
                <a:gd name="T60" fmla="*/ 578 w 600"/>
                <a:gd name="T61" fmla="*/ 119 h 379"/>
                <a:gd name="T62" fmla="*/ 566 w 600"/>
                <a:gd name="T63" fmla="*/ 141 h 379"/>
                <a:gd name="T64" fmla="*/ 551 w 600"/>
                <a:gd name="T65" fmla="*/ 162 h 379"/>
                <a:gd name="T66" fmla="*/ 521 w 600"/>
                <a:gd name="T67" fmla="*/ 197 h 379"/>
                <a:gd name="T68" fmla="*/ 488 w 600"/>
                <a:gd name="T69" fmla="*/ 223 h 379"/>
                <a:gd name="T70" fmla="*/ 460 w 600"/>
                <a:gd name="T71" fmla="*/ 242 h 379"/>
                <a:gd name="T72" fmla="*/ 431 w 600"/>
                <a:gd name="T73" fmla="*/ 256 h 379"/>
                <a:gd name="T74" fmla="*/ 392 w 600"/>
                <a:gd name="T75" fmla="*/ 195 h 3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600" h="379">
                  <a:moveTo>
                    <a:pt x="269" y="379"/>
                  </a:moveTo>
                  <a:lnTo>
                    <a:pt x="265" y="164"/>
                  </a:lnTo>
                  <a:lnTo>
                    <a:pt x="196" y="230"/>
                  </a:lnTo>
                  <a:lnTo>
                    <a:pt x="191" y="232"/>
                  </a:lnTo>
                  <a:lnTo>
                    <a:pt x="179" y="233"/>
                  </a:lnTo>
                  <a:lnTo>
                    <a:pt x="166" y="233"/>
                  </a:lnTo>
                  <a:lnTo>
                    <a:pt x="156" y="233"/>
                  </a:lnTo>
                  <a:lnTo>
                    <a:pt x="144" y="233"/>
                  </a:lnTo>
                  <a:lnTo>
                    <a:pt x="124" y="229"/>
                  </a:lnTo>
                  <a:lnTo>
                    <a:pt x="105" y="224"/>
                  </a:lnTo>
                  <a:lnTo>
                    <a:pt x="88" y="217"/>
                  </a:lnTo>
                  <a:lnTo>
                    <a:pt x="72" y="209"/>
                  </a:lnTo>
                  <a:lnTo>
                    <a:pt x="58" y="201"/>
                  </a:lnTo>
                  <a:lnTo>
                    <a:pt x="46" y="191"/>
                  </a:lnTo>
                  <a:lnTo>
                    <a:pt x="36" y="181"/>
                  </a:lnTo>
                  <a:lnTo>
                    <a:pt x="26" y="171"/>
                  </a:lnTo>
                  <a:lnTo>
                    <a:pt x="18" y="162"/>
                  </a:lnTo>
                  <a:lnTo>
                    <a:pt x="12" y="154"/>
                  </a:lnTo>
                  <a:lnTo>
                    <a:pt x="4" y="141"/>
                  </a:lnTo>
                  <a:lnTo>
                    <a:pt x="0" y="135"/>
                  </a:lnTo>
                  <a:lnTo>
                    <a:pt x="19" y="109"/>
                  </a:lnTo>
                  <a:lnTo>
                    <a:pt x="23" y="114"/>
                  </a:lnTo>
                  <a:lnTo>
                    <a:pt x="31" y="126"/>
                  </a:lnTo>
                  <a:lnTo>
                    <a:pt x="37" y="134"/>
                  </a:lnTo>
                  <a:lnTo>
                    <a:pt x="45" y="142"/>
                  </a:lnTo>
                  <a:lnTo>
                    <a:pt x="53" y="150"/>
                  </a:lnTo>
                  <a:lnTo>
                    <a:pt x="63" y="159"/>
                  </a:lnTo>
                  <a:lnTo>
                    <a:pt x="75" y="168"/>
                  </a:lnTo>
                  <a:lnTo>
                    <a:pt x="86" y="175"/>
                  </a:lnTo>
                  <a:lnTo>
                    <a:pt x="101" y="183"/>
                  </a:lnTo>
                  <a:lnTo>
                    <a:pt x="115" y="189"/>
                  </a:lnTo>
                  <a:lnTo>
                    <a:pt x="131" y="194"/>
                  </a:lnTo>
                  <a:lnTo>
                    <a:pt x="149" y="197"/>
                  </a:lnTo>
                  <a:lnTo>
                    <a:pt x="168" y="199"/>
                  </a:lnTo>
                  <a:lnTo>
                    <a:pt x="188" y="197"/>
                  </a:lnTo>
                  <a:lnTo>
                    <a:pt x="296" y="109"/>
                  </a:lnTo>
                  <a:lnTo>
                    <a:pt x="301" y="270"/>
                  </a:lnTo>
                  <a:lnTo>
                    <a:pt x="403" y="119"/>
                  </a:lnTo>
                  <a:lnTo>
                    <a:pt x="435" y="217"/>
                  </a:lnTo>
                  <a:lnTo>
                    <a:pt x="453" y="207"/>
                  </a:lnTo>
                  <a:lnTo>
                    <a:pt x="474" y="193"/>
                  </a:lnTo>
                  <a:lnTo>
                    <a:pt x="484" y="184"/>
                  </a:lnTo>
                  <a:lnTo>
                    <a:pt x="496" y="174"/>
                  </a:lnTo>
                  <a:lnTo>
                    <a:pt x="508" y="163"/>
                  </a:lnTo>
                  <a:lnTo>
                    <a:pt x="518" y="150"/>
                  </a:lnTo>
                  <a:lnTo>
                    <a:pt x="529" y="137"/>
                  </a:lnTo>
                  <a:lnTo>
                    <a:pt x="538" y="122"/>
                  </a:lnTo>
                  <a:lnTo>
                    <a:pt x="547" y="106"/>
                  </a:lnTo>
                  <a:lnTo>
                    <a:pt x="555" y="88"/>
                  </a:lnTo>
                  <a:lnTo>
                    <a:pt x="560" y="68"/>
                  </a:lnTo>
                  <a:lnTo>
                    <a:pt x="564" y="48"/>
                  </a:lnTo>
                  <a:lnTo>
                    <a:pt x="567" y="26"/>
                  </a:lnTo>
                  <a:lnTo>
                    <a:pt x="566" y="2"/>
                  </a:lnTo>
                  <a:lnTo>
                    <a:pt x="600" y="0"/>
                  </a:lnTo>
                  <a:lnTo>
                    <a:pt x="600" y="17"/>
                  </a:lnTo>
                  <a:lnTo>
                    <a:pt x="600" y="34"/>
                  </a:lnTo>
                  <a:lnTo>
                    <a:pt x="598" y="49"/>
                  </a:lnTo>
                  <a:lnTo>
                    <a:pt x="596" y="64"/>
                  </a:lnTo>
                  <a:lnTo>
                    <a:pt x="593" y="78"/>
                  </a:lnTo>
                  <a:lnTo>
                    <a:pt x="588" y="93"/>
                  </a:lnTo>
                  <a:lnTo>
                    <a:pt x="583" y="106"/>
                  </a:lnTo>
                  <a:lnTo>
                    <a:pt x="578" y="119"/>
                  </a:lnTo>
                  <a:lnTo>
                    <a:pt x="573" y="130"/>
                  </a:lnTo>
                  <a:lnTo>
                    <a:pt x="566" y="141"/>
                  </a:lnTo>
                  <a:lnTo>
                    <a:pt x="558" y="151"/>
                  </a:lnTo>
                  <a:lnTo>
                    <a:pt x="551" y="162"/>
                  </a:lnTo>
                  <a:lnTo>
                    <a:pt x="536" y="181"/>
                  </a:lnTo>
                  <a:lnTo>
                    <a:pt x="521" y="197"/>
                  </a:lnTo>
                  <a:lnTo>
                    <a:pt x="504" y="211"/>
                  </a:lnTo>
                  <a:lnTo>
                    <a:pt x="488" y="223"/>
                  </a:lnTo>
                  <a:lnTo>
                    <a:pt x="474" y="234"/>
                  </a:lnTo>
                  <a:lnTo>
                    <a:pt x="460" y="242"/>
                  </a:lnTo>
                  <a:lnTo>
                    <a:pt x="440" y="253"/>
                  </a:lnTo>
                  <a:lnTo>
                    <a:pt x="431" y="256"/>
                  </a:lnTo>
                  <a:lnTo>
                    <a:pt x="415" y="263"/>
                  </a:lnTo>
                  <a:lnTo>
                    <a:pt x="392" y="195"/>
                  </a:lnTo>
                  <a:lnTo>
                    <a:pt x="269" y="379"/>
                  </a:lnTo>
                  <a:close/>
                </a:path>
              </a:pathLst>
            </a:custGeom>
            <a:solidFill>
              <a:srgbClr val="B34E4B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6653" tIns="58327" rIns="116653" bIns="58327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434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137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75" name="Freeform 145"/>
            <p:cNvSpPr>
              <a:spLocks/>
            </p:cNvSpPr>
            <p:nvPr/>
          </p:nvSpPr>
          <p:spPr bwMode="auto">
            <a:xfrm>
              <a:off x="4006" y="2250"/>
              <a:ext cx="71" cy="26"/>
            </a:xfrm>
            <a:custGeom>
              <a:avLst/>
              <a:gdLst>
                <a:gd name="T0" fmla="*/ 117 w 281"/>
                <a:gd name="T1" fmla="*/ 106 h 106"/>
                <a:gd name="T2" fmla="*/ 94 w 281"/>
                <a:gd name="T3" fmla="*/ 105 h 106"/>
                <a:gd name="T4" fmla="*/ 71 w 281"/>
                <a:gd name="T5" fmla="*/ 102 h 106"/>
                <a:gd name="T6" fmla="*/ 51 w 281"/>
                <a:gd name="T7" fmla="*/ 97 h 106"/>
                <a:gd name="T8" fmla="*/ 35 w 281"/>
                <a:gd name="T9" fmla="*/ 92 h 106"/>
                <a:gd name="T10" fmla="*/ 9 w 281"/>
                <a:gd name="T11" fmla="*/ 83 h 106"/>
                <a:gd name="T12" fmla="*/ 0 w 281"/>
                <a:gd name="T13" fmla="*/ 78 h 106"/>
                <a:gd name="T14" fmla="*/ 24 w 281"/>
                <a:gd name="T15" fmla="*/ 36 h 106"/>
                <a:gd name="T16" fmla="*/ 30 w 281"/>
                <a:gd name="T17" fmla="*/ 39 h 106"/>
                <a:gd name="T18" fmla="*/ 47 w 281"/>
                <a:gd name="T19" fmla="*/ 46 h 106"/>
                <a:gd name="T20" fmla="*/ 57 w 281"/>
                <a:gd name="T21" fmla="*/ 50 h 106"/>
                <a:gd name="T22" fmla="*/ 70 w 281"/>
                <a:gd name="T23" fmla="*/ 53 h 106"/>
                <a:gd name="T24" fmla="*/ 84 w 281"/>
                <a:gd name="T25" fmla="*/ 56 h 106"/>
                <a:gd name="T26" fmla="*/ 100 w 281"/>
                <a:gd name="T27" fmla="*/ 58 h 106"/>
                <a:gd name="T28" fmla="*/ 116 w 281"/>
                <a:gd name="T29" fmla="*/ 58 h 106"/>
                <a:gd name="T30" fmla="*/ 134 w 281"/>
                <a:gd name="T31" fmla="*/ 58 h 106"/>
                <a:gd name="T32" fmla="*/ 153 w 281"/>
                <a:gd name="T33" fmla="*/ 54 h 106"/>
                <a:gd name="T34" fmla="*/ 170 w 281"/>
                <a:gd name="T35" fmla="*/ 50 h 106"/>
                <a:gd name="T36" fmla="*/ 180 w 281"/>
                <a:gd name="T37" fmla="*/ 46 h 106"/>
                <a:gd name="T38" fmla="*/ 190 w 281"/>
                <a:gd name="T39" fmla="*/ 43 h 106"/>
                <a:gd name="T40" fmla="*/ 200 w 281"/>
                <a:gd name="T41" fmla="*/ 38 h 106"/>
                <a:gd name="T42" fmla="*/ 209 w 281"/>
                <a:gd name="T43" fmla="*/ 32 h 106"/>
                <a:gd name="T44" fmla="*/ 219 w 281"/>
                <a:gd name="T45" fmla="*/ 25 h 106"/>
                <a:gd name="T46" fmla="*/ 228 w 281"/>
                <a:gd name="T47" fmla="*/ 18 h 106"/>
                <a:gd name="T48" fmla="*/ 237 w 281"/>
                <a:gd name="T49" fmla="*/ 10 h 106"/>
                <a:gd name="T50" fmla="*/ 247 w 281"/>
                <a:gd name="T51" fmla="*/ 0 h 106"/>
                <a:gd name="T52" fmla="*/ 281 w 281"/>
                <a:gd name="T53" fmla="*/ 34 h 106"/>
                <a:gd name="T54" fmla="*/ 272 w 281"/>
                <a:gd name="T55" fmla="*/ 45 h 106"/>
                <a:gd name="T56" fmla="*/ 261 w 281"/>
                <a:gd name="T57" fmla="*/ 53 h 106"/>
                <a:gd name="T58" fmla="*/ 250 w 281"/>
                <a:gd name="T59" fmla="*/ 62 h 106"/>
                <a:gd name="T60" fmla="*/ 240 w 281"/>
                <a:gd name="T61" fmla="*/ 70 h 106"/>
                <a:gd name="T62" fmla="*/ 229 w 281"/>
                <a:gd name="T63" fmla="*/ 76 h 106"/>
                <a:gd name="T64" fmla="*/ 220 w 281"/>
                <a:gd name="T65" fmla="*/ 82 h 106"/>
                <a:gd name="T66" fmla="*/ 209 w 281"/>
                <a:gd name="T67" fmla="*/ 87 h 106"/>
                <a:gd name="T68" fmla="*/ 199 w 281"/>
                <a:gd name="T69" fmla="*/ 91 h 106"/>
                <a:gd name="T70" fmla="*/ 177 w 281"/>
                <a:gd name="T71" fmla="*/ 98 h 106"/>
                <a:gd name="T72" fmla="*/ 157 w 281"/>
                <a:gd name="T73" fmla="*/ 103 h 106"/>
                <a:gd name="T74" fmla="*/ 137 w 281"/>
                <a:gd name="T75" fmla="*/ 105 h 106"/>
                <a:gd name="T76" fmla="*/ 117 w 281"/>
                <a:gd name="T77" fmla="*/ 106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81" h="106">
                  <a:moveTo>
                    <a:pt x="117" y="106"/>
                  </a:moveTo>
                  <a:lnTo>
                    <a:pt x="94" y="105"/>
                  </a:lnTo>
                  <a:lnTo>
                    <a:pt x="71" y="102"/>
                  </a:lnTo>
                  <a:lnTo>
                    <a:pt x="51" y="97"/>
                  </a:lnTo>
                  <a:lnTo>
                    <a:pt x="35" y="92"/>
                  </a:lnTo>
                  <a:lnTo>
                    <a:pt x="9" y="83"/>
                  </a:lnTo>
                  <a:lnTo>
                    <a:pt x="0" y="78"/>
                  </a:lnTo>
                  <a:lnTo>
                    <a:pt x="24" y="36"/>
                  </a:lnTo>
                  <a:lnTo>
                    <a:pt x="30" y="39"/>
                  </a:lnTo>
                  <a:lnTo>
                    <a:pt x="47" y="46"/>
                  </a:lnTo>
                  <a:lnTo>
                    <a:pt x="57" y="50"/>
                  </a:lnTo>
                  <a:lnTo>
                    <a:pt x="70" y="53"/>
                  </a:lnTo>
                  <a:lnTo>
                    <a:pt x="84" y="56"/>
                  </a:lnTo>
                  <a:lnTo>
                    <a:pt x="100" y="58"/>
                  </a:lnTo>
                  <a:lnTo>
                    <a:pt x="116" y="58"/>
                  </a:lnTo>
                  <a:lnTo>
                    <a:pt x="134" y="58"/>
                  </a:lnTo>
                  <a:lnTo>
                    <a:pt x="153" y="54"/>
                  </a:lnTo>
                  <a:lnTo>
                    <a:pt x="170" y="50"/>
                  </a:lnTo>
                  <a:lnTo>
                    <a:pt x="180" y="46"/>
                  </a:lnTo>
                  <a:lnTo>
                    <a:pt x="190" y="43"/>
                  </a:lnTo>
                  <a:lnTo>
                    <a:pt x="200" y="38"/>
                  </a:lnTo>
                  <a:lnTo>
                    <a:pt x="209" y="32"/>
                  </a:lnTo>
                  <a:lnTo>
                    <a:pt x="219" y="25"/>
                  </a:lnTo>
                  <a:lnTo>
                    <a:pt x="228" y="18"/>
                  </a:lnTo>
                  <a:lnTo>
                    <a:pt x="237" y="10"/>
                  </a:lnTo>
                  <a:lnTo>
                    <a:pt x="247" y="0"/>
                  </a:lnTo>
                  <a:lnTo>
                    <a:pt x="281" y="34"/>
                  </a:lnTo>
                  <a:lnTo>
                    <a:pt x="272" y="45"/>
                  </a:lnTo>
                  <a:lnTo>
                    <a:pt x="261" y="53"/>
                  </a:lnTo>
                  <a:lnTo>
                    <a:pt x="250" y="62"/>
                  </a:lnTo>
                  <a:lnTo>
                    <a:pt x="240" y="70"/>
                  </a:lnTo>
                  <a:lnTo>
                    <a:pt x="229" y="76"/>
                  </a:lnTo>
                  <a:lnTo>
                    <a:pt x="220" y="82"/>
                  </a:lnTo>
                  <a:lnTo>
                    <a:pt x="209" y="87"/>
                  </a:lnTo>
                  <a:lnTo>
                    <a:pt x="199" y="91"/>
                  </a:lnTo>
                  <a:lnTo>
                    <a:pt x="177" y="98"/>
                  </a:lnTo>
                  <a:lnTo>
                    <a:pt x="157" y="103"/>
                  </a:lnTo>
                  <a:lnTo>
                    <a:pt x="137" y="105"/>
                  </a:lnTo>
                  <a:lnTo>
                    <a:pt x="117" y="106"/>
                  </a:lnTo>
                  <a:close/>
                </a:path>
              </a:pathLst>
            </a:custGeom>
            <a:solidFill>
              <a:srgbClr val="B34E4B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6653" tIns="58327" rIns="116653" bIns="58327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434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137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76" name="Freeform 146"/>
            <p:cNvSpPr>
              <a:spLocks/>
            </p:cNvSpPr>
            <p:nvPr/>
          </p:nvSpPr>
          <p:spPr bwMode="auto">
            <a:xfrm>
              <a:off x="3928" y="2359"/>
              <a:ext cx="32" cy="42"/>
            </a:xfrm>
            <a:custGeom>
              <a:avLst/>
              <a:gdLst>
                <a:gd name="T0" fmla="*/ 10 w 128"/>
                <a:gd name="T1" fmla="*/ 57 h 167"/>
                <a:gd name="T2" fmla="*/ 17 w 128"/>
                <a:gd name="T3" fmla="*/ 41 h 167"/>
                <a:gd name="T4" fmla="*/ 26 w 128"/>
                <a:gd name="T5" fmla="*/ 28 h 167"/>
                <a:gd name="T6" fmla="*/ 37 w 128"/>
                <a:gd name="T7" fmla="*/ 18 h 167"/>
                <a:gd name="T8" fmla="*/ 47 w 128"/>
                <a:gd name="T9" fmla="*/ 8 h 167"/>
                <a:gd name="T10" fmla="*/ 60 w 128"/>
                <a:gd name="T11" fmla="*/ 3 h 167"/>
                <a:gd name="T12" fmla="*/ 72 w 128"/>
                <a:gd name="T13" fmla="*/ 0 h 167"/>
                <a:gd name="T14" fmla="*/ 85 w 128"/>
                <a:gd name="T15" fmla="*/ 0 h 167"/>
                <a:gd name="T16" fmla="*/ 97 w 128"/>
                <a:gd name="T17" fmla="*/ 5 h 167"/>
                <a:gd name="T18" fmla="*/ 107 w 128"/>
                <a:gd name="T19" fmla="*/ 11 h 167"/>
                <a:gd name="T20" fmla="*/ 115 w 128"/>
                <a:gd name="T21" fmla="*/ 21 h 167"/>
                <a:gd name="T22" fmla="*/ 121 w 128"/>
                <a:gd name="T23" fmla="*/ 33 h 167"/>
                <a:gd name="T24" fmla="*/ 126 w 128"/>
                <a:gd name="T25" fmla="*/ 46 h 167"/>
                <a:gd name="T26" fmla="*/ 128 w 128"/>
                <a:gd name="T27" fmla="*/ 61 h 167"/>
                <a:gd name="T28" fmla="*/ 128 w 128"/>
                <a:gd name="T29" fmla="*/ 78 h 167"/>
                <a:gd name="T30" fmla="*/ 125 w 128"/>
                <a:gd name="T31" fmla="*/ 94 h 167"/>
                <a:gd name="T32" fmla="*/ 120 w 128"/>
                <a:gd name="T33" fmla="*/ 111 h 167"/>
                <a:gd name="T34" fmla="*/ 113 w 128"/>
                <a:gd name="T35" fmla="*/ 126 h 167"/>
                <a:gd name="T36" fmla="*/ 104 w 128"/>
                <a:gd name="T37" fmla="*/ 139 h 167"/>
                <a:gd name="T38" fmla="*/ 93 w 128"/>
                <a:gd name="T39" fmla="*/ 150 h 167"/>
                <a:gd name="T40" fmla="*/ 81 w 128"/>
                <a:gd name="T41" fmla="*/ 159 h 167"/>
                <a:gd name="T42" fmla="*/ 70 w 128"/>
                <a:gd name="T43" fmla="*/ 165 h 167"/>
                <a:gd name="T44" fmla="*/ 57 w 128"/>
                <a:gd name="T45" fmla="*/ 167 h 167"/>
                <a:gd name="T46" fmla="*/ 45 w 128"/>
                <a:gd name="T47" fmla="*/ 167 h 167"/>
                <a:gd name="T48" fmla="*/ 33 w 128"/>
                <a:gd name="T49" fmla="*/ 163 h 167"/>
                <a:gd name="T50" fmla="*/ 22 w 128"/>
                <a:gd name="T51" fmla="*/ 157 h 167"/>
                <a:gd name="T52" fmla="*/ 14 w 128"/>
                <a:gd name="T53" fmla="*/ 147 h 167"/>
                <a:gd name="T54" fmla="*/ 7 w 128"/>
                <a:gd name="T55" fmla="*/ 136 h 167"/>
                <a:gd name="T56" fmla="*/ 2 w 128"/>
                <a:gd name="T57" fmla="*/ 121 h 167"/>
                <a:gd name="T58" fmla="*/ 1 w 128"/>
                <a:gd name="T59" fmla="*/ 106 h 167"/>
                <a:gd name="T60" fmla="*/ 1 w 128"/>
                <a:gd name="T61" fmla="*/ 91 h 167"/>
                <a:gd name="T62" fmla="*/ 4 w 128"/>
                <a:gd name="T63" fmla="*/ 73 h 1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28" h="167">
                  <a:moveTo>
                    <a:pt x="6" y="65"/>
                  </a:moveTo>
                  <a:lnTo>
                    <a:pt x="10" y="57"/>
                  </a:lnTo>
                  <a:lnTo>
                    <a:pt x="13" y="50"/>
                  </a:lnTo>
                  <a:lnTo>
                    <a:pt x="17" y="41"/>
                  </a:lnTo>
                  <a:lnTo>
                    <a:pt x="21" y="34"/>
                  </a:lnTo>
                  <a:lnTo>
                    <a:pt x="26" y="28"/>
                  </a:lnTo>
                  <a:lnTo>
                    <a:pt x="31" y="23"/>
                  </a:lnTo>
                  <a:lnTo>
                    <a:pt x="37" y="18"/>
                  </a:lnTo>
                  <a:lnTo>
                    <a:pt x="41" y="13"/>
                  </a:lnTo>
                  <a:lnTo>
                    <a:pt x="47" y="8"/>
                  </a:lnTo>
                  <a:lnTo>
                    <a:pt x="53" y="6"/>
                  </a:lnTo>
                  <a:lnTo>
                    <a:pt x="60" y="3"/>
                  </a:lnTo>
                  <a:lnTo>
                    <a:pt x="66" y="1"/>
                  </a:lnTo>
                  <a:lnTo>
                    <a:pt x="72" y="0"/>
                  </a:lnTo>
                  <a:lnTo>
                    <a:pt x="78" y="0"/>
                  </a:lnTo>
                  <a:lnTo>
                    <a:pt x="85" y="0"/>
                  </a:lnTo>
                  <a:lnTo>
                    <a:pt x="91" y="3"/>
                  </a:lnTo>
                  <a:lnTo>
                    <a:pt x="97" y="5"/>
                  </a:lnTo>
                  <a:lnTo>
                    <a:pt x="101" y="7"/>
                  </a:lnTo>
                  <a:lnTo>
                    <a:pt x="107" y="11"/>
                  </a:lnTo>
                  <a:lnTo>
                    <a:pt x="112" y="16"/>
                  </a:lnTo>
                  <a:lnTo>
                    <a:pt x="115" y="21"/>
                  </a:lnTo>
                  <a:lnTo>
                    <a:pt x="119" y="26"/>
                  </a:lnTo>
                  <a:lnTo>
                    <a:pt x="121" y="33"/>
                  </a:lnTo>
                  <a:lnTo>
                    <a:pt x="125" y="39"/>
                  </a:lnTo>
                  <a:lnTo>
                    <a:pt x="126" y="46"/>
                  </a:lnTo>
                  <a:lnTo>
                    <a:pt x="127" y="53"/>
                  </a:lnTo>
                  <a:lnTo>
                    <a:pt x="128" y="61"/>
                  </a:lnTo>
                  <a:lnTo>
                    <a:pt x="128" y="70"/>
                  </a:lnTo>
                  <a:lnTo>
                    <a:pt x="128" y="78"/>
                  </a:lnTo>
                  <a:lnTo>
                    <a:pt x="127" y="86"/>
                  </a:lnTo>
                  <a:lnTo>
                    <a:pt x="125" y="94"/>
                  </a:lnTo>
                  <a:lnTo>
                    <a:pt x="123" y="103"/>
                  </a:lnTo>
                  <a:lnTo>
                    <a:pt x="120" y="111"/>
                  </a:lnTo>
                  <a:lnTo>
                    <a:pt x="117" y="119"/>
                  </a:lnTo>
                  <a:lnTo>
                    <a:pt x="113" y="126"/>
                  </a:lnTo>
                  <a:lnTo>
                    <a:pt x="108" y="133"/>
                  </a:lnTo>
                  <a:lnTo>
                    <a:pt x="104" y="139"/>
                  </a:lnTo>
                  <a:lnTo>
                    <a:pt x="99" y="145"/>
                  </a:lnTo>
                  <a:lnTo>
                    <a:pt x="93" y="150"/>
                  </a:lnTo>
                  <a:lnTo>
                    <a:pt x="87" y="154"/>
                  </a:lnTo>
                  <a:lnTo>
                    <a:pt x="81" y="159"/>
                  </a:lnTo>
                  <a:lnTo>
                    <a:pt x="75" y="161"/>
                  </a:lnTo>
                  <a:lnTo>
                    <a:pt x="70" y="165"/>
                  </a:lnTo>
                  <a:lnTo>
                    <a:pt x="64" y="166"/>
                  </a:lnTo>
                  <a:lnTo>
                    <a:pt x="57" y="167"/>
                  </a:lnTo>
                  <a:lnTo>
                    <a:pt x="51" y="167"/>
                  </a:lnTo>
                  <a:lnTo>
                    <a:pt x="45" y="167"/>
                  </a:lnTo>
                  <a:lnTo>
                    <a:pt x="39" y="165"/>
                  </a:lnTo>
                  <a:lnTo>
                    <a:pt x="33" y="163"/>
                  </a:lnTo>
                  <a:lnTo>
                    <a:pt x="27" y="160"/>
                  </a:lnTo>
                  <a:lnTo>
                    <a:pt x="22" y="157"/>
                  </a:lnTo>
                  <a:lnTo>
                    <a:pt x="18" y="152"/>
                  </a:lnTo>
                  <a:lnTo>
                    <a:pt x="14" y="147"/>
                  </a:lnTo>
                  <a:lnTo>
                    <a:pt x="11" y="141"/>
                  </a:lnTo>
                  <a:lnTo>
                    <a:pt x="7" y="136"/>
                  </a:lnTo>
                  <a:lnTo>
                    <a:pt x="5" y="129"/>
                  </a:lnTo>
                  <a:lnTo>
                    <a:pt x="2" y="121"/>
                  </a:lnTo>
                  <a:lnTo>
                    <a:pt x="1" y="114"/>
                  </a:lnTo>
                  <a:lnTo>
                    <a:pt x="1" y="106"/>
                  </a:lnTo>
                  <a:lnTo>
                    <a:pt x="0" y="99"/>
                  </a:lnTo>
                  <a:lnTo>
                    <a:pt x="1" y="91"/>
                  </a:lnTo>
                  <a:lnTo>
                    <a:pt x="2" y="83"/>
                  </a:lnTo>
                  <a:lnTo>
                    <a:pt x="4" y="73"/>
                  </a:lnTo>
                  <a:lnTo>
                    <a:pt x="6" y="65"/>
                  </a:lnTo>
                  <a:close/>
                </a:path>
              </a:pathLst>
            </a:custGeom>
            <a:solidFill>
              <a:srgbClr val="B34E4B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6653" tIns="58327" rIns="116653" bIns="58327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434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137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77" name="Freeform 147"/>
            <p:cNvSpPr>
              <a:spLocks/>
            </p:cNvSpPr>
            <p:nvPr/>
          </p:nvSpPr>
          <p:spPr bwMode="auto">
            <a:xfrm>
              <a:off x="3945" y="2319"/>
              <a:ext cx="23" cy="32"/>
            </a:xfrm>
            <a:custGeom>
              <a:avLst/>
              <a:gdLst>
                <a:gd name="T0" fmla="*/ 5 w 96"/>
                <a:gd name="T1" fmla="*/ 50 h 126"/>
                <a:gd name="T2" fmla="*/ 10 w 96"/>
                <a:gd name="T3" fmla="*/ 37 h 126"/>
                <a:gd name="T4" fmla="*/ 16 w 96"/>
                <a:gd name="T5" fmla="*/ 26 h 126"/>
                <a:gd name="T6" fmla="*/ 23 w 96"/>
                <a:gd name="T7" fmla="*/ 18 h 126"/>
                <a:gd name="T8" fmla="*/ 31 w 96"/>
                <a:gd name="T9" fmla="*/ 10 h 126"/>
                <a:gd name="T10" fmla="*/ 40 w 96"/>
                <a:gd name="T11" fmla="*/ 5 h 126"/>
                <a:gd name="T12" fmla="*/ 50 w 96"/>
                <a:gd name="T13" fmla="*/ 1 h 126"/>
                <a:gd name="T14" fmla="*/ 55 w 96"/>
                <a:gd name="T15" fmla="*/ 0 h 126"/>
                <a:gd name="T16" fmla="*/ 59 w 96"/>
                <a:gd name="T17" fmla="*/ 0 h 126"/>
                <a:gd name="T18" fmla="*/ 64 w 96"/>
                <a:gd name="T19" fmla="*/ 1 h 126"/>
                <a:gd name="T20" fmla="*/ 69 w 96"/>
                <a:gd name="T21" fmla="*/ 3 h 126"/>
                <a:gd name="T22" fmla="*/ 72 w 96"/>
                <a:gd name="T23" fmla="*/ 4 h 126"/>
                <a:gd name="T24" fmla="*/ 77 w 96"/>
                <a:gd name="T25" fmla="*/ 6 h 126"/>
                <a:gd name="T26" fmla="*/ 80 w 96"/>
                <a:gd name="T27" fmla="*/ 9 h 126"/>
                <a:gd name="T28" fmla="*/ 84 w 96"/>
                <a:gd name="T29" fmla="*/ 12 h 126"/>
                <a:gd name="T30" fmla="*/ 89 w 96"/>
                <a:gd name="T31" fmla="*/ 20 h 126"/>
                <a:gd name="T32" fmla="*/ 93 w 96"/>
                <a:gd name="T33" fmla="*/ 30 h 126"/>
                <a:gd name="T34" fmla="*/ 96 w 96"/>
                <a:gd name="T35" fmla="*/ 40 h 126"/>
                <a:gd name="T36" fmla="*/ 96 w 96"/>
                <a:gd name="T37" fmla="*/ 52 h 126"/>
                <a:gd name="T38" fmla="*/ 96 w 96"/>
                <a:gd name="T39" fmla="*/ 65 h 126"/>
                <a:gd name="T40" fmla="*/ 92 w 96"/>
                <a:gd name="T41" fmla="*/ 77 h 126"/>
                <a:gd name="T42" fmla="*/ 87 w 96"/>
                <a:gd name="T43" fmla="*/ 90 h 126"/>
                <a:gd name="T44" fmla="*/ 82 w 96"/>
                <a:gd name="T45" fmla="*/ 100 h 126"/>
                <a:gd name="T46" fmla="*/ 73 w 96"/>
                <a:gd name="T47" fmla="*/ 109 h 126"/>
                <a:gd name="T48" fmla="*/ 65 w 96"/>
                <a:gd name="T49" fmla="*/ 117 h 126"/>
                <a:gd name="T50" fmla="*/ 57 w 96"/>
                <a:gd name="T51" fmla="*/ 122 h 126"/>
                <a:gd name="T52" fmla="*/ 47 w 96"/>
                <a:gd name="T53" fmla="*/ 125 h 126"/>
                <a:gd name="T54" fmla="*/ 43 w 96"/>
                <a:gd name="T55" fmla="*/ 126 h 126"/>
                <a:gd name="T56" fmla="*/ 38 w 96"/>
                <a:gd name="T57" fmla="*/ 126 h 126"/>
                <a:gd name="T58" fmla="*/ 33 w 96"/>
                <a:gd name="T59" fmla="*/ 125 h 126"/>
                <a:gd name="T60" fmla="*/ 29 w 96"/>
                <a:gd name="T61" fmla="*/ 125 h 126"/>
                <a:gd name="T62" fmla="*/ 25 w 96"/>
                <a:gd name="T63" fmla="*/ 123 h 126"/>
                <a:gd name="T64" fmla="*/ 20 w 96"/>
                <a:gd name="T65" fmla="*/ 120 h 126"/>
                <a:gd name="T66" fmla="*/ 17 w 96"/>
                <a:gd name="T67" fmla="*/ 118 h 126"/>
                <a:gd name="T68" fmla="*/ 13 w 96"/>
                <a:gd name="T69" fmla="*/ 114 h 126"/>
                <a:gd name="T70" fmla="*/ 7 w 96"/>
                <a:gd name="T71" fmla="*/ 106 h 126"/>
                <a:gd name="T72" fmla="*/ 4 w 96"/>
                <a:gd name="T73" fmla="*/ 97 h 126"/>
                <a:gd name="T74" fmla="*/ 2 w 96"/>
                <a:gd name="T75" fmla="*/ 86 h 126"/>
                <a:gd name="T76" fmla="*/ 0 w 96"/>
                <a:gd name="T77" fmla="*/ 74 h 126"/>
                <a:gd name="T78" fmla="*/ 2 w 96"/>
                <a:gd name="T79" fmla="*/ 62 h 126"/>
                <a:gd name="T80" fmla="*/ 5 w 96"/>
                <a:gd name="T81" fmla="*/ 50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96" h="126">
                  <a:moveTo>
                    <a:pt x="5" y="50"/>
                  </a:moveTo>
                  <a:lnTo>
                    <a:pt x="10" y="37"/>
                  </a:lnTo>
                  <a:lnTo>
                    <a:pt x="16" y="26"/>
                  </a:lnTo>
                  <a:lnTo>
                    <a:pt x="23" y="18"/>
                  </a:lnTo>
                  <a:lnTo>
                    <a:pt x="31" y="10"/>
                  </a:lnTo>
                  <a:lnTo>
                    <a:pt x="40" y="5"/>
                  </a:lnTo>
                  <a:lnTo>
                    <a:pt x="50" y="1"/>
                  </a:lnTo>
                  <a:lnTo>
                    <a:pt x="55" y="0"/>
                  </a:lnTo>
                  <a:lnTo>
                    <a:pt x="59" y="0"/>
                  </a:lnTo>
                  <a:lnTo>
                    <a:pt x="64" y="1"/>
                  </a:lnTo>
                  <a:lnTo>
                    <a:pt x="69" y="3"/>
                  </a:lnTo>
                  <a:lnTo>
                    <a:pt x="72" y="4"/>
                  </a:lnTo>
                  <a:lnTo>
                    <a:pt x="77" y="6"/>
                  </a:lnTo>
                  <a:lnTo>
                    <a:pt x="80" y="9"/>
                  </a:lnTo>
                  <a:lnTo>
                    <a:pt x="84" y="12"/>
                  </a:lnTo>
                  <a:lnTo>
                    <a:pt x="89" y="20"/>
                  </a:lnTo>
                  <a:lnTo>
                    <a:pt x="93" y="30"/>
                  </a:lnTo>
                  <a:lnTo>
                    <a:pt x="96" y="40"/>
                  </a:lnTo>
                  <a:lnTo>
                    <a:pt x="96" y="52"/>
                  </a:lnTo>
                  <a:lnTo>
                    <a:pt x="96" y="65"/>
                  </a:lnTo>
                  <a:lnTo>
                    <a:pt x="92" y="77"/>
                  </a:lnTo>
                  <a:lnTo>
                    <a:pt x="87" y="90"/>
                  </a:lnTo>
                  <a:lnTo>
                    <a:pt x="82" y="100"/>
                  </a:lnTo>
                  <a:lnTo>
                    <a:pt x="73" y="109"/>
                  </a:lnTo>
                  <a:lnTo>
                    <a:pt x="65" y="117"/>
                  </a:lnTo>
                  <a:lnTo>
                    <a:pt x="57" y="122"/>
                  </a:lnTo>
                  <a:lnTo>
                    <a:pt x="47" y="125"/>
                  </a:lnTo>
                  <a:lnTo>
                    <a:pt x="43" y="126"/>
                  </a:lnTo>
                  <a:lnTo>
                    <a:pt x="38" y="126"/>
                  </a:lnTo>
                  <a:lnTo>
                    <a:pt x="33" y="125"/>
                  </a:lnTo>
                  <a:lnTo>
                    <a:pt x="29" y="125"/>
                  </a:lnTo>
                  <a:lnTo>
                    <a:pt x="25" y="123"/>
                  </a:lnTo>
                  <a:lnTo>
                    <a:pt x="20" y="120"/>
                  </a:lnTo>
                  <a:lnTo>
                    <a:pt x="17" y="118"/>
                  </a:lnTo>
                  <a:lnTo>
                    <a:pt x="13" y="114"/>
                  </a:lnTo>
                  <a:lnTo>
                    <a:pt x="7" y="106"/>
                  </a:lnTo>
                  <a:lnTo>
                    <a:pt x="4" y="97"/>
                  </a:lnTo>
                  <a:lnTo>
                    <a:pt x="2" y="86"/>
                  </a:lnTo>
                  <a:lnTo>
                    <a:pt x="0" y="74"/>
                  </a:lnTo>
                  <a:lnTo>
                    <a:pt x="2" y="62"/>
                  </a:lnTo>
                  <a:lnTo>
                    <a:pt x="5" y="50"/>
                  </a:lnTo>
                  <a:close/>
                </a:path>
              </a:pathLst>
            </a:custGeom>
            <a:solidFill>
              <a:srgbClr val="B34E4B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6653" tIns="58327" rIns="116653" bIns="58327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434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137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78" name="Freeform 148"/>
            <p:cNvSpPr>
              <a:spLocks/>
            </p:cNvSpPr>
            <p:nvPr/>
          </p:nvSpPr>
          <p:spPr bwMode="auto">
            <a:xfrm>
              <a:off x="3963" y="2351"/>
              <a:ext cx="19" cy="25"/>
            </a:xfrm>
            <a:custGeom>
              <a:avLst/>
              <a:gdLst>
                <a:gd name="T0" fmla="*/ 2 w 75"/>
                <a:gd name="T1" fmla="*/ 40 h 100"/>
                <a:gd name="T2" fmla="*/ 7 w 75"/>
                <a:gd name="T3" fmla="*/ 29 h 100"/>
                <a:gd name="T4" fmla="*/ 11 w 75"/>
                <a:gd name="T5" fmla="*/ 21 h 100"/>
                <a:gd name="T6" fmla="*/ 17 w 75"/>
                <a:gd name="T7" fmla="*/ 14 h 100"/>
                <a:gd name="T8" fmla="*/ 24 w 75"/>
                <a:gd name="T9" fmla="*/ 8 h 100"/>
                <a:gd name="T10" fmla="*/ 31 w 75"/>
                <a:gd name="T11" fmla="*/ 3 h 100"/>
                <a:gd name="T12" fmla="*/ 38 w 75"/>
                <a:gd name="T13" fmla="*/ 1 h 100"/>
                <a:gd name="T14" fmla="*/ 45 w 75"/>
                <a:gd name="T15" fmla="*/ 0 h 100"/>
                <a:gd name="T16" fmla="*/ 53 w 75"/>
                <a:gd name="T17" fmla="*/ 1 h 100"/>
                <a:gd name="T18" fmla="*/ 60 w 75"/>
                <a:gd name="T19" fmla="*/ 4 h 100"/>
                <a:gd name="T20" fmla="*/ 65 w 75"/>
                <a:gd name="T21" fmla="*/ 9 h 100"/>
                <a:gd name="T22" fmla="*/ 70 w 75"/>
                <a:gd name="T23" fmla="*/ 16 h 100"/>
                <a:gd name="T24" fmla="*/ 73 w 75"/>
                <a:gd name="T25" fmla="*/ 23 h 100"/>
                <a:gd name="T26" fmla="*/ 75 w 75"/>
                <a:gd name="T27" fmla="*/ 33 h 100"/>
                <a:gd name="T28" fmla="*/ 75 w 75"/>
                <a:gd name="T29" fmla="*/ 41 h 100"/>
                <a:gd name="T30" fmla="*/ 75 w 75"/>
                <a:gd name="T31" fmla="*/ 51 h 100"/>
                <a:gd name="T32" fmla="*/ 73 w 75"/>
                <a:gd name="T33" fmla="*/ 61 h 100"/>
                <a:gd name="T34" fmla="*/ 68 w 75"/>
                <a:gd name="T35" fmla="*/ 70 h 100"/>
                <a:gd name="T36" fmla="*/ 63 w 75"/>
                <a:gd name="T37" fmla="*/ 80 h 100"/>
                <a:gd name="T38" fmla="*/ 57 w 75"/>
                <a:gd name="T39" fmla="*/ 87 h 100"/>
                <a:gd name="T40" fmla="*/ 51 w 75"/>
                <a:gd name="T41" fmla="*/ 93 h 100"/>
                <a:gd name="T42" fmla="*/ 44 w 75"/>
                <a:gd name="T43" fmla="*/ 96 h 100"/>
                <a:gd name="T44" fmla="*/ 36 w 75"/>
                <a:gd name="T45" fmla="*/ 100 h 100"/>
                <a:gd name="T46" fmla="*/ 29 w 75"/>
                <a:gd name="T47" fmla="*/ 100 h 100"/>
                <a:gd name="T48" fmla="*/ 22 w 75"/>
                <a:gd name="T49" fmla="*/ 98 h 100"/>
                <a:gd name="T50" fmla="*/ 15 w 75"/>
                <a:gd name="T51" fmla="*/ 95 h 100"/>
                <a:gd name="T52" fmla="*/ 9 w 75"/>
                <a:gd name="T53" fmla="*/ 90 h 100"/>
                <a:gd name="T54" fmla="*/ 5 w 75"/>
                <a:gd name="T55" fmla="*/ 84 h 100"/>
                <a:gd name="T56" fmla="*/ 2 w 75"/>
                <a:gd name="T57" fmla="*/ 76 h 100"/>
                <a:gd name="T58" fmla="*/ 0 w 75"/>
                <a:gd name="T59" fmla="*/ 68 h 100"/>
                <a:gd name="T60" fmla="*/ 0 w 75"/>
                <a:gd name="T61" fmla="*/ 58 h 100"/>
                <a:gd name="T62" fmla="*/ 0 w 75"/>
                <a:gd name="T63" fmla="*/ 49 h 100"/>
                <a:gd name="T64" fmla="*/ 2 w 75"/>
                <a:gd name="T65" fmla="*/ 40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75" h="100">
                  <a:moveTo>
                    <a:pt x="2" y="40"/>
                  </a:moveTo>
                  <a:lnTo>
                    <a:pt x="7" y="29"/>
                  </a:lnTo>
                  <a:lnTo>
                    <a:pt x="11" y="21"/>
                  </a:lnTo>
                  <a:lnTo>
                    <a:pt x="17" y="14"/>
                  </a:lnTo>
                  <a:lnTo>
                    <a:pt x="24" y="8"/>
                  </a:lnTo>
                  <a:lnTo>
                    <a:pt x="31" y="3"/>
                  </a:lnTo>
                  <a:lnTo>
                    <a:pt x="38" y="1"/>
                  </a:lnTo>
                  <a:lnTo>
                    <a:pt x="45" y="0"/>
                  </a:lnTo>
                  <a:lnTo>
                    <a:pt x="53" y="1"/>
                  </a:lnTo>
                  <a:lnTo>
                    <a:pt x="60" y="4"/>
                  </a:lnTo>
                  <a:lnTo>
                    <a:pt x="65" y="9"/>
                  </a:lnTo>
                  <a:lnTo>
                    <a:pt x="70" y="16"/>
                  </a:lnTo>
                  <a:lnTo>
                    <a:pt x="73" y="23"/>
                  </a:lnTo>
                  <a:lnTo>
                    <a:pt x="75" y="33"/>
                  </a:lnTo>
                  <a:lnTo>
                    <a:pt x="75" y="41"/>
                  </a:lnTo>
                  <a:lnTo>
                    <a:pt x="75" y="51"/>
                  </a:lnTo>
                  <a:lnTo>
                    <a:pt x="73" y="61"/>
                  </a:lnTo>
                  <a:lnTo>
                    <a:pt x="68" y="70"/>
                  </a:lnTo>
                  <a:lnTo>
                    <a:pt x="63" y="80"/>
                  </a:lnTo>
                  <a:lnTo>
                    <a:pt x="57" y="87"/>
                  </a:lnTo>
                  <a:lnTo>
                    <a:pt x="51" y="93"/>
                  </a:lnTo>
                  <a:lnTo>
                    <a:pt x="44" y="96"/>
                  </a:lnTo>
                  <a:lnTo>
                    <a:pt x="36" y="100"/>
                  </a:lnTo>
                  <a:lnTo>
                    <a:pt x="29" y="100"/>
                  </a:lnTo>
                  <a:lnTo>
                    <a:pt x="22" y="98"/>
                  </a:lnTo>
                  <a:lnTo>
                    <a:pt x="15" y="95"/>
                  </a:lnTo>
                  <a:lnTo>
                    <a:pt x="9" y="90"/>
                  </a:lnTo>
                  <a:lnTo>
                    <a:pt x="5" y="84"/>
                  </a:lnTo>
                  <a:lnTo>
                    <a:pt x="2" y="76"/>
                  </a:lnTo>
                  <a:lnTo>
                    <a:pt x="0" y="68"/>
                  </a:lnTo>
                  <a:lnTo>
                    <a:pt x="0" y="58"/>
                  </a:lnTo>
                  <a:lnTo>
                    <a:pt x="0" y="49"/>
                  </a:lnTo>
                  <a:lnTo>
                    <a:pt x="2" y="40"/>
                  </a:lnTo>
                  <a:close/>
                </a:path>
              </a:pathLst>
            </a:custGeom>
            <a:solidFill>
              <a:srgbClr val="B34E4B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6653" tIns="58327" rIns="116653" bIns="58327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434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137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79" name="Freeform 149"/>
            <p:cNvSpPr>
              <a:spLocks/>
            </p:cNvSpPr>
            <p:nvPr/>
          </p:nvSpPr>
          <p:spPr bwMode="auto">
            <a:xfrm>
              <a:off x="3988" y="2008"/>
              <a:ext cx="40" cy="28"/>
            </a:xfrm>
            <a:custGeom>
              <a:avLst/>
              <a:gdLst>
                <a:gd name="T0" fmla="*/ 80 w 158"/>
                <a:gd name="T1" fmla="*/ 113 h 113"/>
                <a:gd name="T2" fmla="*/ 65 w 158"/>
                <a:gd name="T3" fmla="*/ 112 h 113"/>
                <a:gd name="T4" fmla="*/ 49 w 158"/>
                <a:gd name="T5" fmla="*/ 108 h 113"/>
                <a:gd name="T6" fmla="*/ 36 w 158"/>
                <a:gd name="T7" fmla="*/ 103 h 113"/>
                <a:gd name="T8" fmla="*/ 25 w 158"/>
                <a:gd name="T9" fmla="*/ 98 h 113"/>
                <a:gd name="T10" fmla="*/ 19 w 158"/>
                <a:gd name="T11" fmla="*/ 93 h 113"/>
                <a:gd name="T12" fmla="*/ 14 w 158"/>
                <a:gd name="T13" fmla="*/ 89 h 113"/>
                <a:gd name="T14" fmla="*/ 10 w 158"/>
                <a:gd name="T15" fmla="*/ 85 h 113"/>
                <a:gd name="T16" fmla="*/ 7 w 158"/>
                <a:gd name="T17" fmla="*/ 80 h 113"/>
                <a:gd name="T18" fmla="*/ 4 w 158"/>
                <a:gd name="T19" fmla="*/ 74 h 113"/>
                <a:gd name="T20" fmla="*/ 2 w 158"/>
                <a:gd name="T21" fmla="*/ 69 h 113"/>
                <a:gd name="T22" fmla="*/ 1 w 158"/>
                <a:gd name="T23" fmla="*/ 63 h 113"/>
                <a:gd name="T24" fmla="*/ 0 w 158"/>
                <a:gd name="T25" fmla="*/ 58 h 113"/>
                <a:gd name="T26" fmla="*/ 1 w 158"/>
                <a:gd name="T27" fmla="*/ 52 h 113"/>
                <a:gd name="T28" fmla="*/ 2 w 158"/>
                <a:gd name="T29" fmla="*/ 47 h 113"/>
                <a:gd name="T30" fmla="*/ 3 w 158"/>
                <a:gd name="T31" fmla="*/ 41 h 113"/>
                <a:gd name="T32" fmla="*/ 6 w 158"/>
                <a:gd name="T33" fmla="*/ 35 h 113"/>
                <a:gd name="T34" fmla="*/ 9 w 158"/>
                <a:gd name="T35" fmla="*/ 30 h 113"/>
                <a:gd name="T36" fmla="*/ 13 w 158"/>
                <a:gd name="T37" fmla="*/ 26 h 113"/>
                <a:gd name="T38" fmla="*/ 17 w 158"/>
                <a:gd name="T39" fmla="*/ 21 h 113"/>
                <a:gd name="T40" fmla="*/ 22 w 158"/>
                <a:gd name="T41" fmla="*/ 18 h 113"/>
                <a:gd name="T42" fmla="*/ 34 w 158"/>
                <a:gd name="T43" fmla="*/ 10 h 113"/>
                <a:gd name="T44" fmla="*/ 47 w 158"/>
                <a:gd name="T45" fmla="*/ 5 h 113"/>
                <a:gd name="T46" fmla="*/ 62 w 158"/>
                <a:gd name="T47" fmla="*/ 1 h 113"/>
                <a:gd name="T48" fmla="*/ 77 w 158"/>
                <a:gd name="T49" fmla="*/ 0 h 113"/>
                <a:gd name="T50" fmla="*/ 94 w 158"/>
                <a:gd name="T51" fmla="*/ 1 h 113"/>
                <a:gd name="T52" fmla="*/ 109 w 158"/>
                <a:gd name="T53" fmla="*/ 3 h 113"/>
                <a:gd name="T54" fmla="*/ 122 w 158"/>
                <a:gd name="T55" fmla="*/ 8 h 113"/>
                <a:gd name="T56" fmla="*/ 134 w 158"/>
                <a:gd name="T57" fmla="*/ 15 h 113"/>
                <a:gd name="T58" fmla="*/ 140 w 158"/>
                <a:gd name="T59" fmla="*/ 19 h 113"/>
                <a:gd name="T60" fmla="*/ 143 w 158"/>
                <a:gd name="T61" fmla="*/ 23 h 113"/>
                <a:gd name="T62" fmla="*/ 148 w 158"/>
                <a:gd name="T63" fmla="*/ 28 h 113"/>
                <a:gd name="T64" fmla="*/ 152 w 158"/>
                <a:gd name="T65" fmla="*/ 33 h 113"/>
                <a:gd name="T66" fmla="*/ 154 w 158"/>
                <a:gd name="T67" fmla="*/ 38 h 113"/>
                <a:gd name="T68" fmla="*/ 156 w 158"/>
                <a:gd name="T69" fmla="*/ 43 h 113"/>
                <a:gd name="T70" fmla="*/ 158 w 158"/>
                <a:gd name="T71" fmla="*/ 49 h 113"/>
                <a:gd name="T72" fmla="*/ 158 w 158"/>
                <a:gd name="T73" fmla="*/ 54 h 113"/>
                <a:gd name="T74" fmla="*/ 158 w 158"/>
                <a:gd name="T75" fmla="*/ 60 h 113"/>
                <a:gd name="T76" fmla="*/ 156 w 158"/>
                <a:gd name="T77" fmla="*/ 66 h 113"/>
                <a:gd name="T78" fmla="*/ 155 w 158"/>
                <a:gd name="T79" fmla="*/ 72 h 113"/>
                <a:gd name="T80" fmla="*/ 152 w 158"/>
                <a:gd name="T81" fmla="*/ 76 h 113"/>
                <a:gd name="T82" fmla="*/ 149 w 158"/>
                <a:gd name="T83" fmla="*/ 82 h 113"/>
                <a:gd name="T84" fmla="*/ 145 w 158"/>
                <a:gd name="T85" fmla="*/ 87 h 113"/>
                <a:gd name="T86" fmla="*/ 141 w 158"/>
                <a:gd name="T87" fmla="*/ 90 h 113"/>
                <a:gd name="T88" fmla="*/ 135 w 158"/>
                <a:gd name="T89" fmla="*/ 95 h 113"/>
                <a:gd name="T90" fmla="*/ 125 w 158"/>
                <a:gd name="T91" fmla="*/ 102 h 113"/>
                <a:gd name="T92" fmla="*/ 110 w 158"/>
                <a:gd name="T93" fmla="*/ 108 h 113"/>
                <a:gd name="T94" fmla="*/ 96 w 158"/>
                <a:gd name="T95" fmla="*/ 112 h 113"/>
                <a:gd name="T96" fmla="*/ 80 w 158"/>
                <a:gd name="T97" fmla="*/ 113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158" h="113">
                  <a:moveTo>
                    <a:pt x="80" y="113"/>
                  </a:moveTo>
                  <a:lnTo>
                    <a:pt x="65" y="112"/>
                  </a:lnTo>
                  <a:lnTo>
                    <a:pt x="49" y="108"/>
                  </a:lnTo>
                  <a:lnTo>
                    <a:pt x="36" y="103"/>
                  </a:lnTo>
                  <a:lnTo>
                    <a:pt x="25" y="98"/>
                  </a:lnTo>
                  <a:lnTo>
                    <a:pt x="19" y="93"/>
                  </a:lnTo>
                  <a:lnTo>
                    <a:pt x="14" y="89"/>
                  </a:lnTo>
                  <a:lnTo>
                    <a:pt x="10" y="85"/>
                  </a:lnTo>
                  <a:lnTo>
                    <a:pt x="7" y="80"/>
                  </a:lnTo>
                  <a:lnTo>
                    <a:pt x="4" y="74"/>
                  </a:lnTo>
                  <a:lnTo>
                    <a:pt x="2" y="69"/>
                  </a:lnTo>
                  <a:lnTo>
                    <a:pt x="1" y="63"/>
                  </a:lnTo>
                  <a:lnTo>
                    <a:pt x="0" y="58"/>
                  </a:lnTo>
                  <a:lnTo>
                    <a:pt x="1" y="52"/>
                  </a:lnTo>
                  <a:lnTo>
                    <a:pt x="2" y="47"/>
                  </a:lnTo>
                  <a:lnTo>
                    <a:pt x="3" y="41"/>
                  </a:lnTo>
                  <a:lnTo>
                    <a:pt x="6" y="35"/>
                  </a:lnTo>
                  <a:lnTo>
                    <a:pt x="9" y="30"/>
                  </a:lnTo>
                  <a:lnTo>
                    <a:pt x="13" y="26"/>
                  </a:lnTo>
                  <a:lnTo>
                    <a:pt x="17" y="21"/>
                  </a:lnTo>
                  <a:lnTo>
                    <a:pt x="22" y="18"/>
                  </a:lnTo>
                  <a:lnTo>
                    <a:pt x="34" y="10"/>
                  </a:lnTo>
                  <a:lnTo>
                    <a:pt x="47" y="5"/>
                  </a:lnTo>
                  <a:lnTo>
                    <a:pt x="62" y="1"/>
                  </a:lnTo>
                  <a:lnTo>
                    <a:pt x="77" y="0"/>
                  </a:lnTo>
                  <a:lnTo>
                    <a:pt x="94" y="1"/>
                  </a:lnTo>
                  <a:lnTo>
                    <a:pt x="109" y="3"/>
                  </a:lnTo>
                  <a:lnTo>
                    <a:pt x="122" y="8"/>
                  </a:lnTo>
                  <a:lnTo>
                    <a:pt x="134" y="15"/>
                  </a:lnTo>
                  <a:lnTo>
                    <a:pt x="140" y="19"/>
                  </a:lnTo>
                  <a:lnTo>
                    <a:pt x="143" y="23"/>
                  </a:lnTo>
                  <a:lnTo>
                    <a:pt x="148" y="28"/>
                  </a:lnTo>
                  <a:lnTo>
                    <a:pt x="152" y="33"/>
                  </a:lnTo>
                  <a:lnTo>
                    <a:pt x="154" y="38"/>
                  </a:lnTo>
                  <a:lnTo>
                    <a:pt x="156" y="43"/>
                  </a:lnTo>
                  <a:lnTo>
                    <a:pt x="158" y="49"/>
                  </a:lnTo>
                  <a:lnTo>
                    <a:pt x="158" y="54"/>
                  </a:lnTo>
                  <a:lnTo>
                    <a:pt x="158" y="60"/>
                  </a:lnTo>
                  <a:lnTo>
                    <a:pt x="156" y="66"/>
                  </a:lnTo>
                  <a:lnTo>
                    <a:pt x="155" y="72"/>
                  </a:lnTo>
                  <a:lnTo>
                    <a:pt x="152" y="76"/>
                  </a:lnTo>
                  <a:lnTo>
                    <a:pt x="149" y="82"/>
                  </a:lnTo>
                  <a:lnTo>
                    <a:pt x="145" y="87"/>
                  </a:lnTo>
                  <a:lnTo>
                    <a:pt x="141" y="90"/>
                  </a:lnTo>
                  <a:lnTo>
                    <a:pt x="135" y="95"/>
                  </a:lnTo>
                  <a:lnTo>
                    <a:pt x="125" y="102"/>
                  </a:lnTo>
                  <a:lnTo>
                    <a:pt x="110" y="108"/>
                  </a:lnTo>
                  <a:lnTo>
                    <a:pt x="96" y="112"/>
                  </a:lnTo>
                  <a:lnTo>
                    <a:pt x="80" y="113"/>
                  </a:lnTo>
                  <a:close/>
                </a:path>
              </a:pathLst>
            </a:custGeom>
            <a:solidFill>
              <a:srgbClr val="B34E4B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6653" tIns="58327" rIns="116653" bIns="58327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434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137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80" name="Freeform 150"/>
            <p:cNvSpPr>
              <a:spLocks/>
            </p:cNvSpPr>
            <p:nvPr/>
          </p:nvSpPr>
          <p:spPr bwMode="auto">
            <a:xfrm>
              <a:off x="3951" y="2014"/>
              <a:ext cx="29" cy="20"/>
            </a:xfrm>
            <a:custGeom>
              <a:avLst/>
              <a:gdLst>
                <a:gd name="T0" fmla="*/ 59 w 118"/>
                <a:gd name="T1" fmla="*/ 84 h 84"/>
                <a:gd name="T2" fmla="*/ 47 w 118"/>
                <a:gd name="T3" fmla="*/ 84 h 84"/>
                <a:gd name="T4" fmla="*/ 37 w 118"/>
                <a:gd name="T5" fmla="*/ 81 h 84"/>
                <a:gd name="T6" fmla="*/ 26 w 118"/>
                <a:gd name="T7" fmla="*/ 78 h 84"/>
                <a:gd name="T8" fmla="*/ 18 w 118"/>
                <a:gd name="T9" fmla="*/ 72 h 84"/>
                <a:gd name="T10" fmla="*/ 11 w 118"/>
                <a:gd name="T11" fmla="*/ 66 h 84"/>
                <a:gd name="T12" fmla="*/ 5 w 118"/>
                <a:gd name="T13" fmla="*/ 59 h 84"/>
                <a:gd name="T14" fmla="*/ 1 w 118"/>
                <a:gd name="T15" fmla="*/ 51 h 84"/>
                <a:gd name="T16" fmla="*/ 0 w 118"/>
                <a:gd name="T17" fmla="*/ 43 h 84"/>
                <a:gd name="T18" fmla="*/ 1 w 118"/>
                <a:gd name="T19" fmla="*/ 34 h 84"/>
                <a:gd name="T20" fmla="*/ 4 w 118"/>
                <a:gd name="T21" fmla="*/ 26 h 84"/>
                <a:gd name="T22" fmla="*/ 10 w 118"/>
                <a:gd name="T23" fmla="*/ 19 h 84"/>
                <a:gd name="T24" fmla="*/ 17 w 118"/>
                <a:gd name="T25" fmla="*/ 13 h 84"/>
                <a:gd name="T26" fmla="*/ 25 w 118"/>
                <a:gd name="T27" fmla="*/ 7 h 84"/>
                <a:gd name="T28" fmla="*/ 35 w 118"/>
                <a:gd name="T29" fmla="*/ 4 h 84"/>
                <a:gd name="T30" fmla="*/ 46 w 118"/>
                <a:gd name="T31" fmla="*/ 0 h 84"/>
                <a:gd name="T32" fmla="*/ 58 w 118"/>
                <a:gd name="T33" fmla="*/ 0 h 84"/>
                <a:gd name="T34" fmla="*/ 70 w 118"/>
                <a:gd name="T35" fmla="*/ 0 h 84"/>
                <a:gd name="T36" fmla="*/ 81 w 118"/>
                <a:gd name="T37" fmla="*/ 3 h 84"/>
                <a:gd name="T38" fmla="*/ 91 w 118"/>
                <a:gd name="T39" fmla="*/ 6 h 84"/>
                <a:gd name="T40" fmla="*/ 100 w 118"/>
                <a:gd name="T41" fmla="*/ 12 h 84"/>
                <a:gd name="T42" fmla="*/ 107 w 118"/>
                <a:gd name="T43" fmla="*/ 18 h 84"/>
                <a:gd name="T44" fmla="*/ 113 w 118"/>
                <a:gd name="T45" fmla="*/ 25 h 84"/>
                <a:gd name="T46" fmla="*/ 117 w 118"/>
                <a:gd name="T47" fmla="*/ 32 h 84"/>
                <a:gd name="T48" fmla="*/ 118 w 118"/>
                <a:gd name="T49" fmla="*/ 40 h 84"/>
                <a:gd name="T50" fmla="*/ 117 w 118"/>
                <a:gd name="T51" fmla="*/ 50 h 84"/>
                <a:gd name="T52" fmla="*/ 113 w 118"/>
                <a:gd name="T53" fmla="*/ 58 h 84"/>
                <a:gd name="T54" fmla="*/ 108 w 118"/>
                <a:gd name="T55" fmla="*/ 65 h 84"/>
                <a:gd name="T56" fmla="*/ 101 w 118"/>
                <a:gd name="T57" fmla="*/ 71 h 84"/>
                <a:gd name="T58" fmla="*/ 92 w 118"/>
                <a:gd name="T59" fmla="*/ 77 h 84"/>
                <a:gd name="T60" fmla="*/ 83 w 118"/>
                <a:gd name="T61" fmla="*/ 80 h 84"/>
                <a:gd name="T62" fmla="*/ 71 w 118"/>
                <a:gd name="T63" fmla="*/ 83 h 84"/>
                <a:gd name="T64" fmla="*/ 59 w 118"/>
                <a:gd name="T65" fmla="*/ 84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18" h="84">
                  <a:moveTo>
                    <a:pt x="59" y="84"/>
                  </a:moveTo>
                  <a:lnTo>
                    <a:pt x="47" y="84"/>
                  </a:lnTo>
                  <a:lnTo>
                    <a:pt x="37" y="81"/>
                  </a:lnTo>
                  <a:lnTo>
                    <a:pt x="26" y="78"/>
                  </a:lnTo>
                  <a:lnTo>
                    <a:pt x="18" y="72"/>
                  </a:lnTo>
                  <a:lnTo>
                    <a:pt x="11" y="66"/>
                  </a:lnTo>
                  <a:lnTo>
                    <a:pt x="5" y="59"/>
                  </a:lnTo>
                  <a:lnTo>
                    <a:pt x="1" y="51"/>
                  </a:lnTo>
                  <a:lnTo>
                    <a:pt x="0" y="43"/>
                  </a:lnTo>
                  <a:lnTo>
                    <a:pt x="1" y="34"/>
                  </a:lnTo>
                  <a:lnTo>
                    <a:pt x="4" y="26"/>
                  </a:lnTo>
                  <a:lnTo>
                    <a:pt x="10" y="19"/>
                  </a:lnTo>
                  <a:lnTo>
                    <a:pt x="17" y="13"/>
                  </a:lnTo>
                  <a:lnTo>
                    <a:pt x="25" y="7"/>
                  </a:lnTo>
                  <a:lnTo>
                    <a:pt x="35" y="4"/>
                  </a:lnTo>
                  <a:lnTo>
                    <a:pt x="46" y="0"/>
                  </a:lnTo>
                  <a:lnTo>
                    <a:pt x="58" y="0"/>
                  </a:lnTo>
                  <a:lnTo>
                    <a:pt x="70" y="0"/>
                  </a:lnTo>
                  <a:lnTo>
                    <a:pt x="81" y="3"/>
                  </a:lnTo>
                  <a:lnTo>
                    <a:pt x="91" y="6"/>
                  </a:lnTo>
                  <a:lnTo>
                    <a:pt x="100" y="12"/>
                  </a:lnTo>
                  <a:lnTo>
                    <a:pt x="107" y="18"/>
                  </a:lnTo>
                  <a:lnTo>
                    <a:pt x="113" y="25"/>
                  </a:lnTo>
                  <a:lnTo>
                    <a:pt x="117" y="32"/>
                  </a:lnTo>
                  <a:lnTo>
                    <a:pt x="118" y="40"/>
                  </a:lnTo>
                  <a:lnTo>
                    <a:pt x="117" y="50"/>
                  </a:lnTo>
                  <a:lnTo>
                    <a:pt x="113" y="58"/>
                  </a:lnTo>
                  <a:lnTo>
                    <a:pt x="108" y="65"/>
                  </a:lnTo>
                  <a:lnTo>
                    <a:pt x="101" y="71"/>
                  </a:lnTo>
                  <a:lnTo>
                    <a:pt x="92" y="77"/>
                  </a:lnTo>
                  <a:lnTo>
                    <a:pt x="83" y="80"/>
                  </a:lnTo>
                  <a:lnTo>
                    <a:pt x="71" y="83"/>
                  </a:lnTo>
                  <a:lnTo>
                    <a:pt x="59" y="84"/>
                  </a:lnTo>
                  <a:close/>
                </a:path>
              </a:pathLst>
            </a:custGeom>
            <a:solidFill>
              <a:srgbClr val="B34E4B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6653" tIns="58327" rIns="116653" bIns="58327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434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137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81" name="Freeform 151"/>
            <p:cNvSpPr>
              <a:spLocks/>
            </p:cNvSpPr>
            <p:nvPr/>
          </p:nvSpPr>
          <p:spPr bwMode="auto">
            <a:xfrm>
              <a:off x="3974" y="1993"/>
              <a:ext cx="24" cy="17"/>
            </a:xfrm>
            <a:custGeom>
              <a:avLst/>
              <a:gdLst>
                <a:gd name="T0" fmla="*/ 48 w 94"/>
                <a:gd name="T1" fmla="*/ 67 h 67"/>
                <a:gd name="T2" fmla="*/ 39 w 94"/>
                <a:gd name="T3" fmla="*/ 66 h 67"/>
                <a:gd name="T4" fmla="*/ 30 w 94"/>
                <a:gd name="T5" fmla="*/ 65 h 67"/>
                <a:gd name="T6" fmla="*/ 21 w 94"/>
                <a:gd name="T7" fmla="*/ 61 h 67"/>
                <a:gd name="T8" fmla="*/ 14 w 94"/>
                <a:gd name="T9" fmla="*/ 58 h 67"/>
                <a:gd name="T10" fmla="*/ 8 w 94"/>
                <a:gd name="T11" fmla="*/ 53 h 67"/>
                <a:gd name="T12" fmla="*/ 5 w 94"/>
                <a:gd name="T13" fmla="*/ 47 h 67"/>
                <a:gd name="T14" fmla="*/ 1 w 94"/>
                <a:gd name="T15" fmla="*/ 41 h 67"/>
                <a:gd name="T16" fmla="*/ 0 w 94"/>
                <a:gd name="T17" fmla="*/ 34 h 67"/>
                <a:gd name="T18" fmla="*/ 1 w 94"/>
                <a:gd name="T19" fmla="*/ 27 h 67"/>
                <a:gd name="T20" fmla="*/ 4 w 94"/>
                <a:gd name="T21" fmla="*/ 21 h 67"/>
                <a:gd name="T22" fmla="*/ 8 w 94"/>
                <a:gd name="T23" fmla="*/ 15 h 67"/>
                <a:gd name="T24" fmla="*/ 14 w 94"/>
                <a:gd name="T25" fmla="*/ 11 h 67"/>
                <a:gd name="T26" fmla="*/ 21 w 94"/>
                <a:gd name="T27" fmla="*/ 6 h 67"/>
                <a:gd name="T28" fmla="*/ 28 w 94"/>
                <a:gd name="T29" fmla="*/ 2 h 67"/>
                <a:gd name="T30" fmla="*/ 38 w 94"/>
                <a:gd name="T31" fmla="*/ 1 h 67"/>
                <a:gd name="T32" fmla="*/ 47 w 94"/>
                <a:gd name="T33" fmla="*/ 0 h 67"/>
                <a:gd name="T34" fmla="*/ 57 w 94"/>
                <a:gd name="T35" fmla="*/ 0 h 67"/>
                <a:gd name="T36" fmla="*/ 65 w 94"/>
                <a:gd name="T37" fmla="*/ 2 h 67"/>
                <a:gd name="T38" fmla="*/ 73 w 94"/>
                <a:gd name="T39" fmla="*/ 5 h 67"/>
                <a:gd name="T40" fmla="*/ 80 w 94"/>
                <a:gd name="T41" fmla="*/ 9 h 67"/>
                <a:gd name="T42" fmla="*/ 86 w 94"/>
                <a:gd name="T43" fmla="*/ 14 h 67"/>
                <a:gd name="T44" fmla="*/ 91 w 94"/>
                <a:gd name="T45" fmla="*/ 20 h 67"/>
                <a:gd name="T46" fmla="*/ 93 w 94"/>
                <a:gd name="T47" fmla="*/ 26 h 67"/>
                <a:gd name="T48" fmla="*/ 94 w 94"/>
                <a:gd name="T49" fmla="*/ 33 h 67"/>
                <a:gd name="T50" fmla="*/ 93 w 94"/>
                <a:gd name="T51" fmla="*/ 39 h 67"/>
                <a:gd name="T52" fmla="*/ 91 w 94"/>
                <a:gd name="T53" fmla="*/ 46 h 67"/>
                <a:gd name="T54" fmla="*/ 87 w 94"/>
                <a:gd name="T55" fmla="*/ 52 h 67"/>
                <a:gd name="T56" fmla="*/ 81 w 94"/>
                <a:gd name="T57" fmla="*/ 56 h 67"/>
                <a:gd name="T58" fmla="*/ 74 w 94"/>
                <a:gd name="T59" fmla="*/ 61 h 67"/>
                <a:gd name="T60" fmla="*/ 66 w 94"/>
                <a:gd name="T61" fmla="*/ 64 h 67"/>
                <a:gd name="T62" fmla="*/ 58 w 94"/>
                <a:gd name="T63" fmla="*/ 66 h 67"/>
                <a:gd name="T64" fmla="*/ 48 w 94"/>
                <a:gd name="T65" fmla="*/ 67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94" h="67">
                  <a:moveTo>
                    <a:pt x="48" y="67"/>
                  </a:moveTo>
                  <a:lnTo>
                    <a:pt x="39" y="66"/>
                  </a:lnTo>
                  <a:lnTo>
                    <a:pt x="30" y="65"/>
                  </a:lnTo>
                  <a:lnTo>
                    <a:pt x="21" y="61"/>
                  </a:lnTo>
                  <a:lnTo>
                    <a:pt x="14" y="58"/>
                  </a:lnTo>
                  <a:lnTo>
                    <a:pt x="8" y="53"/>
                  </a:lnTo>
                  <a:lnTo>
                    <a:pt x="5" y="47"/>
                  </a:lnTo>
                  <a:lnTo>
                    <a:pt x="1" y="41"/>
                  </a:lnTo>
                  <a:lnTo>
                    <a:pt x="0" y="34"/>
                  </a:lnTo>
                  <a:lnTo>
                    <a:pt x="1" y="27"/>
                  </a:lnTo>
                  <a:lnTo>
                    <a:pt x="4" y="21"/>
                  </a:lnTo>
                  <a:lnTo>
                    <a:pt x="8" y="15"/>
                  </a:lnTo>
                  <a:lnTo>
                    <a:pt x="14" y="11"/>
                  </a:lnTo>
                  <a:lnTo>
                    <a:pt x="21" y="6"/>
                  </a:lnTo>
                  <a:lnTo>
                    <a:pt x="28" y="2"/>
                  </a:lnTo>
                  <a:lnTo>
                    <a:pt x="38" y="1"/>
                  </a:lnTo>
                  <a:lnTo>
                    <a:pt x="47" y="0"/>
                  </a:lnTo>
                  <a:lnTo>
                    <a:pt x="57" y="0"/>
                  </a:lnTo>
                  <a:lnTo>
                    <a:pt x="65" y="2"/>
                  </a:lnTo>
                  <a:lnTo>
                    <a:pt x="73" y="5"/>
                  </a:lnTo>
                  <a:lnTo>
                    <a:pt x="80" y="9"/>
                  </a:lnTo>
                  <a:lnTo>
                    <a:pt x="86" y="14"/>
                  </a:lnTo>
                  <a:lnTo>
                    <a:pt x="91" y="20"/>
                  </a:lnTo>
                  <a:lnTo>
                    <a:pt x="93" y="26"/>
                  </a:lnTo>
                  <a:lnTo>
                    <a:pt x="94" y="33"/>
                  </a:lnTo>
                  <a:lnTo>
                    <a:pt x="93" y="39"/>
                  </a:lnTo>
                  <a:lnTo>
                    <a:pt x="91" y="46"/>
                  </a:lnTo>
                  <a:lnTo>
                    <a:pt x="87" y="52"/>
                  </a:lnTo>
                  <a:lnTo>
                    <a:pt x="81" y="56"/>
                  </a:lnTo>
                  <a:lnTo>
                    <a:pt x="74" y="61"/>
                  </a:lnTo>
                  <a:lnTo>
                    <a:pt x="66" y="64"/>
                  </a:lnTo>
                  <a:lnTo>
                    <a:pt x="58" y="66"/>
                  </a:lnTo>
                  <a:lnTo>
                    <a:pt x="48" y="67"/>
                  </a:lnTo>
                  <a:close/>
                </a:path>
              </a:pathLst>
            </a:custGeom>
            <a:solidFill>
              <a:srgbClr val="B34E4B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6653" tIns="58327" rIns="116653" bIns="58327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434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137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82" name="Freeform 152"/>
            <p:cNvSpPr>
              <a:spLocks/>
            </p:cNvSpPr>
            <p:nvPr/>
          </p:nvSpPr>
          <p:spPr bwMode="auto">
            <a:xfrm>
              <a:off x="4048" y="2454"/>
              <a:ext cx="36" cy="37"/>
            </a:xfrm>
            <a:custGeom>
              <a:avLst/>
              <a:gdLst>
                <a:gd name="T0" fmla="*/ 148 w 148"/>
                <a:gd name="T1" fmla="*/ 72 h 147"/>
                <a:gd name="T2" fmla="*/ 146 w 148"/>
                <a:gd name="T3" fmla="*/ 87 h 147"/>
                <a:gd name="T4" fmla="*/ 142 w 148"/>
                <a:gd name="T5" fmla="*/ 100 h 147"/>
                <a:gd name="T6" fmla="*/ 136 w 148"/>
                <a:gd name="T7" fmla="*/ 113 h 147"/>
                <a:gd name="T8" fmla="*/ 126 w 148"/>
                <a:gd name="T9" fmla="*/ 125 h 147"/>
                <a:gd name="T10" fmla="*/ 116 w 148"/>
                <a:gd name="T11" fmla="*/ 133 h 147"/>
                <a:gd name="T12" fmla="*/ 104 w 148"/>
                <a:gd name="T13" fmla="*/ 140 h 147"/>
                <a:gd name="T14" fmla="*/ 90 w 148"/>
                <a:gd name="T15" fmla="*/ 145 h 147"/>
                <a:gd name="T16" fmla="*/ 75 w 148"/>
                <a:gd name="T17" fmla="*/ 147 h 147"/>
                <a:gd name="T18" fmla="*/ 60 w 148"/>
                <a:gd name="T19" fmla="*/ 146 h 147"/>
                <a:gd name="T20" fmla="*/ 48 w 148"/>
                <a:gd name="T21" fmla="*/ 143 h 147"/>
                <a:gd name="T22" fmla="*/ 35 w 148"/>
                <a:gd name="T23" fmla="*/ 136 h 147"/>
                <a:gd name="T24" fmla="*/ 24 w 148"/>
                <a:gd name="T25" fmla="*/ 127 h 147"/>
                <a:gd name="T26" fmla="*/ 15 w 148"/>
                <a:gd name="T27" fmla="*/ 117 h 147"/>
                <a:gd name="T28" fmla="*/ 7 w 148"/>
                <a:gd name="T29" fmla="*/ 104 h 147"/>
                <a:gd name="T30" fmla="*/ 3 w 148"/>
                <a:gd name="T31" fmla="*/ 90 h 147"/>
                <a:gd name="T32" fmla="*/ 0 w 148"/>
                <a:gd name="T33" fmla="*/ 76 h 147"/>
                <a:gd name="T34" fmla="*/ 2 w 148"/>
                <a:gd name="T35" fmla="*/ 60 h 147"/>
                <a:gd name="T36" fmla="*/ 5 w 148"/>
                <a:gd name="T37" fmla="*/ 47 h 147"/>
                <a:gd name="T38" fmla="*/ 12 w 148"/>
                <a:gd name="T39" fmla="*/ 34 h 147"/>
                <a:gd name="T40" fmla="*/ 20 w 148"/>
                <a:gd name="T41" fmla="*/ 24 h 147"/>
                <a:gd name="T42" fmla="*/ 31 w 148"/>
                <a:gd name="T43" fmla="*/ 14 h 147"/>
                <a:gd name="T44" fmla="*/ 44 w 148"/>
                <a:gd name="T45" fmla="*/ 7 h 147"/>
                <a:gd name="T46" fmla="*/ 58 w 148"/>
                <a:gd name="T47" fmla="*/ 3 h 147"/>
                <a:gd name="T48" fmla="*/ 72 w 148"/>
                <a:gd name="T49" fmla="*/ 0 h 147"/>
                <a:gd name="T50" fmla="*/ 88 w 148"/>
                <a:gd name="T51" fmla="*/ 1 h 147"/>
                <a:gd name="T52" fmla="*/ 100 w 148"/>
                <a:gd name="T53" fmla="*/ 6 h 147"/>
                <a:gd name="T54" fmla="*/ 113 w 148"/>
                <a:gd name="T55" fmla="*/ 12 h 147"/>
                <a:gd name="T56" fmla="*/ 124 w 148"/>
                <a:gd name="T57" fmla="*/ 21 h 147"/>
                <a:gd name="T58" fmla="*/ 133 w 148"/>
                <a:gd name="T59" fmla="*/ 32 h 147"/>
                <a:gd name="T60" fmla="*/ 141 w 148"/>
                <a:gd name="T61" fmla="*/ 44 h 147"/>
                <a:gd name="T62" fmla="*/ 145 w 148"/>
                <a:gd name="T63" fmla="*/ 58 h 1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48" h="147">
                  <a:moveTo>
                    <a:pt x="146" y="65"/>
                  </a:moveTo>
                  <a:lnTo>
                    <a:pt x="148" y="72"/>
                  </a:lnTo>
                  <a:lnTo>
                    <a:pt x="146" y="80"/>
                  </a:lnTo>
                  <a:lnTo>
                    <a:pt x="146" y="87"/>
                  </a:lnTo>
                  <a:lnTo>
                    <a:pt x="144" y="94"/>
                  </a:lnTo>
                  <a:lnTo>
                    <a:pt x="142" y="100"/>
                  </a:lnTo>
                  <a:lnTo>
                    <a:pt x="139" y="107"/>
                  </a:lnTo>
                  <a:lnTo>
                    <a:pt x="136" y="113"/>
                  </a:lnTo>
                  <a:lnTo>
                    <a:pt x="131" y="119"/>
                  </a:lnTo>
                  <a:lnTo>
                    <a:pt x="126" y="125"/>
                  </a:lnTo>
                  <a:lnTo>
                    <a:pt x="122" y="130"/>
                  </a:lnTo>
                  <a:lnTo>
                    <a:pt x="116" y="133"/>
                  </a:lnTo>
                  <a:lnTo>
                    <a:pt x="110" y="138"/>
                  </a:lnTo>
                  <a:lnTo>
                    <a:pt x="104" y="140"/>
                  </a:lnTo>
                  <a:lnTo>
                    <a:pt x="97" y="144"/>
                  </a:lnTo>
                  <a:lnTo>
                    <a:pt x="90" y="145"/>
                  </a:lnTo>
                  <a:lnTo>
                    <a:pt x="83" y="147"/>
                  </a:lnTo>
                  <a:lnTo>
                    <a:pt x="75" y="147"/>
                  </a:lnTo>
                  <a:lnTo>
                    <a:pt x="68" y="147"/>
                  </a:lnTo>
                  <a:lnTo>
                    <a:pt x="60" y="146"/>
                  </a:lnTo>
                  <a:lnTo>
                    <a:pt x="53" y="145"/>
                  </a:lnTo>
                  <a:lnTo>
                    <a:pt x="48" y="143"/>
                  </a:lnTo>
                  <a:lnTo>
                    <a:pt x="40" y="139"/>
                  </a:lnTo>
                  <a:lnTo>
                    <a:pt x="35" y="136"/>
                  </a:lnTo>
                  <a:lnTo>
                    <a:pt x="29" y="132"/>
                  </a:lnTo>
                  <a:lnTo>
                    <a:pt x="24" y="127"/>
                  </a:lnTo>
                  <a:lnTo>
                    <a:pt x="18" y="122"/>
                  </a:lnTo>
                  <a:lnTo>
                    <a:pt x="15" y="117"/>
                  </a:lnTo>
                  <a:lnTo>
                    <a:pt x="10" y="111"/>
                  </a:lnTo>
                  <a:lnTo>
                    <a:pt x="7" y="104"/>
                  </a:lnTo>
                  <a:lnTo>
                    <a:pt x="4" y="97"/>
                  </a:lnTo>
                  <a:lnTo>
                    <a:pt x="3" y="90"/>
                  </a:lnTo>
                  <a:lnTo>
                    <a:pt x="2" y="83"/>
                  </a:lnTo>
                  <a:lnTo>
                    <a:pt x="0" y="76"/>
                  </a:lnTo>
                  <a:lnTo>
                    <a:pt x="0" y="69"/>
                  </a:lnTo>
                  <a:lnTo>
                    <a:pt x="2" y="60"/>
                  </a:lnTo>
                  <a:lnTo>
                    <a:pt x="4" y="54"/>
                  </a:lnTo>
                  <a:lnTo>
                    <a:pt x="5" y="47"/>
                  </a:lnTo>
                  <a:lnTo>
                    <a:pt x="9" y="40"/>
                  </a:lnTo>
                  <a:lnTo>
                    <a:pt x="12" y="34"/>
                  </a:lnTo>
                  <a:lnTo>
                    <a:pt x="16" y="29"/>
                  </a:lnTo>
                  <a:lnTo>
                    <a:pt x="20" y="24"/>
                  </a:lnTo>
                  <a:lnTo>
                    <a:pt x="26" y="19"/>
                  </a:lnTo>
                  <a:lnTo>
                    <a:pt x="31" y="14"/>
                  </a:lnTo>
                  <a:lnTo>
                    <a:pt x="37" y="11"/>
                  </a:lnTo>
                  <a:lnTo>
                    <a:pt x="44" y="7"/>
                  </a:lnTo>
                  <a:lnTo>
                    <a:pt x="51" y="5"/>
                  </a:lnTo>
                  <a:lnTo>
                    <a:pt x="58" y="3"/>
                  </a:lnTo>
                  <a:lnTo>
                    <a:pt x="65" y="1"/>
                  </a:lnTo>
                  <a:lnTo>
                    <a:pt x="72" y="0"/>
                  </a:lnTo>
                  <a:lnTo>
                    <a:pt x="79" y="1"/>
                  </a:lnTo>
                  <a:lnTo>
                    <a:pt x="88" y="1"/>
                  </a:lnTo>
                  <a:lnTo>
                    <a:pt x="93" y="4"/>
                  </a:lnTo>
                  <a:lnTo>
                    <a:pt x="100" y="6"/>
                  </a:lnTo>
                  <a:lnTo>
                    <a:pt x="108" y="8"/>
                  </a:lnTo>
                  <a:lnTo>
                    <a:pt x="113" y="12"/>
                  </a:lnTo>
                  <a:lnTo>
                    <a:pt x="119" y="17"/>
                  </a:lnTo>
                  <a:lnTo>
                    <a:pt x="124" y="21"/>
                  </a:lnTo>
                  <a:lnTo>
                    <a:pt x="129" y="26"/>
                  </a:lnTo>
                  <a:lnTo>
                    <a:pt x="133" y="32"/>
                  </a:lnTo>
                  <a:lnTo>
                    <a:pt x="137" y="38"/>
                  </a:lnTo>
                  <a:lnTo>
                    <a:pt x="141" y="44"/>
                  </a:lnTo>
                  <a:lnTo>
                    <a:pt x="143" y="51"/>
                  </a:lnTo>
                  <a:lnTo>
                    <a:pt x="145" y="58"/>
                  </a:lnTo>
                  <a:lnTo>
                    <a:pt x="146" y="65"/>
                  </a:lnTo>
                  <a:close/>
                </a:path>
              </a:pathLst>
            </a:custGeom>
            <a:solidFill>
              <a:srgbClr val="B34E4B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6653" tIns="58327" rIns="116653" bIns="58327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434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137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83" name="Freeform 153"/>
            <p:cNvSpPr>
              <a:spLocks noEditPoints="1"/>
            </p:cNvSpPr>
            <p:nvPr/>
          </p:nvSpPr>
          <p:spPr bwMode="auto">
            <a:xfrm>
              <a:off x="3708" y="1945"/>
              <a:ext cx="640" cy="731"/>
            </a:xfrm>
            <a:custGeom>
              <a:avLst/>
              <a:gdLst>
                <a:gd name="T0" fmla="*/ 1260 w 2559"/>
                <a:gd name="T1" fmla="*/ 145 h 2925"/>
                <a:gd name="T2" fmla="*/ 1236 w 2559"/>
                <a:gd name="T3" fmla="*/ 156 h 2925"/>
                <a:gd name="T4" fmla="*/ 1277 w 2559"/>
                <a:gd name="T5" fmla="*/ 148 h 2925"/>
                <a:gd name="T6" fmla="*/ 764 w 2559"/>
                <a:gd name="T7" fmla="*/ 262 h 2925"/>
                <a:gd name="T8" fmla="*/ 971 w 2559"/>
                <a:gd name="T9" fmla="*/ 149 h 2925"/>
                <a:gd name="T10" fmla="*/ 965 w 2559"/>
                <a:gd name="T11" fmla="*/ 164 h 2925"/>
                <a:gd name="T12" fmla="*/ 942 w 2559"/>
                <a:gd name="T13" fmla="*/ 127 h 2925"/>
                <a:gd name="T14" fmla="*/ 1465 w 2559"/>
                <a:gd name="T15" fmla="*/ 146 h 2925"/>
                <a:gd name="T16" fmla="*/ 1445 w 2559"/>
                <a:gd name="T17" fmla="*/ 195 h 2925"/>
                <a:gd name="T18" fmla="*/ 2366 w 2559"/>
                <a:gd name="T19" fmla="*/ 405 h 2925"/>
                <a:gd name="T20" fmla="*/ 2370 w 2559"/>
                <a:gd name="T21" fmla="*/ 666 h 2925"/>
                <a:gd name="T22" fmla="*/ 1922 w 2559"/>
                <a:gd name="T23" fmla="*/ 1069 h 2925"/>
                <a:gd name="T24" fmla="*/ 1498 w 2559"/>
                <a:gd name="T25" fmla="*/ 201 h 2925"/>
                <a:gd name="T26" fmla="*/ 1614 w 2559"/>
                <a:gd name="T27" fmla="*/ 72 h 2925"/>
                <a:gd name="T28" fmla="*/ 1427 w 2559"/>
                <a:gd name="T29" fmla="*/ 58 h 2925"/>
                <a:gd name="T30" fmla="*/ 1449 w 2559"/>
                <a:gd name="T31" fmla="*/ 185 h 2925"/>
                <a:gd name="T32" fmla="*/ 1314 w 2559"/>
                <a:gd name="T33" fmla="*/ 33 h 2925"/>
                <a:gd name="T34" fmla="*/ 1194 w 2559"/>
                <a:gd name="T35" fmla="*/ 152 h 2925"/>
                <a:gd name="T36" fmla="*/ 1103 w 2559"/>
                <a:gd name="T37" fmla="*/ 85 h 2925"/>
                <a:gd name="T38" fmla="*/ 1001 w 2559"/>
                <a:gd name="T39" fmla="*/ 141 h 2925"/>
                <a:gd name="T40" fmla="*/ 960 w 2559"/>
                <a:gd name="T41" fmla="*/ 197 h 2925"/>
                <a:gd name="T42" fmla="*/ 841 w 2559"/>
                <a:gd name="T43" fmla="*/ 247 h 2925"/>
                <a:gd name="T44" fmla="*/ 745 w 2559"/>
                <a:gd name="T45" fmla="*/ 200 h 2925"/>
                <a:gd name="T46" fmla="*/ 773 w 2559"/>
                <a:gd name="T47" fmla="*/ 337 h 2925"/>
                <a:gd name="T48" fmla="*/ 701 w 2559"/>
                <a:gd name="T49" fmla="*/ 995 h 2925"/>
                <a:gd name="T50" fmla="*/ 689 w 2559"/>
                <a:gd name="T51" fmla="*/ 1304 h 2925"/>
                <a:gd name="T52" fmla="*/ 203 w 2559"/>
                <a:gd name="T53" fmla="*/ 945 h 2925"/>
                <a:gd name="T54" fmla="*/ 61 w 2559"/>
                <a:gd name="T55" fmla="*/ 1203 h 2925"/>
                <a:gd name="T56" fmla="*/ 637 w 2559"/>
                <a:gd name="T57" fmla="*/ 1451 h 2925"/>
                <a:gd name="T58" fmla="*/ 683 w 2559"/>
                <a:gd name="T59" fmla="*/ 1840 h 2925"/>
                <a:gd name="T60" fmla="*/ 638 w 2559"/>
                <a:gd name="T61" fmla="*/ 2692 h 2925"/>
                <a:gd name="T62" fmla="*/ 1734 w 2559"/>
                <a:gd name="T63" fmla="*/ 2899 h 2925"/>
                <a:gd name="T64" fmla="*/ 2476 w 2559"/>
                <a:gd name="T65" fmla="*/ 2285 h 2925"/>
                <a:gd name="T66" fmla="*/ 2127 w 2559"/>
                <a:gd name="T67" fmla="*/ 1424 h 2925"/>
                <a:gd name="T68" fmla="*/ 2391 w 2559"/>
                <a:gd name="T69" fmla="*/ 1025 h 2925"/>
                <a:gd name="T70" fmla="*/ 2558 w 2559"/>
                <a:gd name="T71" fmla="*/ 567 h 2925"/>
                <a:gd name="T72" fmla="*/ 2475 w 2559"/>
                <a:gd name="T73" fmla="*/ 460 h 2925"/>
                <a:gd name="T74" fmla="*/ 2417 w 2559"/>
                <a:gd name="T75" fmla="*/ 908 h 2925"/>
                <a:gd name="T76" fmla="*/ 1958 w 2559"/>
                <a:gd name="T77" fmla="*/ 1298 h 2925"/>
                <a:gd name="T78" fmla="*/ 2443 w 2559"/>
                <a:gd name="T79" fmla="*/ 2173 h 2925"/>
                <a:gd name="T80" fmla="*/ 1888 w 2559"/>
                <a:gd name="T81" fmla="*/ 2819 h 2925"/>
                <a:gd name="T82" fmla="*/ 782 w 2559"/>
                <a:gd name="T83" fmla="*/ 2743 h 2925"/>
                <a:gd name="T84" fmla="*/ 605 w 2559"/>
                <a:gd name="T85" fmla="*/ 1943 h 2925"/>
                <a:gd name="T86" fmla="*/ 692 w 2559"/>
                <a:gd name="T87" fmla="*/ 1444 h 2925"/>
                <a:gd name="T88" fmla="*/ 111 w 2559"/>
                <a:gd name="T89" fmla="*/ 1183 h 2925"/>
                <a:gd name="T90" fmla="*/ 159 w 2559"/>
                <a:gd name="T91" fmla="*/ 977 h 2925"/>
                <a:gd name="T92" fmla="*/ 659 w 2559"/>
                <a:gd name="T93" fmla="*/ 1334 h 2925"/>
                <a:gd name="T94" fmla="*/ 751 w 2559"/>
                <a:gd name="T95" fmla="*/ 1004 h 2925"/>
                <a:gd name="T96" fmla="*/ 796 w 2559"/>
                <a:gd name="T97" fmla="*/ 300 h 2925"/>
                <a:gd name="T98" fmla="*/ 712 w 2559"/>
                <a:gd name="T99" fmla="*/ 225 h 2925"/>
                <a:gd name="T100" fmla="*/ 798 w 2559"/>
                <a:gd name="T101" fmla="*/ 198 h 2925"/>
                <a:gd name="T102" fmla="*/ 1008 w 2559"/>
                <a:gd name="T103" fmla="*/ 186 h 2925"/>
                <a:gd name="T104" fmla="*/ 980 w 2559"/>
                <a:gd name="T105" fmla="*/ 139 h 2925"/>
                <a:gd name="T106" fmla="*/ 1080 w 2559"/>
                <a:gd name="T107" fmla="*/ 34 h 2925"/>
                <a:gd name="T108" fmla="*/ 1069 w 2559"/>
                <a:gd name="T109" fmla="*/ 212 h 2925"/>
                <a:gd name="T110" fmla="*/ 1241 w 2559"/>
                <a:gd name="T111" fmla="*/ 128 h 2925"/>
                <a:gd name="T112" fmla="*/ 1328 w 2559"/>
                <a:gd name="T113" fmla="*/ 58 h 2925"/>
                <a:gd name="T114" fmla="*/ 1461 w 2559"/>
                <a:gd name="T115" fmla="*/ 182 h 2925"/>
                <a:gd name="T116" fmla="*/ 1513 w 2559"/>
                <a:gd name="T117" fmla="*/ 193 h 2925"/>
                <a:gd name="T118" fmla="*/ 1620 w 2559"/>
                <a:gd name="T119" fmla="*/ 96 h 2925"/>
                <a:gd name="T120" fmla="*/ 1762 w 2559"/>
                <a:gd name="T121" fmla="*/ 661 h 2925"/>
                <a:gd name="T122" fmla="*/ 2296 w 2559"/>
                <a:gd name="T123" fmla="*/ 977 h 2925"/>
                <a:gd name="T124" fmla="*/ 2305 w 2559"/>
                <a:gd name="T125" fmla="*/ 546 h 29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559" h="2925">
                  <a:moveTo>
                    <a:pt x="1255" y="147"/>
                  </a:moveTo>
                  <a:lnTo>
                    <a:pt x="1236" y="156"/>
                  </a:lnTo>
                  <a:lnTo>
                    <a:pt x="1237" y="161"/>
                  </a:lnTo>
                  <a:lnTo>
                    <a:pt x="1240" y="168"/>
                  </a:lnTo>
                  <a:lnTo>
                    <a:pt x="1260" y="164"/>
                  </a:lnTo>
                  <a:lnTo>
                    <a:pt x="1254" y="144"/>
                  </a:lnTo>
                  <a:lnTo>
                    <a:pt x="1251" y="145"/>
                  </a:lnTo>
                  <a:lnTo>
                    <a:pt x="1257" y="165"/>
                  </a:lnTo>
                  <a:lnTo>
                    <a:pt x="1254" y="144"/>
                  </a:lnTo>
                  <a:lnTo>
                    <a:pt x="1255" y="153"/>
                  </a:lnTo>
                  <a:lnTo>
                    <a:pt x="1255" y="144"/>
                  </a:lnTo>
                  <a:lnTo>
                    <a:pt x="1254" y="144"/>
                  </a:lnTo>
                  <a:lnTo>
                    <a:pt x="1255" y="153"/>
                  </a:lnTo>
                  <a:lnTo>
                    <a:pt x="1255" y="144"/>
                  </a:lnTo>
                  <a:lnTo>
                    <a:pt x="1255" y="154"/>
                  </a:lnTo>
                  <a:lnTo>
                    <a:pt x="1262" y="146"/>
                  </a:lnTo>
                  <a:lnTo>
                    <a:pt x="1259" y="145"/>
                  </a:lnTo>
                  <a:lnTo>
                    <a:pt x="1255" y="144"/>
                  </a:lnTo>
                  <a:lnTo>
                    <a:pt x="1255" y="154"/>
                  </a:lnTo>
                  <a:lnTo>
                    <a:pt x="1262" y="146"/>
                  </a:lnTo>
                  <a:lnTo>
                    <a:pt x="1259" y="151"/>
                  </a:lnTo>
                  <a:lnTo>
                    <a:pt x="1262" y="146"/>
                  </a:lnTo>
                  <a:lnTo>
                    <a:pt x="1262" y="146"/>
                  </a:lnTo>
                  <a:lnTo>
                    <a:pt x="1259" y="151"/>
                  </a:lnTo>
                  <a:lnTo>
                    <a:pt x="1262" y="146"/>
                  </a:lnTo>
                  <a:lnTo>
                    <a:pt x="1262" y="147"/>
                  </a:lnTo>
                  <a:lnTo>
                    <a:pt x="1262" y="147"/>
                  </a:lnTo>
                  <a:lnTo>
                    <a:pt x="1262" y="146"/>
                  </a:lnTo>
                  <a:lnTo>
                    <a:pt x="1262" y="147"/>
                  </a:lnTo>
                  <a:lnTo>
                    <a:pt x="1262" y="147"/>
                  </a:lnTo>
                  <a:lnTo>
                    <a:pt x="1261" y="141"/>
                  </a:lnTo>
                  <a:lnTo>
                    <a:pt x="1261" y="140"/>
                  </a:lnTo>
                  <a:lnTo>
                    <a:pt x="1250" y="140"/>
                  </a:lnTo>
                  <a:lnTo>
                    <a:pt x="1260" y="145"/>
                  </a:lnTo>
                  <a:lnTo>
                    <a:pt x="1261" y="141"/>
                  </a:lnTo>
                  <a:lnTo>
                    <a:pt x="1261" y="140"/>
                  </a:lnTo>
                  <a:lnTo>
                    <a:pt x="1250" y="140"/>
                  </a:lnTo>
                  <a:lnTo>
                    <a:pt x="1260" y="145"/>
                  </a:lnTo>
                  <a:lnTo>
                    <a:pt x="1244" y="136"/>
                  </a:lnTo>
                  <a:lnTo>
                    <a:pt x="1255" y="151"/>
                  </a:lnTo>
                  <a:lnTo>
                    <a:pt x="1257" y="147"/>
                  </a:lnTo>
                  <a:lnTo>
                    <a:pt x="1260" y="145"/>
                  </a:lnTo>
                  <a:lnTo>
                    <a:pt x="1244" y="136"/>
                  </a:lnTo>
                  <a:lnTo>
                    <a:pt x="1255" y="151"/>
                  </a:lnTo>
                  <a:lnTo>
                    <a:pt x="1243" y="135"/>
                  </a:lnTo>
                  <a:lnTo>
                    <a:pt x="1243" y="154"/>
                  </a:lnTo>
                  <a:lnTo>
                    <a:pt x="1249" y="153"/>
                  </a:lnTo>
                  <a:lnTo>
                    <a:pt x="1255" y="151"/>
                  </a:lnTo>
                  <a:lnTo>
                    <a:pt x="1243" y="135"/>
                  </a:lnTo>
                  <a:lnTo>
                    <a:pt x="1243" y="154"/>
                  </a:lnTo>
                  <a:lnTo>
                    <a:pt x="1243" y="138"/>
                  </a:lnTo>
                  <a:lnTo>
                    <a:pt x="1234" y="152"/>
                  </a:lnTo>
                  <a:lnTo>
                    <a:pt x="1237" y="153"/>
                  </a:lnTo>
                  <a:lnTo>
                    <a:pt x="1243" y="154"/>
                  </a:lnTo>
                  <a:lnTo>
                    <a:pt x="1243" y="138"/>
                  </a:lnTo>
                  <a:lnTo>
                    <a:pt x="1234" y="152"/>
                  </a:lnTo>
                  <a:lnTo>
                    <a:pt x="1240" y="144"/>
                  </a:lnTo>
                  <a:lnTo>
                    <a:pt x="1231" y="149"/>
                  </a:lnTo>
                  <a:lnTo>
                    <a:pt x="1234" y="152"/>
                  </a:lnTo>
                  <a:lnTo>
                    <a:pt x="1240" y="144"/>
                  </a:lnTo>
                  <a:lnTo>
                    <a:pt x="1231" y="149"/>
                  </a:lnTo>
                  <a:lnTo>
                    <a:pt x="1233" y="149"/>
                  </a:lnTo>
                  <a:lnTo>
                    <a:pt x="1231" y="149"/>
                  </a:lnTo>
                  <a:lnTo>
                    <a:pt x="1231" y="149"/>
                  </a:lnTo>
                  <a:lnTo>
                    <a:pt x="1233" y="149"/>
                  </a:lnTo>
                  <a:lnTo>
                    <a:pt x="1231" y="149"/>
                  </a:lnTo>
                  <a:lnTo>
                    <a:pt x="1233" y="152"/>
                  </a:lnTo>
                  <a:lnTo>
                    <a:pt x="1236" y="156"/>
                  </a:lnTo>
                  <a:lnTo>
                    <a:pt x="1236" y="156"/>
                  </a:lnTo>
                  <a:lnTo>
                    <a:pt x="1255" y="147"/>
                  </a:lnTo>
                  <a:lnTo>
                    <a:pt x="1274" y="138"/>
                  </a:lnTo>
                  <a:lnTo>
                    <a:pt x="1269" y="129"/>
                  </a:lnTo>
                  <a:lnTo>
                    <a:pt x="1264" y="122"/>
                  </a:lnTo>
                  <a:lnTo>
                    <a:pt x="1261" y="120"/>
                  </a:lnTo>
                  <a:lnTo>
                    <a:pt x="1257" y="116"/>
                  </a:lnTo>
                  <a:lnTo>
                    <a:pt x="1251" y="114"/>
                  </a:lnTo>
                  <a:lnTo>
                    <a:pt x="1243" y="112"/>
                  </a:lnTo>
                  <a:lnTo>
                    <a:pt x="1239" y="113"/>
                  </a:lnTo>
                  <a:lnTo>
                    <a:pt x="1235" y="114"/>
                  </a:lnTo>
                  <a:lnTo>
                    <a:pt x="1231" y="115"/>
                  </a:lnTo>
                  <a:lnTo>
                    <a:pt x="1228" y="118"/>
                  </a:lnTo>
                  <a:lnTo>
                    <a:pt x="1222" y="125"/>
                  </a:lnTo>
                  <a:lnTo>
                    <a:pt x="1220" y="131"/>
                  </a:lnTo>
                  <a:lnTo>
                    <a:pt x="1220" y="136"/>
                  </a:lnTo>
                  <a:lnTo>
                    <a:pt x="1218" y="141"/>
                  </a:lnTo>
                  <a:lnTo>
                    <a:pt x="1220" y="147"/>
                  </a:lnTo>
                  <a:lnTo>
                    <a:pt x="1221" y="153"/>
                  </a:lnTo>
                  <a:lnTo>
                    <a:pt x="1222" y="160"/>
                  </a:lnTo>
                  <a:lnTo>
                    <a:pt x="1226" y="166"/>
                  </a:lnTo>
                  <a:lnTo>
                    <a:pt x="1229" y="173"/>
                  </a:lnTo>
                  <a:lnTo>
                    <a:pt x="1235" y="179"/>
                  </a:lnTo>
                  <a:lnTo>
                    <a:pt x="1240" y="181"/>
                  </a:lnTo>
                  <a:lnTo>
                    <a:pt x="1244" y="184"/>
                  </a:lnTo>
                  <a:lnTo>
                    <a:pt x="1249" y="185"/>
                  </a:lnTo>
                  <a:lnTo>
                    <a:pt x="1255" y="186"/>
                  </a:lnTo>
                  <a:lnTo>
                    <a:pt x="1259" y="186"/>
                  </a:lnTo>
                  <a:lnTo>
                    <a:pt x="1262" y="185"/>
                  </a:lnTo>
                  <a:lnTo>
                    <a:pt x="1263" y="185"/>
                  </a:lnTo>
                  <a:lnTo>
                    <a:pt x="1267" y="184"/>
                  </a:lnTo>
                  <a:lnTo>
                    <a:pt x="1284" y="178"/>
                  </a:lnTo>
                  <a:lnTo>
                    <a:pt x="1281" y="159"/>
                  </a:lnTo>
                  <a:lnTo>
                    <a:pt x="1277" y="148"/>
                  </a:lnTo>
                  <a:lnTo>
                    <a:pt x="1274" y="138"/>
                  </a:lnTo>
                  <a:lnTo>
                    <a:pt x="1274" y="138"/>
                  </a:lnTo>
                  <a:lnTo>
                    <a:pt x="1255" y="147"/>
                  </a:lnTo>
                  <a:close/>
                  <a:moveTo>
                    <a:pt x="798" y="212"/>
                  </a:moveTo>
                  <a:lnTo>
                    <a:pt x="777" y="213"/>
                  </a:lnTo>
                  <a:lnTo>
                    <a:pt x="777" y="218"/>
                  </a:lnTo>
                  <a:lnTo>
                    <a:pt x="777" y="226"/>
                  </a:lnTo>
                  <a:lnTo>
                    <a:pt x="775" y="234"/>
                  </a:lnTo>
                  <a:lnTo>
                    <a:pt x="772" y="242"/>
                  </a:lnTo>
                  <a:lnTo>
                    <a:pt x="770" y="247"/>
                  </a:lnTo>
                  <a:lnTo>
                    <a:pt x="788" y="259"/>
                  </a:lnTo>
                  <a:lnTo>
                    <a:pt x="771" y="245"/>
                  </a:lnTo>
                  <a:lnTo>
                    <a:pt x="769" y="248"/>
                  </a:lnTo>
                  <a:lnTo>
                    <a:pt x="785" y="261"/>
                  </a:lnTo>
                  <a:lnTo>
                    <a:pt x="806" y="261"/>
                  </a:lnTo>
                  <a:lnTo>
                    <a:pt x="806" y="261"/>
                  </a:lnTo>
                  <a:lnTo>
                    <a:pt x="803" y="261"/>
                  </a:lnTo>
                  <a:lnTo>
                    <a:pt x="806" y="261"/>
                  </a:lnTo>
                  <a:lnTo>
                    <a:pt x="806" y="261"/>
                  </a:lnTo>
                  <a:lnTo>
                    <a:pt x="803" y="261"/>
                  </a:lnTo>
                  <a:lnTo>
                    <a:pt x="806" y="261"/>
                  </a:lnTo>
                  <a:lnTo>
                    <a:pt x="806" y="252"/>
                  </a:lnTo>
                  <a:lnTo>
                    <a:pt x="809" y="241"/>
                  </a:lnTo>
                  <a:lnTo>
                    <a:pt x="812" y="231"/>
                  </a:lnTo>
                  <a:lnTo>
                    <a:pt x="817" y="221"/>
                  </a:lnTo>
                  <a:lnTo>
                    <a:pt x="798" y="212"/>
                  </a:lnTo>
                  <a:lnTo>
                    <a:pt x="777" y="213"/>
                  </a:lnTo>
                  <a:lnTo>
                    <a:pt x="798" y="212"/>
                  </a:lnTo>
                  <a:lnTo>
                    <a:pt x="779" y="204"/>
                  </a:lnTo>
                  <a:lnTo>
                    <a:pt x="773" y="215"/>
                  </a:lnTo>
                  <a:lnTo>
                    <a:pt x="769" y="229"/>
                  </a:lnTo>
                  <a:lnTo>
                    <a:pt x="765" y="245"/>
                  </a:lnTo>
                  <a:lnTo>
                    <a:pt x="764" y="261"/>
                  </a:lnTo>
                  <a:lnTo>
                    <a:pt x="764" y="262"/>
                  </a:lnTo>
                  <a:lnTo>
                    <a:pt x="765" y="317"/>
                  </a:lnTo>
                  <a:lnTo>
                    <a:pt x="804" y="272"/>
                  </a:lnTo>
                  <a:lnTo>
                    <a:pt x="804" y="271"/>
                  </a:lnTo>
                  <a:lnTo>
                    <a:pt x="811" y="258"/>
                  </a:lnTo>
                  <a:lnTo>
                    <a:pt x="816" y="245"/>
                  </a:lnTo>
                  <a:lnTo>
                    <a:pt x="818" y="231"/>
                  </a:lnTo>
                  <a:lnTo>
                    <a:pt x="819" y="218"/>
                  </a:lnTo>
                  <a:lnTo>
                    <a:pt x="819" y="214"/>
                  </a:lnTo>
                  <a:lnTo>
                    <a:pt x="818" y="211"/>
                  </a:lnTo>
                  <a:lnTo>
                    <a:pt x="814" y="129"/>
                  </a:lnTo>
                  <a:lnTo>
                    <a:pt x="779" y="204"/>
                  </a:lnTo>
                  <a:lnTo>
                    <a:pt x="798" y="212"/>
                  </a:lnTo>
                  <a:close/>
                  <a:moveTo>
                    <a:pt x="964" y="136"/>
                  </a:moveTo>
                  <a:lnTo>
                    <a:pt x="984" y="128"/>
                  </a:lnTo>
                  <a:lnTo>
                    <a:pt x="983" y="128"/>
                  </a:lnTo>
                  <a:lnTo>
                    <a:pt x="983" y="127"/>
                  </a:lnTo>
                  <a:lnTo>
                    <a:pt x="971" y="132"/>
                  </a:lnTo>
                  <a:lnTo>
                    <a:pt x="984" y="132"/>
                  </a:lnTo>
                  <a:lnTo>
                    <a:pt x="983" y="128"/>
                  </a:lnTo>
                  <a:lnTo>
                    <a:pt x="983" y="127"/>
                  </a:lnTo>
                  <a:lnTo>
                    <a:pt x="971" y="132"/>
                  </a:lnTo>
                  <a:lnTo>
                    <a:pt x="984" y="132"/>
                  </a:lnTo>
                  <a:lnTo>
                    <a:pt x="964" y="132"/>
                  </a:lnTo>
                  <a:lnTo>
                    <a:pt x="980" y="144"/>
                  </a:lnTo>
                  <a:lnTo>
                    <a:pt x="983" y="136"/>
                  </a:lnTo>
                  <a:lnTo>
                    <a:pt x="984" y="132"/>
                  </a:lnTo>
                  <a:lnTo>
                    <a:pt x="964" y="132"/>
                  </a:lnTo>
                  <a:lnTo>
                    <a:pt x="980" y="144"/>
                  </a:lnTo>
                  <a:lnTo>
                    <a:pt x="964" y="131"/>
                  </a:lnTo>
                  <a:lnTo>
                    <a:pt x="971" y="149"/>
                  </a:lnTo>
                  <a:lnTo>
                    <a:pt x="976" y="147"/>
                  </a:lnTo>
                  <a:lnTo>
                    <a:pt x="980" y="144"/>
                  </a:lnTo>
                  <a:lnTo>
                    <a:pt x="964" y="131"/>
                  </a:lnTo>
                  <a:lnTo>
                    <a:pt x="971" y="149"/>
                  </a:lnTo>
                  <a:lnTo>
                    <a:pt x="964" y="132"/>
                  </a:lnTo>
                  <a:lnTo>
                    <a:pt x="964" y="152"/>
                  </a:lnTo>
                  <a:lnTo>
                    <a:pt x="968" y="151"/>
                  </a:lnTo>
                  <a:lnTo>
                    <a:pt x="971" y="149"/>
                  </a:lnTo>
                  <a:lnTo>
                    <a:pt x="964" y="132"/>
                  </a:lnTo>
                  <a:lnTo>
                    <a:pt x="964" y="152"/>
                  </a:lnTo>
                  <a:lnTo>
                    <a:pt x="964" y="134"/>
                  </a:lnTo>
                  <a:lnTo>
                    <a:pt x="958" y="151"/>
                  </a:lnTo>
                  <a:lnTo>
                    <a:pt x="960" y="151"/>
                  </a:lnTo>
                  <a:lnTo>
                    <a:pt x="964" y="152"/>
                  </a:lnTo>
                  <a:lnTo>
                    <a:pt x="964" y="134"/>
                  </a:lnTo>
                  <a:lnTo>
                    <a:pt x="958" y="151"/>
                  </a:lnTo>
                  <a:lnTo>
                    <a:pt x="961" y="142"/>
                  </a:lnTo>
                  <a:lnTo>
                    <a:pt x="957" y="149"/>
                  </a:lnTo>
                  <a:lnTo>
                    <a:pt x="958" y="151"/>
                  </a:lnTo>
                  <a:lnTo>
                    <a:pt x="961" y="142"/>
                  </a:lnTo>
                  <a:lnTo>
                    <a:pt x="957" y="149"/>
                  </a:lnTo>
                  <a:lnTo>
                    <a:pt x="958" y="148"/>
                  </a:lnTo>
                  <a:lnTo>
                    <a:pt x="957" y="149"/>
                  </a:lnTo>
                  <a:lnTo>
                    <a:pt x="957" y="149"/>
                  </a:lnTo>
                  <a:lnTo>
                    <a:pt x="958" y="148"/>
                  </a:lnTo>
                  <a:lnTo>
                    <a:pt x="957" y="149"/>
                  </a:lnTo>
                  <a:lnTo>
                    <a:pt x="960" y="151"/>
                  </a:lnTo>
                  <a:lnTo>
                    <a:pt x="962" y="153"/>
                  </a:lnTo>
                  <a:lnTo>
                    <a:pt x="975" y="136"/>
                  </a:lnTo>
                  <a:lnTo>
                    <a:pt x="962" y="153"/>
                  </a:lnTo>
                  <a:lnTo>
                    <a:pt x="963" y="153"/>
                  </a:lnTo>
                  <a:lnTo>
                    <a:pt x="962" y="153"/>
                  </a:lnTo>
                  <a:lnTo>
                    <a:pt x="962" y="153"/>
                  </a:lnTo>
                  <a:lnTo>
                    <a:pt x="963" y="153"/>
                  </a:lnTo>
                  <a:lnTo>
                    <a:pt x="962" y="153"/>
                  </a:lnTo>
                  <a:lnTo>
                    <a:pt x="963" y="155"/>
                  </a:lnTo>
                  <a:lnTo>
                    <a:pt x="964" y="159"/>
                  </a:lnTo>
                  <a:lnTo>
                    <a:pt x="965" y="164"/>
                  </a:lnTo>
                  <a:lnTo>
                    <a:pt x="987" y="160"/>
                  </a:lnTo>
                  <a:lnTo>
                    <a:pt x="996" y="141"/>
                  </a:lnTo>
                  <a:lnTo>
                    <a:pt x="992" y="139"/>
                  </a:lnTo>
                  <a:lnTo>
                    <a:pt x="989" y="135"/>
                  </a:lnTo>
                  <a:lnTo>
                    <a:pt x="985" y="132"/>
                  </a:lnTo>
                  <a:lnTo>
                    <a:pt x="984" y="128"/>
                  </a:lnTo>
                  <a:lnTo>
                    <a:pt x="964" y="136"/>
                  </a:lnTo>
                  <a:lnTo>
                    <a:pt x="945" y="145"/>
                  </a:lnTo>
                  <a:lnTo>
                    <a:pt x="951" y="155"/>
                  </a:lnTo>
                  <a:lnTo>
                    <a:pt x="958" y="165"/>
                  </a:lnTo>
                  <a:lnTo>
                    <a:pt x="967" y="172"/>
                  </a:lnTo>
                  <a:lnTo>
                    <a:pt x="977" y="179"/>
                  </a:lnTo>
                  <a:lnTo>
                    <a:pt x="1012" y="197"/>
                  </a:lnTo>
                  <a:lnTo>
                    <a:pt x="1007" y="156"/>
                  </a:lnTo>
                  <a:lnTo>
                    <a:pt x="1005" y="147"/>
                  </a:lnTo>
                  <a:lnTo>
                    <a:pt x="1002" y="138"/>
                  </a:lnTo>
                  <a:lnTo>
                    <a:pt x="1000" y="133"/>
                  </a:lnTo>
                  <a:lnTo>
                    <a:pt x="996" y="128"/>
                  </a:lnTo>
                  <a:lnTo>
                    <a:pt x="991" y="124"/>
                  </a:lnTo>
                  <a:lnTo>
                    <a:pt x="987" y="119"/>
                  </a:lnTo>
                  <a:lnTo>
                    <a:pt x="987" y="119"/>
                  </a:lnTo>
                  <a:lnTo>
                    <a:pt x="982" y="116"/>
                  </a:lnTo>
                  <a:lnTo>
                    <a:pt x="978" y="113"/>
                  </a:lnTo>
                  <a:lnTo>
                    <a:pt x="976" y="112"/>
                  </a:lnTo>
                  <a:lnTo>
                    <a:pt x="974" y="111"/>
                  </a:lnTo>
                  <a:lnTo>
                    <a:pt x="970" y="109"/>
                  </a:lnTo>
                  <a:lnTo>
                    <a:pt x="964" y="109"/>
                  </a:lnTo>
                  <a:lnTo>
                    <a:pt x="961" y="109"/>
                  </a:lnTo>
                  <a:lnTo>
                    <a:pt x="956" y="111"/>
                  </a:lnTo>
                  <a:lnTo>
                    <a:pt x="952" y="113"/>
                  </a:lnTo>
                  <a:lnTo>
                    <a:pt x="949" y="115"/>
                  </a:lnTo>
                  <a:lnTo>
                    <a:pt x="947" y="118"/>
                  </a:lnTo>
                  <a:lnTo>
                    <a:pt x="944" y="121"/>
                  </a:lnTo>
                  <a:lnTo>
                    <a:pt x="942" y="127"/>
                  </a:lnTo>
                  <a:lnTo>
                    <a:pt x="942" y="132"/>
                  </a:lnTo>
                  <a:lnTo>
                    <a:pt x="942" y="136"/>
                  </a:lnTo>
                  <a:lnTo>
                    <a:pt x="943" y="140"/>
                  </a:lnTo>
                  <a:lnTo>
                    <a:pt x="944" y="142"/>
                  </a:lnTo>
                  <a:lnTo>
                    <a:pt x="945" y="145"/>
                  </a:lnTo>
                  <a:lnTo>
                    <a:pt x="964" y="136"/>
                  </a:lnTo>
                  <a:close/>
                  <a:moveTo>
                    <a:pt x="1422" y="112"/>
                  </a:moveTo>
                  <a:lnTo>
                    <a:pt x="1440" y="122"/>
                  </a:lnTo>
                  <a:lnTo>
                    <a:pt x="1437" y="120"/>
                  </a:lnTo>
                  <a:lnTo>
                    <a:pt x="1439" y="124"/>
                  </a:lnTo>
                  <a:lnTo>
                    <a:pt x="1440" y="122"/>
                  </a:lnTo>
                  <a:lnTo>
                    <a:pt x="1437" y="120"/>
                  </a:lnTo>
                  <a:lnTo>
                    <a:pt x="1439" y="124"/>
                  </a:lnTo>
                  <a:lnTo>
                    <a:pt x="1437" y="121"/>
                  </a:lnTo>
                  <a:lnTo>
                    <a:pt x="1439" y="124"/>
                  </a:lnTo>
                  <a:lnTo>
                    <a:pt x="1439" y="124"/>
                  </a:lnTo>
                  <a:lnTo>
                    <a:pt x="1437" y="121"/>
                  </a:lnTo>
                  <a:lnTo>
                    <a:pt x="1439" y="124"/>
                  </a:lnTo>
                  <a:lnTo>
                    <a:pt x="1439" y="124"/>
                  </a:lnTo>
                  <a:lnTo>
                    <a:pt x="1439" y="124"/>
                  </a:lnTo>
                  <a:lnTo>
                    <a:pt x="1439" y="124"/>
                  </a:lnTo>
                  <a:lnTo>
                    <a:pt x="1439" y="124"/>
                  </a:lnTo>
                  <a:lnTo>
                    <a:pt x="1439" y="124"/>
                  </a:lnTo>
                  <a:lnTo>
                    <a:pt x="1440" y="124"/>
                  </a:lnTo>
                  <a:lnTo>
                    <a:pt x="1443" y="124"/>
                  </a:lnTo>
                  <a:lnTo>
                    <a:pt x="1449" y="126"/>
                  </a:lnTo>
                  <a:lnTo>
                    <a:pt x="1449" y="126"/>
                  </a:lnTo>
                  <a:lnTo>
                    <a:pt x="1449" y="126"/>
                  </a:lnTo>
                  <a:lnTo>
                    <a:pt x="1454" y="127"/>
                  </a:lnTo>
                  <a:lnTo>
                    <a:pt x="1457" y="129"/>
                  </a:lnTo>
                  <a:lnTo>
                    <a:pt x="1460" y="132"/>
                  </a:lnTo>
                  <a:lnTo>
                    <a:pt x="1461" y="134"/>
                  </a:lnTo>
                  <a:lnTo>
                    <a:pt x="1463" y="139"/>
                  </a:lnTo>
                  <a:lnTo>
                    <a:pt x="1465" y="146"/>
                  </a:lnTo>
                  <a:lnTo>
                    <a:pt x="1463" y="158"/>
                  </a:lnTo>
                  <a:lnTo>
                    <a:pt x="1459" y="172"/>
                  </a:lnTo>
                  <a:lnTo>
                    <a:pt x="1479" y="179"/>
                  </a:lnTo>
                  <a:lnTo>
                    <a:pt x="1477" y="158"/>
                  </a:lnTo>
                  <a:lnTo>
                    <a:pt x="1472" y="158"/>
                  </a:lnTo>
                  <a:lnTo>
                    <a:pt x="1463" y="158"/>
                  </a:lnTo>
                  <a:lnTo>
                    <a:pt x="1456" y="155"/>
                  </a:lnTo>
                  <a:lnTo>
                    <a:pt x="1456" y="155"/>
                  </a:lnTo>
                  <a:lnTo>
                    <a:pt x="1453" y="154"/>
                  </a:lnTo>
                  <a:lnTo>
                    <a:pt x="1449" y="152"/>
                  </a:lnTo>
                  <a:lnTo>
                    <a:pt x="1446" y="149"/>
                  </a:lnTo>
                  <a:lnTo>
                    <a:pt x="1443" y="146"/>
                  </a:lnTo>
                  <a:lnTo>
                    <a:pt x="1441" y="142"/>
                  </a:lnTo>
                  <a:lnTo>
                    <a:pt x="1440" y="139"/>
                  </a:lnTo>
                  <a:lnTo>
                    <a:pt x="1439" y="134"/>
                  </a:lnTo>
                  <a:lnTo>
                    <a:pt x="1437" y="131"/>
                  </a:lnTo>
                  <a:lnTo>
                    <a:pt x="1439" y="126"/>
                  </a:lnTo>
                  <a:lnTo>
                    <a:pt x="1440" y="122"/>
                  </a:lnTo>
                  <a:lnTo>
                    <a:pt x="1440" y="122"/>
                  </a:lnTo>
                  <a:lnTo>
                    <a:pt x="1422" y="112"/>
                  </a:lnTo>
                  <a:lnTo>
                    <a:pt x="1405" y="100"/>
                  </a:lnTo>
                  <a:lnTo>
                    <a:pt x="1401" y="108"/>
                  </a:lnTo>
                  <a:lnTo>
                    <a:pt x="1397" y="115"/>
                  </a:lnTo>
                  <a:lnTo>
                    <a:pt x="1396" y="122"/>
                  </a:lnTo>
                  <a:lnTo>
                    <a:pt x="1396" y="131"/>
                  </a:lnTo>
                  <a:lnTo>
                    <a:pt x="1397" y="141"/>
                  </a:lnTo>
                  <a:lnTo>
                    <a:pt x="1400" y="152"/>
                  </a:lnTo>
                  <a:lnTo>
                    <a:pt x="1403" y="161"/>
                  </a:lnTo>
                  <a:lnTo>
                    <a:pt x="1409" y="171"/>
                  </a:lnTo>
                  <a:lnTo>
                    <a:pt x="1416" y="179"/>
                  </a:lnTo>
                  <a:lnTo>
                    <a:pt x="1425" y="186"/>
                  </a:lnTo>
                  <a:lnTo>
                    <a:pt x="1434" y="192"/>
                  </a:lnTo>
                  <a:lnTo>
                    <a:pt x="1445" y="197"/>
                  </a:lnTo>
                  <a:lnTo>
                    <a:pt x="1445" y="195"/>
                  </a:lnTo>
                  <a:lnTo>
                    <a:pt x="1459" y="199"/>
                  </a:lnTo>
                  <a:lnTo>
                    <a:pt x="1472" y="200"/>
                  </a:lnTo>
                  <a:lnTo>
                    <a:pt x="1476" y="200"/>
                  </a:lnTo>
                  <a:lnTo>
                    <a:pt x="1480" y="199"/>
                  </a:lnTo>
                  <a:lnTo>
                    <a:pt x="1494" y="199"/>
                  </a:lnTo>
                  <a:lnTo>
                    <a:pt x="1499" y="186"/>
                  </a:lnTo>
                  <a:lnTo>
                    <a:pt x="1501" y="177"/>
                  </a:lnTo>
                  <a:lnTo>
                    <a:pt x="1505" y="166"/>
                  </a:lnTo>
                  <a:lnTo>
                    <a:pt x="1506" y="156"/>
                  </a:lnTo>
                  <a:lnTo>
                    <a:pt x="1506" y="146"/>
                  </a:lnTo>
                  <a:lnTo>
                    <a:pt x="1506" y="138"/>
                  </a:lnTo>
                  <a:lnTo>
                    <a:pt x="1505" y="128"/>
                  </a:lnTo>
                  <a:lnTo>
                    <a:pt x="1501" y="119"/>
                  </a:lnTo>
                  <a:lnTo>
                    <a:pt x="1496" y="111"/>
                  </a:lnTo>
                  <a:lnTo>
                    <a:pt x="1489" y="102"/>
                  </a:lnTo>
                  <a:lnTo>
                    <a:pt x="1482" y="95"/>
                  </a:lnTo>
                  <a:lnTo>
                    <a:pt x="1473" y="91"/>
                  </a:lnTo>
                  <a:lnTo>
                    <a:pt x="1462" y="86"/>
                  </a:lnTo>
                  <a:lnTo>
                    <a:pt x="1455" y="106"/>
                  </a:lnTo>
                  <a:lnTo>
                    <a:pt x="1462" y="86"/>
                  </a:lnTo>
                  <a:lnTo>
                    <a:pt x="1452" y="82"/>
                  </a:lnTo>
                  <a:lnTo>
                    <a:pt x="1440" y="81"/>
                  </a:lnTo>
                  <a:lnTo>
                    <a:pt x="1430" y="82"/>
                  </a:lnTo>
                  <a:lnTo>
                    <a:pt x="1421" y="86"/>
                  </a:lnTo>
                  <a:lnTo>
                    <a:pt x="1416" y="88"/>
                  </a:lnTo>
                  <a:lnTo>
                    <a:pt x="1412" y="92"/>
                  </a:lnTo>
                  <a:lnTo>
                    <a:pt x="1408" y="95"/>
                  </a:lnTo>
                  <a:lnTo>
                    <a:pt x="1405" y="100"/>
                  </a:lnTo>
                  <a:lnTo>
                    <a:pt x="1405" y="100"/>
                  </a:lnTo>
                  <a:lnTo>
                    <a:pt x="1422" y="112"/>
                  </a:lnTo>
                  <a:close/>
                  <a:moveTo>
                    <a:pt x="2396" y="419"/>
                  </a:moveTo>
                  <a:lnTo>
                    <a:pt x="2393" y="399"/>
                  </a:lnTo>
                  <a:lnTo>
                    <a:pt x="2379" y="401"/>
                  </a:lnTo>
                  <a:lnTo>
                    <a:pt x="2366" y="405"/>
                  </a:lnTo>
                  <a:lnTo>
                    <a:pt x="2353" y="410"/>
                  </a:lnTo>
                  <a:lnTo>
                    <a:pt x="2342" y="415"/>
                  </a:lnTo>
                  <a:lnTo>
                    <a:pt x="2330" y="423"/>
                  </a:lnTo>
                  <a:lnTo>
                    <a:pt x="2319" y="430"/>
                  </a:lnTo>
                  <a:lnTo>
                    <a:pt x="2309" y="438"/>
                  </a:lnTo>
                  <a:lnTo>
                    <a:pt x="2299" y="448"/>
                  </a:lnTo>
                  <a:lnTo>
                    <a:pt x="2291" y="458"/>
                  </a:lnTo>
                  <a:lnTo>
                    <a:pt x="2284" y="470"/>
                  </a:lnTo>
                  <a:lnTo>
                    <a:pt x="2278" y="480"/>
                  </a:lnTo>
                  <a:lnTo>
                    <a:pt x="2272" y="493"/>
                  </a:lnTo>
                  <a:lnTo>
                    <a:pt x="2269" y="505"/>
                  </a:lnTo>
                  <a:lnTo>
                    <a:pt x="2265" y="519"/>
                  </a:lnTo>
                  <a:lnTo>
                    <a:pt x="2264" y="532"/>
                  </a:lnTo>
                  <a:lnTo>
                    <a:pt x="2263" y="546"/>
                  </a:lnTo>
                  <a:lnTo>
                    <a:pt x="2263" y="554"/>
                  </a:lnTo>
                  <a:lnTo>
                    <a:pt x="2264" y="564"/>
                  </a:lnTo>
                  <a:lnTo>
                    <a:pt x="2264" y="564"/>
                  </a:lnTo>
                  <a:lnTo>
                    <a:pt x="2265" y="574"/>
                  </a:lnTo>
                  <a:lnTo>
                    <a:pt x="2267" y="585"/>
                  </a:lnTo>
                  <a:lnTo>
                    <a:pt x="2271" y="596"/>
                  </a:lnTo>
                  <a:lnTo>
                    <a:pt x="2274" y="605"/>
                  </a:lnTo>
                  <a:lnTo>
                    <a:pt x="2279" y="614"/>
                  </a:lnTo>
                  <a:lnTo>
                    <a:pt x="2285" y="624"/>
                  </a:lnTo>
                  <a:lnTo>
                    <a:pt x="2291" y="632"/>
                  </a:lnTo>
                  <a:lnTo>
                    <a:pt x="2297" y="640"/>
                  </a:lnTo>
                  <a:lnTo>
                    <a:pt x="2304" y="647"/>
                  </a:lnTo>
                  <a:lnTo>
                    <a:pt x="2311" y="656"/>
                  </a:lnTo>
                  <a:lnTo>
                    <a:pt x="2319" y="661"/>
                  </a:lnTo>
                  <a:lnTo>
                    <a:pt x="2327" y="667"/>
                  </a:lnTo>
                  <a:lnTo>
                    <a:pt x="2336" y="673"/>
                  </a:lnTo>
                  <a:lnTo>
                    <a:pt x="2345" y="678"/>
                  </a:lnTo>
                  <a:lnTo>
                    <a:pt x="2353" y="683"/>
                  </a:lnTo>
                  <a:lnTo>
                    <a:pt x="2364" y="686"/>
                  </a:lnTo>
                  <a:lnTo>
                    <a:pt x="2370" y="666"/>
                  </a:lnTo>
                  <a:lnTo>
                    <a:pt x="2350" y="667"/>
                  </a:lnTo>
                  <a:lnTo>
                    <a:pt x="2350" y="679"/>
                  </a:lnTo>
                  <a:lnTo>
                    <a:pt x="2350" y="691"/>
                  </a:lnTo>
                  <a:lnTo>
                    <a:pt x="2350" y="703"/>
                  </a:lnTo>
                  <a:lnTo>
                    <a:pt x="2351" y="716"/>
                  </a:lnTo>
                  <a:lnTo>
                    <a:pt x="2350" y="752"/>
                  </a:lnTo>
                  <a:lnTo>
                    <a:pt x="2346" y="789"/>
                  </a:lnTo>
                  <a:lnTo>
                    <a:pt x="2344" y="806"/>
                  </a:lnTo>
                  <a:lnTo>
                    <a:pt x="2340" y="824"/>
                  </a:lnTo>
                  <a:lnTo>
                    <a:pt x="2336" y="842"/>
                  </a:lnTo>
                  <a:lnTo>
                    <a:pt x="2331" y="859"/>
                  </a:lnTo>
                  <a:lnTo>
                    <a:pt x="2331" y="859"/>
                  </a:lnTo>
                  <a:lnTo>
                    <a:pt x="2324" y="877"/>
                  </a:lnTo>
                  <a:lnTo>
                    <a:pt x="2316" y="892"/>
                  </a:lnTo>
                  <a:lnTo>
                    <a:pt x="2306" y="908"/>
                  </a:lnTo>
                  <a:lnTo>
                    <a:pt x="2296" y="920"/>
                  </a:lnTo>
                  <a:lnTo>
                    <a:pt x="2284" y="932"/>
                  </a:lnTo>
                  <a:lnTo>
                    <a:pt x="2270" y="944"/>
                  </a:lnTo>
                  <a:lnTo>
                    <a:pt x="2256" y="955"/>
                  </a:lnTo>
                  <a:lnTo>
                    <a:pt x="2240" y="964"/>
                  </a:lnTo>
                  <a:lnTo>
                    <a:pt x="2224" y="972"/>
                  </a:lnTo>
                  <a:lnTo>
                    <a:pt x="2206" y="979"/>
                  </a:lnTo>
                  <a:lnTo>
                    <a:pt x="2189" y="986"/>
                  </a:lnTo>
                  <a:lnTo>
                    <a:pt x="2171" y="992"/>
                  </a:lnTo>
                  <a:lnTo>
                    <a:pt x="2134" y="1003"/>
                  </a:lnTo>
                  <a:lnTo>
                    <a:pt x="2097" y="1010"/>
                  </a:lnTo>
                  <a:lnTo>
                    <a:pt x="2064" y="1017"/>
                  </a:lnTo>
                  <a:lnTo>
                    <a:pt x="2032" y="1024"/>
                  </a:lnTo>
                  <a:lnTo>
                    <a:pt x="2003" y="1032"/>
                  </a:lnTo>
                  <a:lnTo>
                    <a:pt x="1974" y="1043"/>
                  </a:lnTo>
                  <a:lnTo>
                    <a:pt x="1960" y="1049"/>
                  </a:lnTo>
                  <a:lnTo>
                    <a:pt x="1947" y="1055"/>
                  </a:lnTo>
                  <a:lnTo>
                    <a:pt x="1935" y="1062"/>
                  </a:lnTo>
                  <a:lnTo>
                    <a:pt x="1922" y="1069"/>
                  </a:lnTo>
                  <a:lnTo>
                    <a:pt x="1911" y="1076"/>
                  </a:lnTo>
                  <a:lnTo>
                    <a:pt x="1899" y="1084"/>
                  </a:lnTo>
                  <a:lnTo>
                    <a:pt x="1888" y="1094"/>
                  </a:lnTo>
                  <a:lnTo>
                    <a:pt x="1877" y="1103"/>
                  </a:lnTo>
                  <a:lnTo>
                    <a:pt x="1891" y="1118"/>
                  </a:lnTo>
                  <a:lnTo>
                    <a:pt x="1911" y="1111"/>
                  </a:lnTo>
                  <a:lnTo>
                    <a:pt x="1899" y="1078"/>
                  </a:lnTo>
                  <a:lnTo>
                    <a:pt x="1888" y="1044"/>
                  </a:lnTo>
                  <a:lnTo>
                    <a:pt x="1879" y="1008"/>
                  </a:lnTo>
                  <a:lnTo>
                    <a:pt x="1870" y="971"/>
                  </a:lnTo>
                  <a:lnTo>
                    <a:pt x="1858" y="923"/>
                  </a:lnTo>
                  <a:lnTo>
                    <a:pt x="1848" y="872"/>
                  </a:lnTo>
                  <a:lnTo>
                    <a:pt x="1838" y="819"/>
                  </a:lnTo>
                  <a:lnTo>
                    <a:pt x="1827" y="764"/>
                  </a:lnTo>
                  <a:lnTo>
                    <a:pt x="1817" y="709"/>
                  </a:lnTo>
                  <a:lnTo>
                    <a:pt x="1804" y="652"/>
                  </a:lnTo>
                  <a:lnTo>
                    <a:pt x="1789" y="596"/>
                  </a:lnTo>
                  <a:lnTo>
                    <a:pt x="1773" y="540"/>
                  </a:lnTo>
                  <a:lnTo>
                    <a:pt x="1764" y="513"/>
                  </a:lnTo>
                  <a:lnTo>
                    <a:pt x="1753" y="486"/>
                  </a:lnTo>
                  <a:lnTo>
                    <a:pt x="1742" y="460"/>
                  </a:lnTo>
                  <a:lnTo>
                    <a:pt x="1731" y="434"/>
                  </a:lnTo>
                  <a:lnTo>
                    <a:pt x="1718" y="410"/>
                  </a:lnTo>
                  <a:lnTo>
                    <a:pt x="1705" y="385"/>
                  </a:lnTo>
                  <a:lnTo>
                    <a:pt x="1689" y="361"/>
                  </a:lnTo>
                  <a:lnTo>
                    <a:pt x="1674" y="339"/>
                  </a:lnTo>
                  <a:lnTo>
                    <a:pt x="1656" y="318"/>
                  </a:lnTo>
                  <a:lnTo>
                    <a:pt x="1638" y="297"/>
                  </a:lnTo>
                  <a:lnTo>
                    <a:pt x="1618" y="278"/>
                  </a:lnTo>
                  <a:lnTo>
                    <a:pt x="1596" y="259"/>
                  </a:lnTo>
                  <a:lnTo>
                    <a:pt x="1574" y="242"/>
                  </a:lnTo>
                  <a:lnTo>
                    <a:pt x="1550" y="227"/>
                  </a:lnTo>
                  <a:lnTo>
                    <a:pt x="1525" y="213"/>
                  </a:lnTo>
                  <a:lnTo>
                    <a:pt x="1498" y="201"/>
                  </a:lnTo>
                  <a:lnTo>
                    <a:pt x="1496" y="201"/>
                  </a:lnTo>
                  <a:lnTo>
                    <a:pt x="1494" y="200"/>
                  </a:lnTo>
                  <a:lnTo>
                    <a:pt x="1487" y="220"/>
                  </a:lnTo>
                  <a:lnTo>
                    <a:pt x="1506" y="231"/>
                  </a:lnTo>
                  <a:lnTo>
                    <a:pt x="1510" y="220"/>
                  </a:lnTo>
                  <a:lnTo>
                    <a:pt x="1516" y="209"/>
                  </a:lnTo>
                  <a:lnTo>
                    <a:pt x="1496" y="201"/>
                  </a:lnTo>
                  <a:lnTo>
                    <a:pt x="1502" y="221"/>
                  </a:lnTo>
                  <a:lnTo>
                    <a:pt x="1513" y="219"/>
                  </a:lnTo>
                  <a:lnTo>
                    <a:pt x="1525" y="214"/>
                  </a:lnTo>
                  <a:lnTo>
                    <a:pt x="1535" y="209"/>
                  </a:lnTo>
                  <a:lnTo>
                    <a:pt x="1546" y="205"/>
                  </a:lnTo>
                  <a:lnTo>
                    <a:pt x="1567" y="193"/>
                  </a:lnTo>
                  <a:lnTo>
                    <a:pt x="1586" y="180"/>
                  </a:lnTo>
                  <a:lnTo>
                    <a:pt x="1605" y="166"/>
                  </a:lnTo>
                  <a:lnTo>
                    <a:pt x="1621" y="152"/>
                  </a:lnTo>
                  <a:lnTo>
                    <a:pt x="1635" y="139"/>
                  </a:lnTo>
                  <a:lnTo>
                    <a:pt x="1648" y="127"/>
                  </a:lnTo>
                  <a:lnTo>
                    <a:pt x="1634" y="112"/>
                  </a:lnTo>
                  <a:lnTo>
                    <a:pt x="1648" y="127"/>
                  </a:lnTo>
                  <a:lnTo>
                    <a:pt x="1653" y="122"/>
                  </a:lnTo>
                  <a:lnTo>
                    <a:pt x="1656" y="116"/>
                  </a:lnTo>
                  <a:lnTo>
                    <a:pt x="1659" y="109"/>
                  </a:lnTo>
                  <a:lnTo>
                    <a:pt x="1659" y="104"/>
                  </a:lnTo>
                  <a:lnTo>
                    <a:pt x="1659" y="96"/>
                  </a:lnTo>
                  <a:lnTo>
                    <a:pt x="1656" y="89"/>
                  </a:lnTo>
                  <a:lnTo>
                    <a:pt x="1653" y="85"/>
                  </a:lnTo>
                  <a:lnTo>
                    <a:pt x="1649" y="80"/>
                  </a:lnTo>
                  <a:lnTo>
                    <a:pt x="1645" y="75"/>
                  </a:lnTo>
                  <a:lnTo>
                    <a:pt x="1639" y="72"/>
                  </a:lnTo>
                  <a:lnTo>
                    <a:pt x="1633" y="71"/>
                  </a:lnTo>
                  <a:lnTo>
                    <a:pt x="1626" y="69"/>
                  </a:lnTo>
                  <a:lnTo>
                    <a:pt x="1620" y="69"/>
                  </a:lnTo>
                  <a:lnTo>
                    <a:pt x="1614" y="72"/>
                  </a:lnTo>
                  <a:lnTo>
                    <a:pt x="1608" y="74"/>
                  </a:lnTo>
                  <a:lnTo>
                    <a:pt x="1603" y="79"/>
                  </a:lnTo>
                  <a:lnTo>
                    <a:pt x="1603" y="79"/>
                  </a:lnTo>
                  <a:lnTo>
                    <a:pt x="1593" y="88"/>
                  </a:lnTo>
                  <a:lnTo>
                    <a:pt x="1581" y="99"/>
                  </a:lnTo>
                  <a:lnTo>
                    <a:pt x="1568" y="111"/>
                  </a:lnTo>
                  <a:lnTo>
                    <a:pt x="1555" y="121"/>
                  </a:lnTo>
                  <a:lnTo>
                    <a:pt x="1541" y="131"/>
                  </a:lnTo>
                  <a:lnTo>
                    <a:pt x="1527" y="140"/>
                  </a:lnTo>
                  <a:lnTo>
                    <a:pt x="1514" y="147"/>
                  </a:lnTo>
                  <a:lnTo>
                    <a:pt x="1500" y="153"/>
                  </a:lnTo>
                  <a:lnTo>
                    <a:pt x="1507" y="173"/>
                  </a:lnTo>
                  <a:lnTo>
                    <a:pt x="1527" y="178"/>
                  </a:lnTo>
                  <a:lnTo>
                    <a:pt x="1530" y="161"/>
                  </a:lnTo>
                  <a:lnTo>
                    <a:pt x="1532" y="144"/>
                  </a:lnTo>
                  <a:lnTo>
                    <a:pt x="1532" y="139"/>
                  </a:lnTo>
                  <a:lnTo>
                    <a:pt x="1530" y="131"/>
                  </a:lnTo>
                  <a:lnTo>
                    <a:pt x="1528" y="122"/>
                  </a:lnTo>
                  <a:lnTo>
                    <a:pt x="1526" y="114"/>
                  </a:lnTo>
                  <a:lnTo>
                    <a:pt x="1522" y="107"/>
                  </a:lnTo>
                  <a:lnTo>
                    <a:pt x="1518" y="99"/>
                  </a:lnTo>
                  <a:lnTo>
                    <a:pt x="1513" y="93"/>
                  </a:lnTo>
                  <a:lnTo>
                    <a:pt x="1507" y="87"/>
                  </a:lnTo>
                  <a:lnTo>
                    <a:pt x="1501" y="81"/>
                  </a:lnTo>
                  <a:lnTo>
                    <a:pt x="1495" y="75"/>
                  </a:lnTo>
                  <a:lnTo>
                    <a:pt x="1488" y="71"/>
                  </a:lnTo>
                  <a:lnTo>
                    <a:pt x="1481" y="67"/>
                  </a:lnTo>
                  <a:lnTo>
                    <a:pt x="1473" y="63"/>
                  </a:lnTo>
                  <a:lnTo>
                    <a:pt x="1466" y="60"/>
                  </a:lnTo>
                  <a:lnTo>
                    <a:pt x="1457" y="58"/>
                  </a:lnTo>
                  <a:lnTo>
                    <a:pt x="1449" y="56"/>
                  </a:lnTo>
                  <a:lnTo>
                    <a:pt x="1441" y="56"/>
                  </a:lnTo>
                  <a:lnTo>
                    <a:pt x="1434" y="56"/>
                  </a:lnTo>
                  <a:lnTo>
                    <a:pt x="1427" y="58"/>
                  </a:lnTo>
                  <a:lnTo>
                    <a:pt x="1420" y="59"/>
                  </a:lnTo>
                  <a:lnTo>
                    <a:pt x="1414" y="62"/>
                  </a:lnTo>
                  <a:lnTo>
                    <a:pt x="1407" y="65"/>
                  </a:lnTo>
                  <a:lnTo>
                    <a:pt x="1401" y="69"/>
                  </a:lnTo>
                  <a:lnTo>
                    <a:pt x="1395" y="74"/>
                  </a:lnTo>
                  <a:lnTo>
                    <a:pt x="1389" y="80"/>
                  </a:lnTo>
                  <a:lnTo>
                    <a:pt x="1406" y="93"/>
                  </a:lnTo>
                  <a:lnTo>
                    <a:pt x="1389" y="79"/>
                  </a:lnTo>
                  <a:lnTo>
                    <a:pt x="1386" y="85"/>
                  </a:lnTo>
                  <a:lnTo>
                    <a:pt x="1381" y="91"/>
                  </a:lnTo>
                  <a:lnTo>
                    <a:pt x="1379" y="96"/>
                  </a:lnTo>
                  <a:lnTo>
                    <a:pt x="1376" y="104"/>
                  </a:lnTo>
                  <a:lnTo>
                    <a:pt x="1373" y="116"/>
                  </a:lnTo>
                  <a:lnTo>
                    <a:pt x="1372" y="129"/>
                  </a:lnTo>
                  <a:lnTo>
                    <a:pt x="1373" y="141"/>
                  </a:lnTo>
                  <a:lnTo>
                    <a:pt x="1375" y="153"/>
                  </a:lnTo>
                  <a:lnTo>
                    <a:pt x="1379" y="165"/>
                  </a:lnTo>
                  <a:lnTo>
                    <a:pt x="1384" y="175"/>
                  </a:lnTo>
                  <a:lnTo>
                    <a:pt x="1390" y="186"/>
                  </a:lnTo>
                  <a:lnTo>
                    <a:pt x="1399" y="195"/>
                  </a:lnTo>
                  <a:lnTo>
                    <a:pt x="1407" y="204"/>
                  </a:lnTo>
                  <a:lnTo>
                    <a:pt x="1417" y="211"/>
                  </a:lnTo>
                  <a:lnTo>
                    <a:pt x="1417" y="211"/>
                  </a:lnTo>
                  <a:lnTo>
                    <a:pt x="1429" y="217"/>
                  </a:lnTo>
                  <a:lnTo>
                    <a:pt x="1441" y="221"/>
                  </a:lnTo>
                  <a:lnTo>
                    <a:pt x="1454" y="224"/>
                  </a:lnTo>
                  <a:lnTo>
                    <a:pt x="1467" y="226"/>
                  </a:lnTo>
                  <a:lnTo>
                    <a:pt x="1467" y="205"/>
                  </a:lnTo>
                  <a:lnTo>
                    <a:pt x="1449" y="194"/>
                  </a:lnTo>
                  <a:lnTo>
                    <a:pt x="1447" y="197"/>
                  </a:lnTo>
                  <a:lnTo>
                    <a:pt x="1445" y="201"/>
                  </a:lnTo>
                  <a:lnTo>
                    <a:pt x="1463" y="212"/>
                  </a:lnTo>
                  <a:lnTo>
                    <a:pt x="1470" y="192"/>
                  </a:lnTo>
                  <a:lnTo>
                    <a:pt x="1449" y="185"/>
                  </a:lnTo>
                  <a:lnTo>
                    <a:pt x="1427" y="179"/>
                  </a:lnTo>
                  <a:lnTo>
                    <a:pt x="1405" y="173"/>
                  </a:lnTo>
                  <a:lnTo>
                    <a:pt x="1382" y="168"/>
                  </a:lnTo>
                  <a:lnTo>
                    <a:pt x="1360" y="164"/>
                  </a:lnTo>
                  <a:lnTo>
                    <a:pt x="1337" y="160"/>
                  </a:lnTo>
                  <a:lnTo>
                    <a:pt x="1314" y="158"/>
                  </a:lnTo>
                  <a:lnTo>
                    <a:pt x="1290" y="155"/>
                  </a:lnTo>
                  <a:lnTo>
                    <a:pt x="1289" y="177"/>
                  </a:lnTo>
                  <a:lnTo>
                    <a:pt x="1303" y="192"/>
                  </a:lnTo>
                  <a:lnTo>
                    <a:pt x="1310" y="185"/>
                  </a:lnTo>
                  <a:lnTo>
                    <a:pt x="1317" y="177"/>
                  </a:lnTo>
                  <a:lnTo>
                    <a:pt x="1323" y="168"/>
                  </a:lnTo>
                  <a:lnTo>
                    <a:pt x="1328" y="160"/>
                  </a:lnTo>
                  <a:lnTo>
                    <a:pt x="1339" y="141"/>
                  </a:lnTo>
                  <a:lnTo>
                    <a:pt x="1347" y="124"/>
                  </a:lnTo>
                  <a:lnTo>
                    <a:pt x="1354" y="106"/>
                  </a:lnTo>
                  <a:lnTo>
                    <a:pt x="1360" y="91"/>
                  </a:lnTo>
                  <a:lnTo>
                    <a:pt x="1364" y="78"/>
                  </a:lnTo>
                  <a:lnTo>
                    <a:pt x="1368" y="69"/>
                  </a:lnTo>
                  <a:lnTo>
                    <a:pt x="1369" y="63"/>
                  </a:lnTo>
                  <a:lnTo>
                    <a:pt x="1370" y="58"/>
                  </a:lnTo>
                  <a:lnTo>
                    <a:pt x="1369" y="51"/>
                  </a:lnTo>
                  <a:lnTo>
                    <a:pt x="1367" y="43"/>
                  </a:lnTo>
                  <a:lnTo>
                    <a:pt x="1363" y="38"/>
                  </a:lnTo>
                  <a:lnTo>
                    <a:pt x="1359" y="33"/>
                  </a:lnTo>
                  <a:lnTo>
                    <a:pt x="1354" y="29"/>
                  </a:lnTo>
                  <a:lnTo>
                    <a:pt x="1348" y="27"/>
                  </a:lnTo>
                  <a:lnTo>
                    <a:pt x="1342" y="25"/>
                  </a:lnTo>
                  <a:lnTo>
                    <a:pt x="1335" y="25"/>
                  </a:lnTo>
                  <a:lnTo>
                    <a:pt x="1332" y="25"/>
                  </a:lnTo>
                  <a:lnTo>
                    <a:pt x="1327" y="26"/>
                  </a:lnTo>
                  <a:lnTo>
                    <a:pt x="1322" y="27"/>
                  </a:lnTo>
                  <a:lnTo>
                    <a:pt x="1317" y="29"/>
                  </a:lnTo>
                  <a:lnTo>
                    <a:pt x="1314" y="33"/>
                  </a:lnTo>
                  <a:lnTo>
                    <a:pt x="1310" y="36"/>
                  </a:lnTo>
                  <a:lnTo>
                    <a:pt x="1308" y="41"/>
                  </a:lnTo>
                  <a:lnTo>
                    <a:pt x="1306" y="46"/>
                  </a:lnTo>
                  <a:lnTo>
                    <a:pt x="1302" y="56"/>
                  </a:lnTo>
                  <a:lnTo>
                    <a:pt x="1299" y="68"/>
                  </a:lnTo>
                  <a:lnTo>
                    <a:pt x="1294" y="81"/>
                  </a:lnTo>
                  <a:lnTo>
                    <a:pt x="1289" y="94"/>
                  </a:lnTo>
                  <a:lnTo>
                    <a:pt x="1283" y="107"/>
                  </a:lnTo>
                  <a:lnTo>
                    <a:pt x="1277" y="119"/>
                  </a:lnTo>
                  <a:lnTo>
                    <a:pt x="1270" y="129"/>
                  </a:lnTo>
                  <a:lnTo>
                    <a:pt x="1264" y="136"/>
                  </a:lnTo>
                  <a:lnTo>
                    <a:pt x="1280" y="152"/>
                  </a:lnTo>
                  <a:lnTo>
                    <a:pt x="1300" y="145"/>
                  </a:lnTo>
                  <a:lnTo>
                    <a:pt x="1296" y="135"/>
                  </a:lnTo>
                  <a:lnTo>
                    <a:pt x="1291" y="126"/>
                  </a:lnTo>
                  <a:lnTo>
                    <a:pt x="1287" y="118"/>
                  </a:lnTo>
                  <a:lnTo>
                    <a:pt x="1281" y="108"/>
                  </a:lnTo>
                  <a:lnTo>
                    <a:pt x="1274" y="101"/>
                  </a:lnTo>
                  <a:lnTo>
                    <a:pt x="1264" y="94"/>
                  </a:lnTo>
                  <a:lnTo>
                    <a:pt x="1260" y="91"/>
                  </a:lnTo>
                  <a:lnTo>
                    <a:pt x="1254" y="88"/>
                  </a:lnTo>
                  <a:lnTo>
                    <a:pt x="1248" y="87"/>
                  </a:lnTo>
                  <a:lnTo>
                    <a:pt x="1241" y="87"/>
                  </a:lnTo>
                  <a:lnTo>
                    <a:pt x="1231" y="88"/>
                  </a:lnTo>
                  <a:lnTo>
                    <a:pt x="1222" y="91"/>
                  </a:lnTo>
                  <a:lnTo>
                    <a:pt x="1213" y="96"/>
                  </a:lnTo>
                  <a:lnTo>
                    <a:pt x="1206" y="104"/>
                  </a:lnTo>
                  <a:lnTo>
                    <a:pt x="1206" y="104"/>
                  </a:lnTo>
                  <a:lnTo>
                    <a:pt x="1200" y="112"/>
                  </a:lnTo>
                  <a:lnTo>
                    <a:pt x="1195" y="120"/>
                  </a:lnTo>
                  <a:lnTo>
                    <a:pt x="1193" y="128"/>
                  </a:lnTo>
                  <a:lnTo>
                    <a:pt x="1193" y="138"/>
                  </a:lnTo>
                  <a:lnTo>
                    <a:pt x="1193" y="145"/>
                  </a:lnTo>
                  <a:lnTo>
                    <a:pt x="1194" y="152"/>
                  </a:lnTo>
                  <a:lnTo>
                    <a:pt x="1196" y="159"/>
                  </a:lnTo>
                  <a:lnTo>
                    <a:pt x="1198" y="165"/>
                  </a:lnTo>
                  <a:lnTo>
                    <a:pt x="1206" y="177"/>
                  </a:lnTo>
                  <a:lnTo>
                    <a:pt x="1213" y="187"/>
                  </a:lnTo>
                  <a:lnTo>
                    <a:pt x="1229" y="174"/>
                  </a:lnTo>
                  <a:lnTo>
                    <a:pt x="1229" y="153"/>
                  </a:lnTo>
                  <a:lnTo>
                    <a:pt x="1228" y="153"/>
                  </a:lnTo>
                  <a:lnTo>
                    <a:pt x="1201" y="153"/>
                  </a:lnTo>
                  <a:lnTo>
                    <a:pt x="1173" y="155"/>
                  </a:lnTo>
                  <a:lnTo>
                    <a:pt x="1144" y="158"/>
                  </a:lnTo>
                  <a:lnTo>
                    <a:pt x="1116" y="161"/>
                  </a:lnTo>
                  <a:lnTo>
                    <a:pt x="1089" y="165"/>
                  </a:lnTo>
                  <a:lnTo>
                    <a:pt x="1061" y="171"/>
                  </a:lnTo>
                  <a:lnTo>
                    <a:pt x="1034" y="177"/>
                  </a:lnTo>
                  <a:lnTo>
                    <a:pt x="1007" y="184"/>
                  </a:lnTo>
                  <a:lnTo>
                    <a:pt x="1012" y="204"/>
                  </a:lnTo>
                  <a:lnTo>
                    <a:pt x="1034" y="206"/>
                  </a:lnTo>
                  <a:lnTo>
                    <a:pt x="1034" y="197"/>
                  </a:lnTo>
                  <a:lnTo>
                    <a:pt x="1034" y="186"/>
                  </a:lnTo>
                  <a:lnTo>
                    <a:pt x="1014" y="186"/>
                  </a:lnTo>
                  <a:lnTo>
                    <a:pt x="1017" y="207"/>
                  </a:lnTo>
                  <a:lnTo>
                    <a:pt x="1025" y="205"/>
                  </a:lnTo>
                  <a:lnTo>
                    <a:pt x="1031" y="202"/>
                  </a:lnTo>
                  <a:lnTo>
                    <a:pt x="1038" y="199"/>
                  </a:lnTo>
                  <a:lnTo>
                    <a:pt x="1044" y="195"/>
                  </a:lnTo>
                  <a:lnTo>
                    <a:pt x="1055" y="186"/>
                  </a:lnTo>
                  <a:lnTo>
                    <a:pt x="1063" y="177"/>
                  </a:lnTo>
                  <a:lnTo>
                    <a:pt x="1070" y="168"/>
                  </a:lnTo>
                  <a:lnTo>
                    <a:pt x="1075" y="159"/>
                  </a:lnTo>
                  <a:lnTo>
                    <a:pt x="1080" y="151"/>
                  </a:lnTo>
                  <a:lnTo>
                    <a:pt x="1084" y="141"/>
                  </a:lnTo>
                  <a:lnTo>
                    <a:pt x="1093" y="122"/>
                  </a:lnTo>
                  <a:lnTo>
                    <a:pt x="1098" y="102"/>
                  </a:lnTo>
                  <a:lnTo>
                    <a:pt x="1103" y="85"/>
                  </a:lnTo>
                  <a:lnTo>
                    <a:pt x="1107" y="67"/>
                  </a:lnTo>
                  <a:lnTo>
                    <a:pt x="1110" y="52"/>
                  </a:lnTo>
                  <a:lnTo>
                    <a:pt x="1113" y="39"/>
                  </a:lnTo>
                  <a:lnTo>
                    <a:pt x="1113" y="39"/>
                  </a:lnTo>
                  <a:lnTo>
                    <a:pt x="1113" y="39"/>
                  </a:lnTo>
                  <a:lnTo>
                    <a:pt x="1113" y="35"/>
                  </a:lnTo>
                  <a:lnTo>
                    <a:pt x="1114" y="33"/>
                  </a:lnTo>
                  <a:lnTo>
                    <a:pt x="1113" y="25"/>
                  </a:lnTo>
                  <a:lnTo>
                    <a:pt x="1110" y="19"/>
                  </a:lnTo>
                  <a:lnTo>
                    <a:pt x="1107" y="13"/>
                  </a:lnTo>
                  <a:lnTo>
                    <a:pt x="1102" y="8"/>
                  </a:lnTo>
                  <a:lnTo>
                    <a:pt x="1096" y="5"/>
                  </a:lnTo>
                  <a:lnTo>
                    <a:pt x="1091" y="2"/>
                  </a:lnTo>
                  <a:lnTo>
                    <a:pt x="1085" y="0"/>
                  </a:lnTo>
                  <a:lnTo>
                    <a:pt x="1080" y="0"/>
                  </a:lnTo>
                  <a:lnTo>
                    <a:pt x="1075" y="0"/>
                  </a:lnTo>
                  <a:lnTo>
                    <a:pt x="1069" y="1"/>
                  </a:lnTo>
                  <a:lnTo>
                    <a:pt x="1064" y="3"/>
                  </a:lnTo>
                  <a:lnTo>
                    <a:pt x="1060" y="6"/>
                  </a:lnTo>
                  <a:lnTo>
                    <a:pt x="1055" y="11"/>
                  </a:lnTo>
                  <a:lnTo>
                    <a:pt x="1051" y="15"/>
                  </a:lnTo>
                  <a:lnTo>
                    <a:pt x="1049" y="21"/>
                  </a:lnTo>
                  <a:lnTo>
                    <a:pt x="1048" y="27"/>
                  </a:lnTo>
                  <a:lnTo>
                    <a:pt x="1048" y="27"/>
                  </a:lnTo>
                  <a:lnTo>
                    <a:pt x="1044" y="42"/>
                  </a:lnTo>
                  <a:lnTo>
                    <a:pt x="1041" y="60"/>
                  </a:lnTo>
                  <a:lnTo>
                    <a:pt x="1037" y="78"/>
                  </a:lnTo>
                  <a:lnTo>
                    <a:pt x="1031" y="95"/>
                  </a:lnTo>
                  <a:lnTo>
                    <a:pt x="1025" y="112"/>
                  </a:lnTo>
                  <a:lnTo>
                    <a:pt x="1018" y="125"/>
                  </a:lnTo>
                  <a:lnTo>
                    <a:pt x="1014" y="131"/>
                  </a:lnTo>
                  <a:lnTo>
                    <a:pt x="1010" y="135"/>
                  </a:lnTo>
                  <a:lnTo>
                    <a:pt x="1005" y="139"/>
                  </a:lnTo>
                  <a:lnTo>
                    <a:pt x="1001" y="141"/>
                  </a:lnTo>
                  <a:lnTo>
                    <a:pt x="1011" y="160"/>
                  </a:lnTo>
                  <a:lnTo>
                    <a:pt x="1031" y="156"/>
                  </a:lnTo>
                  <a:lnTo>
                    <a:pt x="1030" y="148"/>
                  </a:lnTo>
                  <a:lnTo>
                    <a:pt x="1028" y="140"/>
                  </a:lnTo>
                  <a:lnTo>
                    <a:pt x="1024" y="132"/>
                  </a:lnTo>
                  <a:lnTo>
                    <a:pt x="1021" y="124"/>
                  </a:lnTo>
                  <a:lnTo>
                    <a:pt x="1015" y="115"/>
                  </a:lnTo>
                  <a:lnTo>
                    <a:pt x="1009" y="108"/>
                  </a:lnTo>
                  <a:lnTo>
                    <a:pt x="1002" y="102"/>
                  </a:lnTo>
                  <a:lnTo>
                    <a:pt x="995" y="98"/>
                  </a:lnTo>
                  <a:lnTo>
                    <a:pt x="987" y="93"/>
                  </a:lnTo>
                  <a:lnTo>
                    <a:pt x="977" y="91"/>
                  </a:lnTo>
                  <a:lnTo>
                    <a:pt x="969" y="88"/>
                  </a:lnTo>
                  <a:lnTo>
                    <a:pt x="960" y="87"/>
                  </a:lnTo>
                  <a:lnTo>
                    <a:pt x="952" y="87"/>
                  </a:lnTo>
                  <a:lnTo>
                    <a:pt x="944" y="89"/>
                  </a:lnTo>
                  <a:lnTo>
                    <a:pt x="937" y="93"/>
                  </a:lnTo>
                  <a:lnTo>
                    <a:pt x="930" y="98"/>
                  </a:lnTo>
                  <a:lnTo>
                    <a:pt x="924" y="105"/>
                  </a:lnTo>
                  <a:lnTo>
                    <a:pt x="921" y="113"/>
                  </a:lnTo>
                  <a:lnTo>
                    <a:pt x="918" y="121"/>
                  </a:lnTo>
                  <a:lnTo>
                    <a:pt x="917" y="131"/>
                  </a:lnTo>
                  <a:lnTo>
                    <a:pt x="917" y="133"/>
                  </a:lnTo>
                  <a:lnTo>
                    <a:pt x="918" y="136"/>
                  </a:lnTo>
                  <a:lnTo>
                    <a:pt x="938" y="134"/>
                  </a:lnTo>
                  <a:lnTo>
                    <a:pt x="918" y="135"/>
                  </a:lnTo>
                  <a:lnTo>
                    <a:pt x="918" y="142"/>
                  </a:lnTo>
                  <a:lnTo>
                    <a:pt x="921" y="149"/>
                  </a:lnTo>
                  <a:lnTo>
                    <a:pt x="922" y="155"/>
                  </a:lnTo>
                  <a:lnTo>
                    <a:pt x="925" y="161"/>
                  </a:lnTo>
                  <a:lnTo>
                    <a:pt x="931" y="173"/>
                  </a:lnTo>
                  <a:lnTo>
                    <a:pt x="939" y="182"/>
                  </a:lnTo>
                  <a:lnTo>
                    <a:pt x="949" y="189"/>
                  </a:lnTo>
                  <a:lnTo>
                    <a:pt x="960" y="197"/>
                  </a:lnTo>
                  <a:lnTo>
                    <a:pt x="970" y="202"/>
                  </a:lnTo>
                  <a:lnTo>
                    <a:pt x="982" y="206"/>
                  </a:lnTo>
                  <a:lnTo>
                    <a:pt x="988" y="186"/>
                  </a:lnTo>
                  <a:lnTo>
                    <a:pt x="967" y="185"/>
                  </a:lnTo>
                  <a:lnTo>
                    <a:pt x="967" y="189"/>
                  </a:lnTo>
                  <a:lnTo>
                    <a:pt x="965" y="199"/>
                  </a:lnTo>
                  <a:lnTo>
                    <a:pt x="965" y="209"/>
                  </a:lnTo>
                  <a:lnTo>
                    <a:pt x="985" y="212"/>
                  </a:lnTo>
                  <a:lnTo>
                    <a:pt x="980" y="192"/>
                  </a:lnTo>
                  <a:lnTo>
                    <a:pt x="954" y="201"/>
                  </a:lnTo>
                  <a:lnTo>
                    <a:pt x="929" y="211"/>
                  </a:lnTo>
                  <a:lnTo>
                    <a:pt x="905" y="221"/>
                  </a:lnTo>
                  <a:lnTo>
                    <a:pt x="882" y="233"/>
                  </a:lnTo>
                  <a:lnTo>
                    <a:pt x="858" y="246"/>
                  </a:lnTo>
                  <a:lnTo>
                    <a:pt x="837" y="259"/>
                  </a:lnTo>
                  <a:lnTo>
                    <a:pt x="815" y="273"/>
                  </a:lnTo>
                  <a:lnTo>
                    <a:pt x="795" y="288"/>
                  </a:lnTo>
                  <a:lnTo>
                    <a:pt x="806" y="306"/>
                  </a:lnTo>
                  <a:lnTo>
                    <a:pt x="821" y="290"/>
                  </a:lnTo>
                  <a:lnTo>
                    <a:pt x="816" y="285"/>
                  </a:lnTo>
                  <a:lnTo>
                    <a:pt x="811" y="280"/>
                  </a:lnTo>
                  <a:lnTo>
                    <a:pt x="795" y="292"/>
                  </a:lnTo>
                  <a:lnTo>
                    <a:pt x="811" y="280"/>
                  </a:lnTo>
                  <a:lnTo>
                    <a:pt x="811" y="279"/>
                  </a:lnTo>
                  <a:lnTo>
                    <a:pt x="810" y="277"/>
                  </a:lnTo>
                  <a:lnTo>
                    <a:pt x="791" y="287"/>
                  </a:lnTo>
                  <a:lnTo>
                    <a:pt x="801" y="306"/>
                  </a:lnTo>
                  <a:lnTo>
                    <a:pt x="810" y="299"/>
                  </a:lnTo>
                  <a:lnTo>
                    <a:pt x="819" y="291"/>
                  </a:lnTo>
                  <a:lnTo>
                    <a:pt x="825" y="284"/>
                  </a:lnTo>
                  <a:lnTo>
                    <a:pt x="831" y="275"/>
                  </a:lnTo>
                  <a:lnTo>
                    <a:pt x="835" y="266"/>
                  </a:lnTo>
                  <a:lnTo>
                    <a:pt x="838" y="257"/>
                  </a:lnTo>
                  <a:lnTo>
                    <a:pt x="841" y="247"/>
                  </a:lnTo>
                  <a:lnTo>
                    <a:pt x="843" y="238"/>
                  </a:lnTo>
                  <a:lnTo>
                    <a:pt x="844" y="227"/>
                  </a:lnTo>
                  <a:lnTo>
                    <a:pt x="844" y="218"/>
                  </a:lnTo>
                  <a:lnTo>
                    <a:pt x="844" y="207"/>
                  </a:lnTo>
                  <a:lnTo>
                    <a:pt x="843" y="197"/>
                  </a:lnTo>
                  <a:lnTo>
                    <a:pt x="839" y="186"/>
                  </a:lnTo>
                  <a:lnTo>
                    <a:pt x="835" y="177"/>
                  </a:lnTo>
                  <a:lnTo>
                    <a:pt x="835" y="177"/>
                  </a:lnTo>
                  <a:lnTo>
                    <a:pt x="831" y="172"/>
                  </a:lnTo>
                  <a:lnTo>
                    <a:pt x="829" y="168"/>
                  </a:lnTo>
                  <a:lnTo>
                    <a:pt x="824" y="165"/>
                  </a:lnTo>
                  <a:lnTo>
                    <a:pt x="821" y="162"/>
                  </a:lnTo>
                  <a:lnTo>
                    <a:pt x="816" y="160"/>
                  </a:lnTo>
                  <a:lnTo>
                    <a:pt x="811" y="158"/>
                  </a:lnTo>
                  <a:lnTo>
                    <a:pt x="806" y="158"/>
                  </a:lnTo>
                  <a:lnTo>
                    <a:pt x="802" y="156"/>
                  </a:lnTo>
                  <a:lnTo>
                    <a:pt x="795" y="158"/>
                  </a:lnTo>
                  <a:lnTo>
                    <a:pt x="788" y="160"/>
                  </a:lnTo>
                  <a:lnTo>
                    <a:pt x="782" y="162"/>
                  </a:lnTo>
                  <a:lnTo>
                    <a:pt x="776" y="167"/>
                  </a:lnTo>
                  <a:lnTo>
                    <a:pt x="766" y="177"/>
                  </a:lnTo>
                  <a:lnTo>
                    <a:pt x="758" y="187"/>
                  </a:lnTo>
                  <a:lnTo>
                    <a:pt x="752" y="199"/>
                  </a:lnTo>
                  <a:lnTo>
                    <a:pt x="748" y="211"/>
                  </a:lnTo>
                  <a:lnTo>
                    <a:pt x="745" y="222"/>
                  </a:lnTo>
                  <a:lnTo>
                    <a:pt x="743" y="234"/>
                  </a:lnTo>
                  <a:lnTo>
                    <a:pt x="741" y="246"/>
                  </a:lnTo>
                  <a:lnTo>
                    <a:pt x="741" y="257"/>
                  </a:lnTo>
                  <a:lnTo>
                    <a:pt x="761" y="258"/>
                  </a:lnTo>
                  <a:lnTo>
                    <a:pt x="775" y="242"/>
                  </a:lnTo>
                  <a:lnTo>
                    <a:pt x="766" y="233"/>
                  </a:lnTo>
                  <a:lnTo>
                    <a:pt x="757" y="220"/>
                  </a:lnTo>
                  <a:lnTo>
                    <a:pt x="750" y="208"/>
                  </a:lnTo>
                  <a:lnTo>
                    <a:pt x="745" y="200"/>
                  </a:lnTo>
                  <a:lnTo>
                    <a:pt x="726" y="211"/>
                  </a:lnTo>
                  <a:lnTo>
                    <a:pt x="745" y="200"/>
                  </a:lnTo>
                  <a:lnTo>
                    <a:pt x="741" y="194"/>
                  </a:lnTo>
                  <a:lnTo>
                    <a:pt x="733" y="188"/>
                  </a:lnTo>
                  <a:lnTo>
                    <a:pt x="726" y="185"/>
                  </a:lnTo>
                  <a:lnTo>
                    <a:pt x="718" y="185"/>
                  </a:lnTo>
                  <a:lnTo>
                    <a:pt x="711" y="185"/>
                  </a:lnTo>
                  <a:lnTo>
                    <a:pt x="705" y="187"/>
                  </a:lnTo>
                  <a:lnTo>
                    <a:pt x="699" y="191"/>
                  </a:lnTo>
                  <a:lnTo>
                    <a:pt x="695" y="194"/>
                  </a:lnTo>
                  <a:lnTo>
                    <a:pt x="690" y="199"/>
                  </a:lnTo>
                  <a:lnTo>
                    <a:pt x="688" y="205"/>
                  </a:lnTo>
                  <a:lnTo>
                    <a:pt x="685" y="211"/>
                  </a:lnTo>
                  <a:lnTo>
                    <a:pt x="684" y="219"/>
                  </a:lnTo>
                  <a:lnTo>
                    <a:pt x="684" y="222"/>
                  </a:lnTo>
                  <a:lnTo>
                    <a:pt x="685" y="227"/>
                  </a:lnTo>
                  <a:lnTo>
                    <a:pt x="688" y="232"/>
                  </a:lnTo>
                  <a:lnTo>
                    <a:pt x="689" y="235"/>
                  </a:lnTo>
                  <a:lnTo>
                    <a:pt x="708" y="225"/>
                  </a:lnTo>
                  <a:lnTo>
                    <a:pt x="689" y="235"/>
                  </a:lnTo>
                  <a:lnTo>
                    <a:pt x="695" y="244"/>
                  </a:lnTo>
                  <a:lnTo>
                    <a:pt x="701" y="253"/>
                  </a:lnTo>
                  <a:lnTo>
                    <a:pt x="706" y="262"/>
                  </a:lnTo>
                  <a:lnTo>
                    <a:pt x="715" y="273"/>
                  </a:lnTo>
                  <a:lnTo>
                    <a:pt x="724" y="282"/>
                  </a:lnTo>
                  <a:lnTo>
                    <a:pt x="733" y="292"/>
                  </a:lnTo>
                  <a:lnTo>
                    <a:pt x="744" y="300"/>
                  </a:lnTo>
                  <a:lnTo>
                    <a:pt x="757" y="307"/>
                  </a:lnTo>
                  <a:lnTo>
                    <a:pt x="764" y="287"/>
                  </a:lnTo>
                  <a:lnTo>
                    <a:pt x="744" y="294"/>
                  </a:lnTo>
                  <a:lnTo>
                    <a:pt x="750" y="306"/>
                  </a:lnTo>
                  <a:lnTo>
                    <a:pt x="757" y="318"/>
                  </a:lnTo>
                  <a:lnTo>
                    <a:pt x="764" y="327"/>
                  </a:lnTo>
                  <a:lnTo>
                    <a:pt x="773" y="337"/>
                  </a:lnTo>
                  <a:lnTo>
                    <a:pt x="788" y="321"/>
                  </a:lnTo>
                  <a:lnTo>
                    <a:pt x="773" y="305"/>
                  </a:lnTo>
                  <a:lnTo>
                    <a:pt x="761" y="317"/>
                  </a:lnTo>
                  <a:lnTo>
                    <a:pt x="749" y="328"/>
                  </a:lnTo>
                  <a:lnTo>
                    <a:pt x="736" y="341"/>
                  </a:lnTo>
                  <a:lnTo>
                    <a:pt x="725" y="354"/>
                  </a:lnTo>
                  <a:lnTo>
                    <a:pt x="713" y="367"/>
                  </a:lnTo>
                  <a:lnTo>
                    <a:pt x="703" y="381"/>
                  </a:lnTo>
                  <a:lnTo>
                    <a:pt x="692" y="395"/>
                  </a:lnTo>
                  <a:lnTo>
                    <a:pt x="683" y="410"/>
                  </a:lnTo>
                  <a:lnTo>
                    <a:pt x="673" y="425"/>
                  </a:lnTo>
                  <a:lnTo>
                    <a:pt x="665" y="440"/>
                  </a:lnTo>
                  <a:lnTo>
                    <a:pt x="657" y="455"/>
                  </a:lnTo>
                  <a:lnTo>
                    <a:pt x="650" y="472"/>
                  </a:lnTo>
                  <a:lnTo>
                    <a:pt x="644" y="488"/>
                  </a:lnTo>
                  <a:lnTo>
                    <a:pt x="637" y="506"/>
                  </a:lnTo>
                  <a:lnTo>
                    <a:pt x="632" y="524"/>
                  </a:lnTo>
                  <a:lnTo>
                    <a:pt x="628" y="541"/>
                  </a:lnTo>
                  <a:lnTo>
                    <a:pt x="622" y="567"/>
                  </a:lnTo>
                  <a:lnTo>
                    <a:pt x="618" y="593"/>
                  </a:lnTo>
                  <a:lnTo>
                    <a:pt x="616" y="620"/>
                  </a:lnTo>
                  <a:lnTo>
                    <a:pt x="615" y="647"/>
                  </a:lnTo>
                  <a:lnTo>
                    <a:pt x="616" y="670"/>
                  </a:lnTo>
                  <a:lnTo>
                    <a:pt x="617" y="693"/>
                  </a:lnTo>
                  <a:lnTo>
                    <a:pt x="619" y="716"/>
                  </a:lnTo>
                  <a:lnTo>
                    <a:pt x="623" y="738"/>
                  </a:lnTo>
                  <a:lnTo>
                    <a:pt x="626" y="762"/>
                  </a:lnTo>
                  <a:lnTo>
                    <a:pt x="631" y="784"/>
                  </a:lnTo>
                  <a:lnTo>
                    <a:pt x="636" y="806"/>
                  </a:lnTo>
                  <a:lnTo>
                    <a:pt x="642" y="829"/>
                  </a:lnTo>
                  <a:lnTo>
                    <a:pt x="653" y="872"/>
                  </a:lnTo>
                  <a:lnTo>
                    <a:pt x="669" y="915"/>
                  </a:lnTo>
                  <a:lnTo>
                    <a:pt x="684" y="956"/>
                  </a:lnTo>
                  <a:lnTo>
                    <a:pt x="701" y="995"/>
                  </a:lnTo>
                  <a:lnTo>
                    <a:pt x="712" y="1022"/>
                  </a:lnTo>
                  <a:lnTo>
                    <a:pt x="725" y="1049"/>
                  </a:lnTo>
                  <a:lnTo>
                    <a:pt x="738" y="1075"/>
                  </a:lnTo>
                  <a:lnTo>
                    <a:pt x="751" y="1101"/>
                  </a:lnTo>
                  <a:lnTo>
                    <a:pt x="764" y="1125"/>
                  </a:lnTo>
                  <a:lnTo>
                    <a:pt x="776" y="1151"/>
                  </a:lnTo>
                  <a:lnTo>
                    <a:pt x="788" y="1176"/>
                  </a:lnTo>
                  <a:lnTo>
                    <a:pt x="799" y="1202"/>
                  </a:lnTo>
                  <a:lnTo>
                    <a:pt x="810" y="1227"/>
                  </a:lnTo>
                  <a:lnTo>
                    <a:pt x="819" y="1252"/>
                  </a:lnTo>
                  <a:lnTo>
                    <a:pt x="829" y="1278"/>
                  </a:lnTo>
                  <a:lnTo>
                    <a:pt x="836" y="1305"/>
                  </a:lnTo>
                  <a:lnTo>
                    <a:pt x="843" y="1331"/>
                  </a:lnTo>
                  <a:lnTo>
                    <a:pt x="848" y="1360"/>
                  </a:lnTo>
                  <a:lnTo>
                    <a:pt x="851" y="1387"/>
                  </a:lnTo>
                  <a:lnTo>
                    <a:pt x="852" y="1416"/>
                  </a:lnTo>
                  <a:lnTo>
                    <a:pt x="852" y="1417"/>
                  </a:lnTo>
                  <a:lnTo>
                    <a:pt x="852" y="1420"/>
                  </a:lnTo>
                  <a:lnTo>
                    <a:pt x="852" y="1423"/>
                  </a:lnTo>
                  <a:lnTo>
                    <a:pt x="874" y="1423"/>
                  </a:lnTo>
                  <a:lnTo>
                    <a:pt x="874" y="1402"/>
                  </a:lnTo>
                  <a:lnTo>
                    <a:pt x="872" y="1402"/>
                  </a:lnTo>
                  <a:lnTo>
                    <a:pt x="862" y="1402"/>
                  </a:lnTo>
                  <a:lnTo>
                    <a:pt x="851" y="1401"/>
                  </a:lnTo>
                  <a:lnTo>
                    <a:pt x="842" y="1400"/>
                  </a:lnTo>
                  <a:lnTo>
                    <a:pt x="831" y="1397"/>
                  </a:lnTo>
                  <a:lnTo>
                    <a:pt x="812" y="1393"/>
                  </a:lnTo>
                  <a:lnTo>
                    <a:pt x="794" y="1384"/>
                  </a:lnTo>
                  <a:lnTo>
                    <a:pt x="781" y="1377"/>
                  </a:lnTo>
                  <a:lnTo>
                    <a:pt x="768" y="1370"/>
                  </a:lnTo>
                  <a:lnTo>
                    <a:pt x="755" y="1361"/>
                  </a:lnTo>
                  <a:lnTo>
                    <a:pt x="741" y="1351"/>
                  </a:lnTo>
                  <a:lnTo>
                    <a:pt x="716" y="1329"/>
                  </a:lnTo>
                  <a:lnTo>
                    <a:pt x="689" y="1304"/>
                  </a:lnTo>
                  <a:lnTo>
                    <a:pt x="663" y="1277"/>
                  </a:lnTo>
                  <a:lnTo>
                    <a:pt x="636" y="1249"/>
                  </a:lnTo>
                  <a:lnTo>
                    <a:pt x="608" y="1219"/>
                  </a:lnTo>
                  <a:lnTo>
                    <a:pt x="577" y="1190"/>
                  </a:lnTo>
                  <a:lnTo>
                    <a:pt x="562" y="1175"/>
                  </a:lnTo>
                  <a:lnTo>
                    <a:pt x="545" y="1162"/>
                  </a:lnTo>
                  <a:lnTo>
                    <a:pt x="527" y="1149"/>
                  </a:lnTo>
                  <a:lnTo>
                    <a:pt x="511" y="1137"/>
                  </a:lnTo>
                  <a:lnTo>
                    <a:pt x="493" y="1125"/>
                  </a:lnTo>
                  <a:lnTo>
                    <a:pt x="474" y="1115"/>
                  </a:lnTo>
                  <a:lnTo>
                    <a:pt x="457" y="1105"/>
                  </a:lnTo>
                  <a:lnTo>
                    <a:pt x="438" y="1096"/>
                  </a:lnTo>
                  <a:lnTo>
                    <a:pt x="419" y="1088"/>
                  </a:lnTo>
                  <a:lnTo>
                    <a:pt x="399" y="1081"/>
                  </a:lnTo>
                  <a:lnTo>
                    <a:pt x="379" y="1074"/>
                  </a:lnTo>
                  <a:lnTo>
                    <a:pt x="360" y="1066"/>
                  </a:lnTo>
                  <a:lnTo>
                    <a:pt x="340" y="1061"/>
                  </a:lnTo>
                  <a:lnTo>
                    <a:pt x="320" y="1056"/>
                  </a:lnTo>
                  <a:lnTo>
                    <a:pt x="299" y="1051"/>
                  </a:lnTo>
                  <a:lnTo>
                    <a:pt x="279" y="1046"/>
                  </a:lnTo>
                  <a:lnTo>
                    <a:pt x="276" y="1068"/>
                  </a:lnTo>
                  <a:lnTo>
                    <a:pt x="297" y="1065"/>
                  </a:lnTo>
                  <a:lnTo>
                    <a:pt x="293" y="1051"/>
                  </a:lnTo>
                  <a:lnTo>
                    <a:pt x="290" y="1038"/>
                  </a:lnTo>
                  <a:lnTo>
                    <a:pt x="285" y="1025"/>
                  </a:lnTo>
                  <a:lnTo>
                    <a:pt x="279" y="1013"/>
                  </a:lnTo>
                  <a:lnTo>
                    <a:pt x="273" y="1002"/>
                  </a:lnTo>
                  <a:lnTo>
                    <a:pt x="265" y="991"/>
                  </a:lnTo>
                  <a:lnTo>
                    <a:pt x="257" y="981"/>
                  </a:lnTo>
                  <a:lnTo>
                    <a:pt x="247" y="972"/>
                  </a:lnTo>
                  <a:lnTo>
                    <a:pt x="237" y="964"/>
                  </a:lnTo>
                  <a:lnTo>
                    <a:pt x="226" y="957"/>
                  </a:lnTo>
                  <a:lnTo>
                    <a:pt x="214" y="950"/>
                  </a:lnTo>
                  <a:lnTo>
                    <a:pt x="203" y="945"/>
                  </a:lnTo>
                  <a:lnTo>
                    <a:pt x="190" y="940"/>
                  </a:lnTo>
                  <a:lnTo>
                    <a:pt x="177" y="938"/>
                  </a:lnTo>
                  <a:lnTo>
                    <a:pt x="163" y="936"/>
                  </a:lnTo>
                  <a:lnTo>
                    <a:pt x="150" y="935"/>
                  </a:lnTo>
                  <a:lnTo>
                    <a:pt x="140" y="936"/>
                  </a:lnTo>
                  <a:lnTo>
                    <a:pt x="131" y="936"/>
                  </a:lnTo>
                  <a:lnTo>
                    <a:pt x="131" y="936"/>
                  </a:lnTo>
                  <a:lnTo>
                    <a:pt x="117" y="938"/>
                  </a:lnTo>
                  <a:lnTo>
                    <a:pt x="104" y="942"/>
                  </a:lnTo>
                  <a:lnTo>
                    <a:pt x="91" y="946"/>
                  </a:lnTo>
                  <a:lnTo>
                    <a:pt x="79" y="952"/>
                  </a:lnTo>
                  <a:lnTo>
                    <a:pt x="67" y="959"/>
                  </a:lnTo>
                  <a:lnTo>
                    <a:pt x="57" y="968"/>
                  </a:lnTo>
                  <a:lnTo>
                    <a:pt x="47" y="976"/>
                  </a:lnTo>
                  <a:lnTo>
                    <a:pt x="38" y="985"/>
                  </a:lnTo>
                  <a:lnTo>
                    <a:pt x="29" y="996"/>
                  </a:lnTo>
                  <a:lnTo>
                    <a:pt x="22" y="1006"/>
                  </a:lnTo>
                  <a:lnTo>
                    <a:pt x="15" y="1018"/>
                  </a:lnTo>
                  <a:lnTo>
                    <a:pt x="11" y="1030"/>
                  </a:lnTo>
                  <a:lnTo>
                    <a:pt x="6" y="1043"/>
                  </a:lnTo>
                  <a:lnTo>
                    <a:pt x="4" y="1056"/>
                  </a:lnTo>
                  <a:lnTo>
                    <a:pt x="1" y="1070"/>
                  </a:lnTo>
                  <a:lnTo>
                    <a:pt x="0" y="1083"/>
                  </a:lnTo>
                  <a:lnTo>
                    <a:pt x="1" y="1092"/>
                  </a:lnTo>
                  <a:lnTo>
                    <a:pt x="1" y="1102"/>
                  </a:lnTo>
                  <a:lnTo>
                    <a:pt x="4" y="1116"/>
                  </a:lnTo>
                  <a:lnTo>
                    <a:pt x="7" y="1129"/>
                  </a:lnTo>
                  <a:lnTo>
                    <a:pt x="12" y="1142"/>
                  </a:lnTo>
                  <a:lnTo>
                    <a:pt x="18" y="1154"/>
                  </a:lnTo>
                  <a:lnTo>
                    <a:pt x="25" y="1165"/>
                  </a:lnTo>
                  <a:lnTo>
                    <a:pt x="33" y="1176"/>
                  </a:lnTo>
                  <a:lnTo>
                    <a:pt x="41" y="1187"/>
                  </a:lnTo>
                  <a:lnTo>
                    <a:pt x="51" y="1195"/>
                  </a:lnTo>
                  <a:lnTo>
                    <a:pt x="61" y="1203"/>
                  </a:lnTo>
                  <a:lnTo>
                    <a:pt x="72" y="1210"/>
                  </a:lnTo>
                  <a:lnTo>
                    <a:pt x="84" y="1217"/>
                  </a:lnTo>
                  <a:lnTo>
                    <a:pt x="95" y="1222"/>
                  </a:lnTo>
                  <a:lnTo>
                    <a:pt x="108" y="1227"/>
                  </a:lnTo>
                  <a:lnTo>
                    <a:pt x="121" y="1230"/>
                  </a:lnTo>
                  <a:lnTo>
                    <a:pt x="135" y="1231"/>
                  </a:lnTo>
                  <a:lnTo>
                    <a:pt x="148" y="1232"/>
                  </a:lnTo>
                  <a:lnTo>
                    <a:pt x="158" y="1231"/>
                  </a:lnTo>
                  <a:lnTo>
                    <a:pt x="167" y="1231"/>
                  </a:lnTo>
                  <a:lnTo>
                    <a:pt x="181" y="1229"/>
                  </a:lnTo>
                  <a:lnTo>
                    <a:pt x="195" y="1224"/>
                  </a:lnTo>
                  <a:lnTo>
                    <a:pt x="210" y="1219"/>
                  </a:lnTo>
                  <a:lnTo>
                    <a:pt x="223" y="1212"/>
                  </a:lnTo>
                  <a:lnTo>
                    <a:pt x="234" y="1205"/>
                  </a:lnTo>
                  <a:lnTo>
                    <a:pt x="245" y="1196"/>
                  </a:lnTo>
                  <a:lnTo>
                    <a:pt x="256" y="1187"/>
                  </a:lnTo>
                  <a:lnTo>
                    <a:pt x="265" y="1176"/>
                  </a:lnTo>
                  <a:lnTo>
                    <a:pt x="248" y="1163"/>
                  </a:lnTo>
                  <a:lnTo>
                    <a:pt x="244" y="1183"/>
                  </a:lnTo>
                  <a:lnTo>
                    <a:pt x="277" y="1191"/>
                  </a:lnTo>
                  <a:lnTo>
                    <a:pt x="307" y="1202"/>
                  </a:lnTo>
                  <a:lnTo>
                    <a:pt x="337" y="1214"/>
                  </a:lnTo>
                  <a:lnTo>
                    <a:pt x="365" y="1227"/>
                  </a:lnTo>
                  <a:lnTo>
                    <a:pt x="391" y="1242"/>
                  </a:lnTo>
                  <a:lnTo>
                    <a:pt x="417" y="1257"/>
                  </a:lnTo>
                  <a:lnTo>
                    <a:pt x="442" y="1275"/>
                  </a:lnTo>
                  <a:lnTo>
                    <a:pt x="465" y="1295"/>
                  </a:lnTo>
                  <a:lnTo>
                    <a:pt x="490" y="1315"/>
                  </a:lnTo>
                  <a:lnTo>
                    <a:pt x="513" y="1335"/>
                  </a:lnTo>
                  <a:lnTo>
                    <a:pt x="537" y="1357"/>
                  </a:lnTo>
                  <a:lnTo>
                    <a:pt x="560" y="1381"/>
                  </a:lnTo>
                  <a:lnTo>
                    <a:pt x="585" y="1403"/>
                  </a:lnTo>
                  <a:lnTo>
                    <a:pt x="611" y="1428"/>
                  </a:lnTo>
                  <a:lnTo>
                    <a:pt x="637" y="1451"/>
                  </a:lnTo>
                  <a:lnTo>
                    <a:pt x="664" y="1476"/>
                  </a:lnTo>
                  <a:lnTo>
                    <a:pt x="675" y="1486"/>
                  </a:lnTo>
                  <a:lnTo>
                    <a:pt x="686" y="1494"/>
                  </a:lnTo>
                  <a:lnTo>
                    <a:pt x="697" y="1502"/>
                  </a:lnTo>
                  <a:lnTo>
                    <a:pt x="709" y="1509"/>
                  </a:lnTo>
                  <a:lnTo>
                    <a:pt x="721" y="1516"/>
                  </a:lnTo>
                  <a:lnTo>
                    <a:pt x="732" y="1522"/>
                  </a:lnTo>
                  <a:lnTo>
                    <a:pt x="744" y="1527"/>
                  </a:lnTo>
                  <a:lnTo>
                    <a:pt x="756" y="1531"/>
                  </a:lnTo>
                  <a:lnTo>
                    <a:pt x="779" y="1538"/>
                  </a:lnTo>
                  <a:lnTo>
                    <a:pt x="804" y="1544"/>
                  </a:lnTo>
                  <a:lnTo>
                    <a:pt x="829" y="1547"/>
                  </a:lnTo>
                  <a:lnTo>
                    <a:pt x="854" y="1548"/>
                  </a:lnTo>
                  <a:lnTo>
                    <a:pt x="857" y="1548"/>
                  </a:lnTo>
                  <a:lnTo>
                    <a:pt x="861" y="1548"/>
                  </a:lnTo>
                  <a:lnTo>
                    <a:pt x="861" y="1527"/>
                  </a:lnTo>
                  <a:lnTo>
                    <a:pt x="841" y="1522"/>
                  </a:lnTo>
                  <a:lnTo>
                    <a:pt x="835" y="1542"/>
                  </a:lnTo>
                  <a:lnTo>
                    <a:pt x="829" y="1561"/>
                  </a:lnTo>
                  <a:lnTo>
                    <a:pt x="822" y="1581"/>
                  </a:lnTo>
                  <a:lnTo>
                    <a:pt x="814" y="1600"/>
                  </a:lnTo>
                  <a:lnTo>
                    <a:pt x="805" y="1619"/>
                  </a:lnTo>
                  <a:lnTo>
                    <a:pt x="796" y="1639"/>
                  </a:lnTo>
                  <a:lnTo>
                    <a:pt x="786" y="1656"/>
                  </a:lnTo>
                  <a:lnTo>
                    <a:pt x="776" y="1675"/>
                  </a:lnTo>
                  <a:lnTo>
                    <a:pt x="753" y="1712"/>
                  </a:lnTo>
                  <a:lnTo>
                    <a:pt x="731" y="1746"/>
                  </a:lnTo>
                  <a:lnTo>
                    <a:pt x="706" y="1779"/>
                  </a:lnTo>
                  <a:lnTo>
                    <a:pt x="682" y="1810"/>
                  </a:lnTo>
                  <a:lnTo>
                    <a:pt x="675" y="1817"/>
                  </a:lnTo>
                  <a:lnTo>
                    <a:pt x="668" y="1825"/>
                  </a:lnTo>
                  <a:lnTo>
                    <a:pt x="668" y="1826"/>
                  </a:lnTo>
                  <a:lnTo>
                    <a:pt x="666" y="1827"/>
                  </a:lnTo>
                  <a:lnTo>
                    <a:pt x="683" y="1840"/>
                  </a:lnTo>
                  <a:lnTo>
                    <a:pt x="670" y="1823"/>
                  </a:lnTo>
                  <a:lnTo>
                    <a:pt x="643" y="1846"/>
                  </a:lnTo>
                  <a:lnTo>
                    <a:pt x="618" y="1868"/>
                  </a:lnTo>
                  <a:lnTo>
                    <a:pt x="595" y="1892"/>
                  </a:lnTo>
                  <a:lnTo>
                    <a:pt x="573" y="1916"/>
                  </a:lnTo>
                  <a:lnTo>
                    <a:pt x="553" y="1941"/>
                  </a:lnTo>
                  <a:lnTo>
                    <a:pt x="535" y="1968"/>
                  </a:lnTo>
                  <a:lnTo>
                    <a:pt x="517" y="1995"/>
                  </a:lnTo>
                  <a:lnTo>
                    <a:pt x="502" y="2022"/>
                  </a:lnTo>
                  <a:lnTo>
                    <a:pt x="487" y="2051"/>
                  </a:lnTo>
                  <a:lnTo>
                    <a:pt x="476" y="2080"/>
                  </a:lnTo>
                  <a:lnTo>
                    <a:pt x="466" y="2109"/>
                  </a:lnTo>
                  <a:lnTo>
                    <a:pt x="457" y="2140"/>
                  </a:lnTo>
                  <a:lnTo>
                    <a:pt x="451" y="2171"/>
                  </a:lnTo>
                  <a:lnTo>
                    <a:pt x="446" y="2202"/>
                  </a:lnTo>
                  <a:lnTo>
                    <a:pt x="443" y="2234"/>
                  </a:lnTo>
                  <a:lnTo>
                    <a:pt x="442" y="2266"/>
                  </a:lnTo>
                  <a:lnTo>
                    <a:pt x="443" y="2291"/>
                  </a:lnTo>
                  <a:lnTo>
                    <a:pt x="444" y="2315"/>
                  </a:lnTo>
                  <a:lnTo>
                    <a:pt x="447" y="2340"/>
                  </a:lnTo>
                  <a:lnTo>
                    <a:pt x="451" y="2365"/>
                  </a:lnTo>
                  <a:lnTo>
                    <a:pt x="457" y="2391"/>
                  </a:lnTo>
                  <a:lnTo>
                    <a:pt x="463" y="2415"/>
                  </a:lnTo>
                  <a:lnTo>
                    <a:pt x="471" y="2440"/>
                  </a:lnTo>
                  <a:lnTo>
                    <a:pt x="479" y="2466"/>
                  </a:lnTo>
                  <a:lnTo>
                    <a:pt x="492" y="2496"/>
                  </a:lnTo>
                  <a:lnTo>
                    <a:pt x="505" y="2525"/>
                  </a:lnTo>
                  <a:lnTo>
                    <a:pt x="520" y="2552"/>
                  </a:lnTo>
                  <a:lnTo>
                    <a:pt x="537" y="2578"/>
                  </a:lnTo>
                  <a:lnTo>
                    <a:pt x="555" y="2603"/>
                  </a:lnTo>
                  <a:lnTo>
                    <a:pt x="573" y="2627"/>
                  </a:lnTo>
                  <a:lnTo>
                    <a:pt x="595" y="2650"/>
                  </a:lnTo>
                  <a:lnTo>
                    <a:pt x="616" y="2671"/>
                  </a:lnTo>
                  <a:lnTo>
                    <a:pt x="638" y="2692"/>
                  </a:lnTo>
                  <a:lnTo>
                    <a:pt x="660" y="2711"/>
                  </a:lnTo>
                  <a:lnTo>
                    <a:pt x="685" y="2730"/>
                  </a:lnTo>
                  <a:lnTo>
                    <a:pt x="710" y="2747"/>
                  </a:lnTo>
                  <a:lnTo>
                    <a:pt x="736" y="2764"/>
                  </a:lnTo>
                  <a:lnTo>
                    <a:pt x="762" y="2779"/>
                  </a:lnTo>
                  <a:lnTo>
                    <a:pt x="789" y="2793"/>
                  </a:lnTo>
                  <a:lnTo>
                    <a:pt x="816" y="2807"/>
                  </a:lnTo>
                  <a:lnTo>
                    <a:pt x="844" y="2819"/>
                  </a:lnTo>
                  <a:lnTo>
                    <a:pt x="872" y="2831"/>
                  </a:lnTo>
                  <a:lnTo>
                    <a:pt x="902" y="2843"/>
                  </a:lnTo>
                  <a:lnTo>
                    <a:pt x="930" y="2852"/>
                  </a:lnTo>
                  <a:lnTo>
                    <a:pt x="960" y="2862"/>
                  </a:lnTo>
                  <a:lnTo>
                    <a:pt x="990" y="2870"/>
                  </a:lnTo>
                  <a:lnTo>
                    <a:pt x="1020" y="2878"/>
                  </a:lnTo>
                  <a:lnTo>
                    <a:pt x="1049" y="2885"/>
                  </a:lnTo>
                  <a:lnTo>
                    <a:pt x="1080" y="2892"/>
                  </a:lnTo>
                  <a:lnTo>
                    <a:pt x="1109" y="2898"/>
                  </a:lnTo>
                  <a:lnTo>
                    <a:pt x="1140" y="2903"/>
                  </a:lnTo>
                  <a:lnTo>
                    <a:pt x="1169" y="2908"/>
                  </a:lnTo>
                  <a:lnTo>
                    <a:pt x="1228" y="2915"/>
                  </a:lnTo>
                  <a:lnTo>
                    <a:pt x="1286" y="2920"/>
                  </a:lnTo>
                  <a:lnTo>
                    <a:pt x="1321" y="2923"/>
                  </a:lnTo>
                  <a:lnTo>
                    <a:pt x="1356" y="2924"/>
                  </a:lnTo>
                  <a:lnTo>
                    <a:pt x="1393" y="2925"/>
                  </a:lnTo>
                  <a:lnTo>
                    <a:pt x="1429" y="2925"/>
                  </a:lnTo>
                  <a:lnTo>
                    <a:pt x="1462" y="2925"/>
                  </a:lnTo>
                  <a:lnTo>
                    <a:pt x="1496" y="2924"/>
                  </a:lnTo>
                  <a:lnTo>
                    <a:pt x="1529" y="2923"/>
                  </a:lnTo>
                  <a:lnTo>
                    <a:pt x="1563" y="2920"/>
                  </a:lnTo>
                  <a:lnTo>
                    <a:pt x="1598" y="2918"/>
                  </a:lnTo>
                  <a:lnTo>
                    <a:pt x="1632" y="2915"/>
                  </a:lnTo>
                  <a:lnTo>
                    <a:pt x="1666" y="2910"/>
                  </a:lnTo>
                  <a:lnTo>
                    <a:pt x="1700" y="2905"/>
                  </a:lnTo>
                  <a:lnTo>
                    <a:pt x="1734" y="2899"/>
                  </a:lnTo>
                  <a:lnTo>
                    <a:pt x="1767" y="2893"/>
                  </a:lnTo>
                  <a:lnTo>
                    <a:pt x="1801" y="2886"/>
                  </a:lnTo>
                  <a:lnTo>
                    <a:pt x="1835" y="2878"/>
                  </a:lnTo>
                  <a:lnTo>
                    <a:pt x="1868" y="2869"/>
                  </a:lnTo>
                  <a:lnTo>
                    <a:pt x="1901" y="2859"/>
                  </a:lnTo>
                  <a:lnTo>
                    <a:pt x="1933" y="2849"/>
                  </a:lnTo>
                  <a:lnTo>
                    <a:pt x="1966" y="2837"/>
                  </a:lnTo>
                  <a:lnTo>
                    <a:pt x="1998" y="2825"/>
                  </a:lnTo>
                  <a:lnTo>
                    <a:pt x="2028" y="2812"/>
                  </a:lnTo>
                  <a:lnTo>
                    <a:pt x="2059" y="2798"/>
                  </a:lnTo>
                  <a:lnTo>
                    <a:pt x="2090" y="2783"/>
                  </a:lnTo>
                  <a:lnTo>
                    <a:pt x="2119" y="2766"/>
                  </a:lnTo>
                  <a:lnTo>
                    <a:pt x="2147" y="2749"/>
                  </a:lnTo>
                  <a:lnTo>
                    <a:pt x="2176" y="2731"/>
                  </a:lnTo>
                  <a:lnTo>
                    <a:pt x="2204" y="2711"/>
                  </a:lnTo>
                  <a:lnTo>
                    <a:pt x="2230" y="2691"/>
                  </a:lnTo>
                  <a:lnTo>
                    <a:pt x="2256" y="2670"/>
                  </a:lnTo>
                  <a:lnTo>
                    <a:pt x="2280" y="2647"/>
                  </a:lnTo>
                  <a:lnTo>
                    <a:pt x="2304" y="2624"/>
                  </a:lnTo>
                  <a:lnTo>
                    <a:pt x="2327" y="2598"/>
                  </a:lnTo>
                  <a:lnTo>
                    <a:pt x="2349" y="2572"/>
                  </a:lnTo>
                  <a:lnTo>
                    <a:pt x="2370" y="2545"/>
                  </a:lnTo>
                  <a:lnTo>
                    <a:pt x="2389" y="2517"/>
                  </a:lnTo>
                  <a:lnTo>
                    <a:pt x="2402" y="2497"/>
                  </a:lnTo>
                  <a:lnTo>
                    <a:pt x="2412" y="2477"/>
                  </a:lnTo>
                  <a:lnTo>
                    <a:pt x="2423" y="2457"/>
                  </a:lnTo>
                  <a:lnTo>
                    <a:pt x="2432" y="2435"/>
                  </a:lnTo>
                  <a:lnTo>
                    <a:pt x="2442" y="2415"/>
                  </a:lnTo>
                  <a:lnTo>
                    <a:pt x="2449" y="2394"/>
                  </a:lnTo>
                  <a:lnTo>
                    <a:pt x="2456" y="2373"/>
                  </a:lnTo>
                  <a:lnTo>
                    <a:pt x="2463" y="2351"/>
                  </a:lnTo>
                  <a:lnTo>
                    <a:pt x="2468" y="2330"/>
                  </a:lnTo>
                  <a:lnTo>
                    <a:pt x="2472" y="2307"/>
                  </a:lnTo>
                  <a:lnTo>
                    <a:pt x="2476" y="2285"/>
                  </a:lnTo>
                  <a:lnTo>
                    <a:pt x="2479" y="2262"/>
                  </a:lnTo>
                  <a:lnTo>
                    <a:pt x="2482" y="2241"/>
                  </a:lnTo>
                  <a:lnTo>
                    <a:pt x="2483" y="2219"/>
                  </a:lnTo>
                  <a:lnTo>
                    <a:pt x="2484" y="2195"/>
                  </a:lnTo>
                  <a:lnTo>
                    <a:pt x="2484" y="2173"/>
                  </a:lnTo>
                  <a:lnTo>
                    <a:pt x="2484" y="2144"/>
                  </a:lnTo>
                  <a:lnTo>
                    <a:pt x="2483" y="2114"/>
                  </a:lnTo>
                  <a:lnTo>
                    <a:pt x="2479" y="2085"/>
                  </a:lnTo>
                  <a:lnTo>
                    <a:pt x="2476" y="2056"/>
                  </a:lnTo>
                  <a:lnTo>
                    <a:pt x="2472" y="2027"/>
                  </a:lnTo>
                  <a:lnTo>
                    <a:pt x="2466" y="1998"/>
                  </a:lnTo>
                  <a:lnTo>
                    <a:pt x="2460" y="1969"/>
                  </a:lnTo>
                  <a:lnTo>
                    <a:pt x="2453" y="1940"/>
                  </a:lnTo>
                  <a:lnTo>
                    <a:pt x="2445" y="1912"/>
                  </a:lnTo>
                  <a:lnTo>
                    <a:pt x="2437" y="1883"/>
                  </a:lnTo>
                  <a:lnTo>
                    <a:pt x="2429" y="1856"/>
                  </a:lnTo>
                  <a:lnTo>
                    <a:pt x="2418" y="1829"/>
                  </a:lnTo>
                  <a:lnTo>
                    <a:pt x="2409" y="1802"/>
                  </a:lnTo>
                  <a:lnTo>
                    <a:pt x="2397" y="1775"/>
                  </a:lnTo>
                  <a:lnTo>
                    <a:pt x="2386" y="1749"/>
                  </a:lnTo>
                  <a:lnTo>
                    <a:pt x="2375" y="1724"/>
                  </a:lnTo>
                  <a:lnTo>
                    <a:pt x="2355" y="1686"/>
                  </a:lnTo>
                  <a:lnTo>
                    <a:pt x="2333" y="1648"/>
                  </a:lnTo>
                  <a:lnTo>
                    <a:pt x="2310" y="1611"/>
                  </a:lnTo>
                  <a:lnTo>
                    <a:pt x="2284" y="1576"/>
                  </a:lnTo>
                  <a:lnTo>
                    <a:pt x="2270" y="1560"/>
                  </a:lnTo>
                  <a:lnTo>
                    <a:pt x="2256" y="1543"/>
                  </a:lnTo>
                  <a:lnTo>
                    <a:pt x="2242" y="1527"/>
                  </a:lnTo>
                  <a:lnTo>
                    <a:pt x="2226" y="1511"/>
                  </a:lnTo>
                  <a:lnTo>
                    <a:pt x="2211" y="1496"/>
                  </a:lnTo>
                  <a:lnTo>
                    <a:pt x="2196" y="1481"/>
                  </a:lnTo>
                  <a:lnTo>
                    <a:pt x="2179" y="1467"/>
                  </a:lnTo>
                  <a:lnTo>
                    <a:pt x="2163" y="1453"/>
                  </a:lnTo>
                  <a:lnTo>
                    <a:pt x="2127" y="1424"/>
                  </a:lnTo>
                  <a:lnTo>
                    <a:pt x="2096" y="1396"/>
                  </a:lnTo>
                  <a:lnTo>
                    <a:pt x="2066" y="1367"/>
                  </a:lnTo>
                  <a:lnTo>
                    <a:pt x="2039" y="1337"/>
                  </a:lnTo>
                  <a:lnTo>
                    <a:pt x="2015" y="1307"/>
                  </a:lnTo>
                  <a:lnTo>
                    <a:pt x="1993" y="1275"/>
                  </a:lnTo>
                  <a:lnTo>
                    <a:pt x="1972" y="1243"/>
                  </a:lnTo>
                  <a:lnTo>
                    <a:pt x="1954" y="1209"/>
                  </a:lnTo>
                  <a:lnTo>
                    <a:pt x="1935" y="1219"/>
                  </a:lnTo>
                  <a:lnTo>
                    <a:pt x="1951" y="1232"/>
                  </a:lnTo>
                  <a:lnTo>
                    <a:pt x="1960" y="1223"/>
                  </a:lnTo>
                  <a:lnTo>
                    <a:pt x="1968" y="1215"/>
                  </a:lnTo>
                  <a:lnTo>
                    <a:pt x="1978" y="1207"/>
                  </a:lnTo>
                  <a:lnTo>
                    <a:pt x="1987" y="1198"/>
                  </a:lnTo>
                  <a:lnTo>
                    <a:pt x="2007" y="1185"/>
                  </a:lnTo>
                  <a:lnTo>
                    <a:pt x="2030" y="1174"/>
                  </a:lnTo>
                  <a:lnTo>
                    <a:pt x="2047" y="1167"/>
                  </a:lnTo>
                  <a:lnTo>
                    <a:pt x="2065" y="1159"/>
                  </a:lnTo>
                  <a:lnTo>
                    <a:pt x="2084" y="1154"/>
                  </a:lnTo>
                  <a:lnTo>
                    <a:pt x="2103" y="1148"/>
                  </a:lnTo>
                  <a:lnTo>
                    <a:pt x="2143" y="1137"/>
                  </a:lnTo>
                  <a:lnTo>
                    <a:pt x="2185" y="1126"/>
                  </a:lnTo>
                  <a:lnTo>
                    <a:pt x="2206" y="1121"/>
                  </a:lnTo>
                  <a:lnTo>
                    <a:pt x="2227" y="1115"/>
                  </a:lnTo>
                  <a:lnTo>
                    <a:pt x="2249" y="1108"/>
                  </a:lnTo>
                  <a:lnTo>
                    <a:pt x="2269" y="1101"/>
                  </a:lnTo>
                  <a:lnTo>
                    <a:pt x="2290" y="1091"/>
                  </a:lnTo>
                  <a:lnTo>
                    <a:pt x="2311" y="1082"/>
                  </a:lnTo>
                  <a:lnTo>
                    <a:pt x="2331" y="1071"/>
                  </a:lnTo>
                  <a:lnTo>
                    <a:pt x="2351" y="1058"/>
                  </a:lnTo>
                  <a:lnTo>
                    <a:pt x="2351" y="1058"/>
                  </a:lnTo>
                  <a:lnTo>
                    <a:pt x="2362" y="1050"/>
                  </a:lnTo>
                  <a:lnTo>
                    <a:pt x="2372" y="1043"/>
                  </a:lnTo>
                  <a:lnTo>
                    <a:pt x="2382" y="1033"/>
                  </a:lnTo>
                  <a:lnTo>
                    <a:pt x="2391" y="1025"/>
                  </a:lnTo>
                  <a:lnTo>
                    <a:pt x="2408" y="1006"/>
                  </a:lnTo>
                  <a:lnTo>
                    <a:pt x="2422" y="988"/>
                  </a:lnTo>
                  <a:lnTo>
                    <a:pt x="2435" y="966"/>
                  </a:lnTo>
                  <a:lnTo>
                    <a:pt x="2446" y="945"/>
                  </a:lnTo>
                  <a:lnTo>
                    <a:pt x="2456" y="923"/>
                  </a:lnTo>
                  <a:lnTo>
                    <a:pt x="2464" y="900"/>
                  </a:lnTo>
                  <a:lnTo>
                    <a:pt x="2471" y="878"/>
                  </a:lnTo>
                  <a:lnTo>
                    <a:pt x="2477" y="855"/>
                  </a:lnTo>
                  <a:lnTo>
                    <a:pt x="2481" y="830"/>
                  </a:lnTo>
                  <a:lnTo>
                    <a:pt x="2484" y="806"/>
                  </a:lnTo>
                  <a:lnTo>
                    <a:pt x="2486" y="783"/>
                  </a:lnTo>
                  <a:lnTo>
                    <a:pt x="2489" y="758"/>
                  </a:lnTo>
                  <a:lnTo>
                    <a:pt x="2489" y="734"/>
                  </a:lnTo>
                  <a:lnTo>
                    <a:pt x="2490" y="710"/>
                  </a:lnTo>
                  <a:lnTo>
                    <a:pt x="2489" y="697"/>
                  </a:lnTo>
                  <a:lnTo>
                    <a:pt x="2489" y="684"/>
                  </a:lnTo>
                  <a:lnTo>
                    <a:pt x="2489" y="672"/>
                  </a:lnTo>
                  <a:lnTo>
                    <a:pt x="2489" y="659"/>
                  </a:lnTo>
                  <a:lnTo>
                    <a:pt x="2468" y="660"/>
                  </a:lnTo>
                  <a:lnTo>
                    <a:pt x="2477" y="679"/>
                  </a:lnTo>
                  <a:lnTo>
                    <a:pt x="2485" y="673"/>
                  </a:lnTo>
                  <a:lnTo>
                    <a:pt x="2495" y="669"/>
                  </a:lnTo>
                  <a:lnTo>
                    <a:pt x="2503" y="663"/>
                  </a:lnTo>
                  <a:lnTo>
                    <a:pt x="2511" y="656"/>
                  </a:lnTo>
                  <a:lnTo>
                    <a:pt x="2518" y="649"/>
                  </a:lnTo>
                  <a:lnTo>
                    <a:pt x="2525" y="641"/>
                  </a:lnTo>
                  <a:lnTo>
                    <a:pt x="2531" y="633"/>
                  </a:lnTo>
                  <a:lnTo>
                    <a:pt x="2537" y="625"/>
                  </a:lnTo>
                  <a:lnTo>
                    <a:pt x="2542" y="616"/>
                  </a:lnTo>
                  <a:lnTo>
                    <a:pt x="2546" y="607"/>
                  </a:lnTo>
                  <a:lnTo>
                    <a:pt x="2550" y="598"/>
                  </a:lnTo>
                  <a:lnTo>
                    <a:pt x="2553" y="587"/>
                  </a:lnTo>
                  <a:lnTo>
                    <a:pt x="2556" y="578"/>
                  </a:lnTo>
                  <a:lnTo>
                    <a:pt x="2558" y="567"/>
                  </a:lnTo>
                  <a:lnTo>
                    <a:pt x="2559" y="557"/>
                  </a:lnTo>
                  <a:lnTo>
                    <a:pt x="2559" y="546"/>
                  </a:lnTo>
                  <a:lnTo>
                    <a:pt x="2559" y="537"/>
                  </a:lnTo>
                  <a:lnTo>
                    <a:pt x="2558" y="528"/>
                  </a:lnTo>
                  <a:lnTo>
                    <a:pt x="2556" y="514"/>
                  </a:lnTo>
                  <a:lnTo>
                    <a:pt x="2552" y="501"/>
                  </a:lnTo>
                  <a:lnTo>
                    <a:pt x="2548" y="488"/>
                  </a:lnTo>
                  <a:lnTo>
                    <a:pt x="2542" y="476"/>
                  </a:lnTo>
                  <a:lnTo>
                    <a:pt x="2535" y="465"/>
                  </a:lnTo>
                  <a:lnTo>
                    <a:pt x="2528" y="453"/>
                  </a:lnTo>
                  <a:lnTo>
                    <a:pt x="2518" y="444"/>
                  </a:lnTo>
                  <a:lnTo>
                    <a:pt x="2509" y="434"/>
                  </a:lnTo>
                  <a:lnTo>
                    <a:pt x="2499" y="426"/>
                  </a:lnTo>
                  <a:lnTo>
                    <a:pt x="2488" y="419"/>
                  </a:lnTo>
                  <a:lnTo>
                    <a:pt x="2476" y="413"/>
                  </a:lnTo>
                  <a:lnTo>
                    <a:pt x="2464" y="407"/>
                  </a:lnTo>
                  <a:lnTo>
                    <a:pt x="2451" y="404"/>
                  </a:lnTo>
                  <a:lnTo>
                    <a:pt x="2438" y="400"/>
                  </a:lnTo>
                  <a:lnTo>
                    <a:pt x="2425" y="398"/>
                  </a:lnTo>
                  <a:lnTo>
                    <a:pt x="2411" y="398"/>
                  </a:lnTo>
                  <a:lnTo>
                    <a:pt x="2403" y="398"/>
                  </a:lnTo>
                  <a:lnTo>
                    <a:pt x="2393" y="399"/>
                  </a:lnTo>
                  <a:lnTo>
                    <a:pt x="2393" y="399"/>
                  </a:lnTo>
                  <a:lnTo>
                    <a:pt x="2396" y="419"/>
                  </a:lnTo>
                  <a:lnTo>
                    <a:pt x="2398" y="440"/>
                  </a:lnTo>
                  <a:lnTo>
                    <a:pt x="2405" y="440"/>
                  </a:lnTo>
                  <a:lnTo>
                    <a:pt x="2411" y="440"/>
                  </a:lnTo>
                  <a:lnTo>
                    <a:pt x="2422" y="440"/>
                  </a:lnTo>
                  <a:lnTo>
                    <a:pt x="2431" y="441"/>
                  </a:lnTo>
                  <a:lnTo>
                    <a:pt x="2440" y="444"/>
                  </a:lnTo>
                  <a:lnTo>
                    <a:pt x="2449" y="446"/>
                  </a:lnTo>
                  <a:lnTo>
                    <a:pt x="2458" y="451"/>
                  </a:lnTo>
                  <a:lnTo>
                    <a:pt x="2466" y="455"/>
                  </a:lnTo>
                  <a:lnTo>
                    <a:pt x="2475" y="460"/>
                  </a:lnTo>
                  <a:lnTo>
                    <a:pt x="2482" y="466"/>
                  </a:lnTo>
                  <a:lnTo>
                    <a:pt x="2489" y="473"/>
                  </a:lnTo>
                  <a:lnTo>
                    <a:pt x="2495" y="480"/>
                  </a:lnTo>
                  <a:lnTo>
                    <a:pt x="2501" y="487"/>
                  </a:lnTo>
                  <a:lnTo>
                    <a:pt x="2505" y="496"/>
                  </a:lnTo>
                  <a:lnTo>
                    <a:pt x="2509" y="505"/>
                  </a:lnTo>
                  <a:lnTo>
                    <a:pt x="2512" y="513"/>
                  </a:lnTo>
                  <a:lnTo>
                    <a:pt x="2515" y="524"/>
                  </a:lnTo>
                  <a:lnTo>
                    <a:pt x="2517" y="533"/>
                  </a:lnTo>
                  <a:lnTo>
                    <a:pt x="2517" y="540"/>
                  </a:lnTo>
                  <a:lnTo>
                    <a:pt x="2518" y="546"/>
                  </a:lnTo>
                  <a:lnTo>
                    <a:pt x="2517" y="561"/>
                  </a:lnTo>
                  <a:lnTo>
                    <a:pt x="2513" y="576"/>
                  </a:lnTo>
                  <a:lnTo>
                    <a:pt x="2509" y="590"/>
                  </a:lnTo>
                  <a:lnTo>
                    <a:pt x="2502" y="603"/>
                  </a:lnTo>
                  <a:lnTo>
                    <a:pt x="2492" y="614"/>
                  </a:lnTo>
                  <a:lnTo>
                    <a:pt x="2483" y="625"/>
                  </a:lnTo>
                  <a:lnTo>
                    <a:pt x="2471" y="633"/>
                  </a:lnTo>
                  <a:lnTo>
                    <a:pt x="2458" y="641"/>
                  </a:lnTo>
                  <a:lnTo>
                    <a:pt x="2446" y="647"/>
                  </a:lnTo>
                  <a:lnTo>
                    <a:pt x="2446" y="660"/>
                  </a:lnTo>
                  <a:lnTo>
                    <a:pt x="2446" y="673"/>
                  </a:lnTo>
                  <a:lnTo>
                    <a:pt x="2448" y="685"/>
                  </a:lnTo>
                  <a:lnTo>
                    <a:pt x="2448" y="698"/>
                  </a:lnTo>
                  <a:lnTo>
                    <a:pt x="2448" y="710"/>
                  </a:lnTo>
                  <a:lnTo>
                    <a:pt x="2448" y="733"/>
                  </a:lnTo>
                  <a:lnTo>
                    <a:pt x="2446" y="756"/>
                  </a:lnTo>
                  <a:lnTo>
                    <a:pt x="2445" y="779"/>
                  </a:lnTo>
                  <a:lnTo>
                    <a:pt x="2443" y="802"/>
                  </a:lnTo>
                  <a:lnTo>
                    <a:pt x="2439" y="824"/>
                  </a:lnTo>
                  <a:lnTo>
                    <a:pt x="2436" y="845"/>
                  </a:lnTo>
                  <a:lnTo>
                    <a:pt x="2430" y="868"/>
                  </a:lnTo>
                  <a:lnTo>
                    <a:pt x="2424" y="888"/>
                  </a:lnTo>
                  <a:lnTo>
                    <a:pt x="2417" y="908"/>
                  </a:lnTo>
                  <a:lnTo>
                    <a:pt x="2409" y="928"/>
                  </a:lnTo>
                  <a:lnTo>
                    <a:pt x="2399" y="945"/>
                  </a:lnTo>
                  <a:lnTo>
                    <a:pt x="2388" y="963"/>
                  </a:lnTo>
                  <a:lnTo>
                    <a:pt x="2375" y="979"/>
                  </a:lnTo>
                  <a:lnTo>
                    <a:pt x="2360" y="996"/>
                  </a:lnTo>
                  <a:lnTo>
                    <a:pt x="2345" y="1010"/>
                  </a:lnTo>
                  <a:lnTo>
                    <a:pt x="2327" y="1024"/>
                  </a:lnTo>
                  <a:lnTo>
                    <a:pt x="2327" y="1024"/>
                  </a:lnTo>
                  <a:lnTo>
                    <a:pt x="2316" y="1031"/>
                  </a:lnTo>
                  <a:lnTo>
                    <a:pt x="2304" y="1038"/>
                  </a:lnTo>
                  <a:lnTo>
                    <a:pt x="2292" y="1044"/>
                  </a:lnTo>
                  <a:lnTo>
                    <a:pt x="2279" y="1050"/>
                  </a:lnTo>
                  <a:lnTo>
                    <a:pt x="2254" y="1061"/>
                  </a:lnTo>
                  <a:lnTo>
                    <a:pt x="2227" y="1070"/>
                  </a:lnTo>
                  <a:lnTo>
                    <a:pt x="2202" y="1078"/>
                  </a:lnTo>
                  <a:lnTo>
                    <a:pt x="2174" y="1085"/>
                  </a:lnTo>
                  <a:lnTo>
                    <a:pt x="2146" y="1092"/>
                  </a:lnTo>
                  <a:lnTo>
                    <a:pt x="2119" y="1099"/>
                  </a:lnTo>
                  <a:lnTo>
                    <a:pt x="2092" y="1108"/>
                  </a:lnTo>
                  <a:lnTo>
                    <a:pt x="2065" y="1116"/>
                  </a:lnTo>
                  <a:lnTo>
                    <a:pt x="2038" y="1125"/>
                  </a:lnTo>
                  <a:lnTo>
                    <a:pt x="2012" y="1136"/>
                  </a:lnTo>
                  <a:lnTo>
                    <a:pt x="1999" y="1143"/>
                  </a:lnTo>
                  <a:lnTo>
                    <a:pt x="1986" y="1149"/>
                  </a:lnTo>
                  <a:lnTo>
                    <a:pt x="1974" y="1157"/>
                  </a:lnTo>
                  <a:lnTo>
                    <a:pt x="1963" y="1165"/>
                  </a:lnTo>
                  <a:lnTo>
                    <a:pt x="1951" y="1174"/>
                  </a:lnTo>
                  <a:lnTo>
                    <a:pt x="1940" y="1183"/>
                  </a:lnTo>
                  <a:lnTo>
                    <a:pt x="1930" y="1194"/>
                  </a:lnTo>
                  <a:lnTo>
                    <a:pt x="1919" y="1205"/>
                  </a:lnTo>
                  <a:lnTo>
                    <a:pt x="1910" y="1216"/>
                  </a:lnTo>
                  <a:lnTo>
                    <a:pt x="1917" y="1229"/>
                  </a:lnTo>
                  <a:lnTo>
                    <a:pt x="1937" y="1264"/>
                  </a:lnTo>
                  <a:lnTo>
                    <a:pt x="1958" y="1298"/>
                  </a:lnTo>
                  <a:lnTo>
                    <a:pt x="1981" y="1331"/>
                  </a:lnTo>
                  <a:lnTo>
                    <a:pt x="2007" y="1364"/>
                  </a:lnTo>
                  <a:lnTo>
                    <a:pt x="2036" y="1396"/>
                  </a:lnTo>
                  <a:lnTo>
                    <a:pt x="2066" y="1427"/>
                  </a:lnTo>
                  <a:lnTo>
                    <a:pt x="2100" y="1456"/>
                  </a:lnTo>
                  <a:lnTo>
                    <a:pt x="2137" y="1487"/>
                  </a:lnTo>
                  <a:lnTo>
                    <a:pt x="2152" y="1498"/>
                  </a:lnTo>
                  <a:lnTo>
                    <a:pt x="2167" y="1513"/>
                  </a:lnTo>
                  <a:lnTo>
                    <a:pt x="2183" y="1526"/>
                  </a:lnTo>
                  <a:lnTo>
                    <a:pt x="2197" y="1540"/>
                  </a:lnTo>
                  <a:lnTo>
                    <a:pt x="2211" y="1555"/>
                  </a:lnTo>
                  <a:lnTo>
                    <a:pt x="2224" y="1570"/>
                  </a:lnTo>
                  <a:lnTo>
                    <a:pt x="2238" y="1587"/>
                  </a:lnTo>
                  <a:lnTo>
                    <a:pt x="2251" y="1602"/>
                  </a:lnTo>
                  <a:lnTo>
                    <a:pt x="2274" y="1636"/>
                  </a:lnTo>
                  <a:lnTo>
                    <a:pt x="2297" y="1670"/>
                  </a:lnTo>
                  <a:lnTo>
                    <a:pt x="2318" y="1706"/>
                  </a:lnTo>
                  <a:lnTo>
                    <a:pt x="2336" y="1742"/>
                  </a:lnTo>
                  <a:lnTo>
                    <a:pt x="2347" y="1767"/>
                  </a:lnTo>
                  <a:lnTo>
                    <a:pt x="2358" y="1792"/>
                  </a:lnTo>
                  <a:lnTo>
                    <a:pt x="2369" y="1817"/>
                  </a:lnTo>
                  <a:lnTo>
                    <a:pt x="2379" y="1843"/>
                  </a:lnTo>
                  <a:lnTo>
                    <a:pt x="2389" y="1869"/>
                  </a:lnTo>
                  <a:lnTo>
                    <a:pt x="2397" y="1896"/>
                  </a:lnTo>
                  <a:lnTo>
                    <a:pt x="2405" y="1923"/>
                  </a:lnTo>
                  <a:lnTo>
                    <a:pt x="2412" y="1951"/>
                  </a:lnTo>
                  <a:lnTo>
                    <a:pt x="2419" y="1979"/>
                  </a:lnTo>
                  <a:lnTo>
                    <a:pt x="2425" y="2006"/>
                  </a:lnTo>
                  <a:lnTo>
                    <a:pt x="2430" y="2034"/>
                  </a:lnTo>
                  <a:lnTo>
                    <a:pt x="2435" y="2061"/>
                  </a:lnTo>
                  <a:lnTo>
                    <a:pt x="2438" y="2089"/>
                  </a:lnTo>
                  <a:lnTo>
                    <a:pt x="2440" y="2118"/>
                  </a:lnTo>
                  <a:lnTo>
                    <a:pt x="2442" y="2146"/>
                  </a:lnTo>
                  <a:lnTo>
                    <a:pt x="2443" y="2173"/>
                  </a:lnTo>
                  <a:lnTo>
                    <a:pt x="2442" y="2194"/>
                  </a:lnTo>
                  <a:lnTo>
                    <a:pt x="2442" y="2215"/>
                  </a:lnTo>
                  <a:lnTo>
                    <a:pt x="2439" y="2237"/>
                  </a:lnTo>
                  <a:lnTo>
                    <a:pt x="2437" y="2258"/>
                  </a:lnTo>
                  <a:lnTo>
                    <a:pt x="2435" y="2279"/>
                  </a:lnTo>
                  <a:lnTo>
                    <a:pt x="2431" y="2299"/>
                  </a:lnTo>
                  <a:lnTo>
                    <a:pt x="2426" y="2320"/>
                  </a:lnTo>
                  <a:lnTo>
                    <a:pt x="2422" y="2340"/>
                  </a:lnTo>
                  <a:lnTo>
                    <a:pt x="2416" y="2360"/>
                  </a:lnTo>
                  <a:lnTo>
                    <a:pt x="2410" y="2380"/>
                  </a:lnTo>
                  <a:lnTo>
                    <a:pt x="2403" y="2400"/>
                  </a:lnTo>
                  <a:lnTo>
                    <a:pt x="2395" y="2419"/>
                  </a:lnTo>
                  <a:lnTo>
                    <a:pt x="2385" y="2438"/>
                  </a:lnTo>
                  <a:lnTo>
                    <a:pt x="2376" y="2457"/>
                  </a:lnTo>
                  <a:lnTo>
                    <a:pt x="2365" y="2476"/>
                  </a:lnTo>
                  <a:lnTo>
                    <a:pt x="2355" y="2494"/>
                  </a:lnTo>
                  <a:lnTo>
                    <a:pt x="2336" y="2520"/>
                  </a:lnTo>
                  <a:lnTo>
                    <a:pt x="2316" y="2546"/>
                  </a:lnTo>
                  <a:lnTo>
                    <a:pt x="2296" y="2571"/>
                  </a:lnTo>
                  <a:lnTo>
                    <a:pt x="2274" y="2594"/>
                  </a:lnTo>
                  <a:lnTo>
                    <a:pt x="2252" y="2617"/>
                  </a:lnTo>
                  <a:lnTo>
                    <a:pt x="2229" y="2638"/>
                  </a:lnTo>
                  <a:lnTo>
                    <a:pt x="2204" y="2658"/>
                  </a:lnTo>
                  <a:lnTo>
                    <a:pt x="2179" y="2678"/>
                  </a:lnTo>
                  <a:lnTo>
                    <a:pt x="2152" y="2696"/>
                  </a:lnTo>
                  <a:lnTo>
                    <a:pt x="2126" y="2713"/>
                  </a:lnTo>
                  <a:lnTo>
                    <a:pt x="2098" y="2730"/>
                  </a:lnTo>
                  <a:lnTo>
                    <a:pt x="2070" y="2745"/>
                  </a:lnTo>
                  <a:lnTo>
                    <a:pt x="2041" y="2759"/>
                  </a:lnTo>
                  <a:lnTo>
                    <a:pt x="2012" y="2773"/>
                  </a:lnTo>
                  <a:lnTo>
                    <a:pt x="1981" y="2786"/>
                  </a:lnTo>
                  <a:lnTo>
                    <a:pt x="1951" y="2798"/>
                  </a:lnTo>
                  <a:lnTo>
                    <a:pt x="1920" y="2809"/>
                  </a:lnTo>
                  <a:lnTo>
                    <a:pt x="1888" y="2819"/>
                  </a:lnTo>
                  <a:lnTo>
                    <a:pt x="1857" y="2829"/>
                  </a:lnTo>
                  <a:lnTo>
                    <a:pt x="1825" y="2837"/>
                  </a:lnTo>
                  <a:lnTo>
                    <a:pt x="1792" y="2845"/>
                  </a:lnTo>
                  <a:lnTo>
                    <a:pt x="1759" y="2852"/>
                  </a:lnTo>
                  <a:lnTo>
                    <a:pt x="1726" y="2858"/>
                  </a:lnTo>
                  <a:lnTo>
                    <a:pt x="1693" y="2864"/>
                  </a:lnTo>
                  <a:lnTo>
                    <a:pt x="1660" y="2869"/>
                  </a:lnTo>
                  <a:lnTo>
                    <a:pt x="1627" y="2872"/>
                  </a:lnTo>
                  <a:lnTo>
                    <a:pt x="1594" y="2876"/>
                  </a:lnTo>
                  <a:lnTo>
                    <a:pt x="1561" y="2879"/>
                  </a:lnTo>
                  <a:lnTo>
                    <a:pt x="1527" y="2882"/>
                  </a:lnTo>
                  <a:lnTo>
                    <a:pt x="1494" y="2883"/>
                  </a:lnTo>
                  <a:lnTo>
                    <a:pt x="1462" y="2884"/>
                  </a:lnTo>
                  <a:lnTo>
                    <a:pt x="1429" y="2884"/>
                  </a:lnTo>
                  <a:lnTo>
                    <a:pt x="1393" y="2883"/>
                  </a:lnTo>
                  <a:lnTo>
                    <a:pt x="1357" y="2883"/>
                  </a:lnTo>
                  <a:lnTo>
                    <a:pt x="1323" y="2880"/>
                  </a:lnTo>
                  <a:lnTo>
                    <a:pt x="1289" y="2878"/>
                  </a:lnTo>
                  <a:lnTo>
                    <a:pt x="1233" y="2873"/>
                  </a:lnTo>
                  <a:lnTo>
                    <a:pt x="1175" y="2866"/>
                  </a:lnTo>
                  <a:lnTo>
                    <a:pt x="1146" y="2862"/>
                  </a:lnTo>
                  <a:lnTo>
                    <a:pt x="1117" y="2857"/>
                  </a:lnTo>
                  <a:lnTo>
                    <a:pt x="1088" y="2851"/>
                  </a:lnTo>
                  <a:lnTo>
                    <a:pt x="1058" y="2844"/>
                  </a:lnTo>
                  <a:lnTo>
                    <a:pt x="1030" y="2838"/>
                  </a:lnTo>
                  <a:lnTo>
                    <a:pt x="1001" y="2830"/>
                  </a:lnTo>
                  <a:lnTo>
                    <a:pt x="972" y="2822"/>
                  </a:lnTo>
                  <a:lnTo>
                    <a:pt x="944" y="2812"/>
                  </a:lnTo>
                  <a:lnTo>
                    <a:pt x="916" y="2803"/>
                  </a:lnTo>
                  <a:lnTo>
                    <a:pt x="888" y="2792"/>
                  </a:lnTo>
                  <a:lnTo>
                    <a:pt x="861" y="2782"/>
                  </a:lnTo>
                  <a:lnTo>
                    <a:pt x="834" y="2769"/>
                  </a:lnTo>
                  <a:lnTo>
                    <a:pt x="808" y="2756"/>
                  </a:lnTo>
                  <a:lnTo>
                    <a:pt x="782" y="2743"/>
                  </a:lnTo>
                  <a:lnTo>
                    <a:pt x="757" y="2727"/>
                  </a:lnTo>
                  <a:lnTo>
                    <a:pt x="733" y="2712"/>
                  </a:lnTo>
                  <a:lnTo>
                    <a:pt x="710" y="2696"/>
                  </a:lnTo>
                  <a:lnTo>
                    <a:pt x="688" y="2679"/>
                  </a:lnTo>
                  <a:lnTo>
                    <a:pt x="665" y="2660"/>
                  </a:lnTo>
                  <a:lnTo>
                    <a:pt x="644" y="2642"/>
                  </a:lnTo>
                  <a:lnTo>
                    <a:pt x="625" y="2621"/>
                  </a:lnTo>
                  <a:lnTo>
                    <a:pt x="606" y="2600"/>
                  </a:lnTo>
                  <a:lnTo>
                    <a:pt x="589" y="2578"/>
                  </a:lnTo>
                  <a:lnTo>
                    <a:pt x="572" y="2554"/>
                  </a:lnTo>
                  <a:lnTo>
                    <a:pt x="557" y="2531"/>
                  </a:lnTo>
                  <a:lnTo>
                    <a:pt x="543" y="2505"/>
                  </a:lnTo>
                  <a:lnTo>
                    <a:pt x="530" y="2479"/>
                  </a:lnTo>
                  <a:lnTo>
                    <a:pt x="519" y="2451"/>
                  </a:lnTo>
                  <a:lnTo>
                    <a:pt x="511" y="2427"/>
                  </a:lnTo>
                  <a:lnTo>
                    <a:pt x="504" y="2404"/>
                  </a:lnTo>
                  <a:lnTo>
                    <a:pt x="497" y="2381"/>
                  </a:lnTo>
                  <a:lnTo>
                    <a:pt x="492" y="2358"/>
                  </a:lnTo>
                  <a:lnTo>
                    <a:pt x="489" y="2334"/>
                  </a:lnTo>
                  <a:lnTo>
                    <a:pt x="486" y="2312"/>
                  </a:lnTo>
                  <a:lnTo>
                    <a:pt x="485" y="2288"/>
                  </a:lnTo>
                  <a:lnTo>
                    <a:pt x="484" y="2266"/>
                  </a:lnTo>
                  <a:lnTo>
                    <a:pt x="485" y="2237"/>
                  </a:lnTo>
                  <a:lnTo>
                    <a:pt x="487" y="2207"/>
                  </a:lnTo>
                  <a:lnTo>
                    <a:pt x="492" y="2179"/>
                  </a:lnTo>
                  <a:lnTo>
                    <a:pt x="498" y="2151"/>
                  </a:lnTo>
                  <a:lnTo>
                    <a:pt x="506" y="2122"/>
                  </a:lnTo>
                  <a:lnTo>
                    <a:pt x="516" y="2095"/>
                  </a:lnTo>
                  <a:lnTo>
                    <a:pt x="526" y="2068"/>
                  </a:lnTo>
                  <a:lnTo>
                    <a:pt x="539" y="2042"/>
                  </a:lnTo>
                  <a:lnTo>
                    <a:pt x="553" y="2016"/>
                  </a:lnTo>
                  <a:lnTo>
                    <a:pt x="569" y="1991"/>
                  </a:lnTo>
                  <a:lnTo>
                    <a:pt x="586" y="1967"/>
                  </a:lnTo>
                  <a:lnTo>
                    <a:pt x="605" y="1943"/>
                  </a:lnTo>
                  <a:lnTo>
                    <a:pt x="625" y="1920"/>
                  </a:lnTo>
                  <a:lnTo>
                    <a:pt x="648" y="1899"/>
                  </a:lnTo>
                  <a:lnTo>
                    <a:pt x="671" y="1878"/>
                  </a:lnTo>
                  <a:lnTo>
                    <a:pt x="696" y="1856"/>
                  </a:lnTo>
                  <a:lnTo>
                    <a:pt x="697" y="1855"/>
                  </a:lnTo>
                  <a:lnTo>
                    <a:pt x="699" y="1853"/>
                  </a:lnTo>
                  <a:lnTo>
                    <a:pt x="683" y="1840"/>
                  </a:lnTo>
                  <a:lnTo>
                    <a:pt x="698" y="1854"/>
                  </a:lnTo>
                  <a:lnTo>
                    <a:pt x="706" y="1846"/>
                  </a:lnTo>
                  <a:lnTo>
                    <a:pt x="713" y="1837"/>
                  </a:lnTo>
                  <a:lnTo>
                    <a:pt x="739" y="1805"/>
                  </a:lnTo>
                  <a:lnTo>
                    <a:pt x="765" y="1770"/>
                  </a:lnTo>
                  <a:lnTo>
                    <a:pt x="789" y="1734"/>
                  </a:lnTo>
                  <a:lnTo>
                    <a:pt x="812" y="1696"/>
                  </a:lnTo>
                  <a:lnTo>
                    <a:pt x="823" y="1676"/>
                  </a:lnTo>
                  <a:lnTo>
                    <a:pt x="834" y="1657"/>
                  </a:lnTo>
                  <a:lnTo>
                    <a:pt x="843" y="1636"/>
                  </a:lnTo>
                  <a:lnTo>
                    <a:pt x="852" y="1616"/>
                  </a:lnTo>
                  <a:lnTo>
                    <a:pt x="861" y="1596"/>
                  </a:lnTo>
                  <a:lnTo>
                    <a:pt x="868" y="1575"/>
                  </a:lnTo>
                  <a:lnTo>
                    <a:pt x="875" y="1554"/>
                  </a:lnTo>
                  <a:lnTo>
                    <a:pt x="881" y="1533"/>
                  </a:lnTo>
                  <a:lnTo>
                    <a:pt x="888" y="1506"/>
                  </a:lnTo>
                  <a:lnTo>
                    <a:pt x="861" y="1506"/>
                  </a:lnTo>
                  <a:lnTo>
                    <a:pt x="857" y="1506"/>
                  </a:lnTo>
                  <a:lnTo>
                    <a:pt x="854" y="1507"/>
                  </a:lnTo>
                  <a:lnTo>
                    <a:pt x="832" y="1506"/>
                  </a:lnTo>
                  <a:lnTo>
                    <a:pt x="811" y="1503"/>
                  </a:lnTo>
                  <a:lnTo>
                    <a:pt x="790" y="1498"/>
                  </a:lnTo>
                  <a:lnTo>
                    <a:pt x="770" y="1493"/>
                  </a:lnTo>
                  <a:lnTo>
                    <a:pt x="750" y="1483"/>
                  </a:lnTo>
                  <a:lnTo>
                    <a:pt x="730" y="1473"/>
                  </a:lnTo>
                  <a:lnTo>
                    <a:pt x="711" y="1461"/>
                  </a:lnTo>
                  <a:lnTo>
                    <a:pt x="692" y="1444"/>
                  </a:lnTo>
                  <a:lnTo>
                    <a:pt x="665" y="1421"/>
                  </a:lnTo>
                  <a:lnTo>
                    <a:pt x="639" y="1397"/>
                  </a:lnTo>
                  <a:lnTo>
                    <a:pt x="615" y="1374"/>
                  </a:lnTo>
                  <a:lnTo>
                    <a:pt x="590" y="1350"/>
                  </a:lnTo>
                  <a:lnTo>
                    <a:pt x="565" y="1327"/>
                  </a:lnTo>
                  <a:lnTo>
                    <a:pt x="542" y="1304"/>
                  </a:lnTo>
                  <a:lnTo>
                    <a:pt x="517" y="1283"/>
                  </a:lnTo>
                  <a:lnTo>
                    <a:pt x="492" y="1262"/>
                  </a:lnTo>
                  <a:lnTo>
                    <a:pt x="466" y="1242"/>
                  </a:lnTo>
                  <a:lnTo>
                    <a:pt x="440" y="1223"/>
                  </a:lnTo>
                  <a:lnTo>
                    <a:pt x="412" y="1205"/>
                  </a:lnTo>
                  <a:lnTo>
                    <a:pt x="384" y="1189"/>
                  </a:lnTo>
                  <a:lnTo>
                    <a:pt x="353" y="1175"/>
                  </a:lnTo>
                  <a:lnTo>
                    <a:pt x="321" y="1162"/>
                  </a:lnTo>
                  <a:lnTo>
                    <a:pt x="305" y="1156"/>
                  </a:lnTo>
                  <a:lnTo>
                    <a:pt x="288" y="1151"/>
                  </a:lnTo>
                  <a:lnTo>
                    <a:pt x="271" y="1146"/>
                  </a:lnTo>
                  <a:lnTo>
                    <a:pt x="253" y="1143"/>
                  </a:lnTo>
                  <a:lnTo>
                    <a:pt x="240" y="1139"/>
                  </a:lnTo>
                  <a:lnTo>
                    <a:pt x="232" y="1150"/>
                  </a:lnTo>
                  <a:lnTo>
                    <a:pt x="225" y="1157"/>
                  </a:lnTo>
                  <a:lnTo>
                    <a:pt x="218" y="1164"/>
                  </a:lnTo>
                  <a:lnTo>
                    <a:pt x="210" y="1171"/>
                  </a:lnTo>
                  <a:lnTo>
                    <a:pt x="201" y="1176"/>
                  </a:lnTo>
                  <a:lnTo>
                    <a:pt x="192" y="1181"/>
                  </a:lnTo>
                  <a:lnTo>
                    <a:pt x="183" y="1184"/>
                  </a:lnTo>
                  <a:lnTo>
                    <a:pt x="172" y="1188"/>
                  </a:lnTo>
                  <a:lnTo>
                    <a:pt x="163" y="1189"/>
                  </a:lnTo>
                  <a:lnTo>
                    <a:pt x="155" y="1190"/>
                  </a:lnTo>
                  <a:lnTo>
                    <a:pt x="148" y="1190"/>
                  </a:lnTo>
                  <a:lnTo>
                    <a:pt x="139" y="1190"/>
                  </a:lnTo>
                  <a:lnTo>
                    <a:pt x="130" y="1188"/>
                  </a:lnTo>
                  <a:lnTo>
                    <a:pt x="120" y="1187"/>
                  </a:lnTo>
                  <a:lnTo>
                    <a:pt x="111" y="1183"/>
                  </a:lnTo>
                  <a:lnTo>
                    <a:pt x="102" y="1179"/>
                  </a:lnTo>
                  <a:lnTo>
                    <a:pt x="94" y="1175"/>
                  </a:lnTo>
                  <a:lnTo>
                    <a:pt x="86" y="1169"/>
                  </a:lnTo>
                  <a:lnTo>
                    <a:pt x="79" y="1163"/>
                  </a:lnTo>
                  <a:lnTo>
                    <a:pt x="72" y="1157"/>
                  </a:lnTo>
                  <a:lnTo>
                    <a:pt x="66" y="1150"/>
                  </a:lnTo>
                  <a:lnTo>
                    <a:pt x="60" y="1142"/>
                  </a:lnTo>
                  <a:lnTo>
                    <a:pt x="55" y="1134"/>
                  </a:lnTo>
                  <a:lnTo>
                    <a:pt x="51" y="1125"/>
                  </a:lnTo>
                  <a:lnTo>
                    <a:pt x="47" y="1116"/>
                  </a:lnTo>
                  <a:lnTo>
                    <a:pt x="45" y="1106"/>
                  </a:lnTo>
                  <a:lnTo>
                    <a:pt x="44" y="1097"/>
                  </a:lnTo>
                  <a:lnTo>
                    <a:pt x="42" y="1090"/>
                  </a:lnTo>
                  <a:lnTo>
                    <a:pt x="42" y="1083"/>
                  </a:lnTo>
                  <a:lnTo>
                    <a:pt x="44" y="1074"/>
                  </a:lnTo>
                  <a:lnTo>
                    <a:pt x="45" y="1064"/>
                  </a:lnTo>
                  <a:lnTo>
                    <a:pt x="47" y="1055"/>
                  </a:lnTo>
                  <a:lnTo>
                    <a:pt x="49" y="1045"/>
                  </a:lnTo>
                  <a:lnTo>
                    <a:pt x="53" y="1037"/>
                  </a:lnTo>
                  <a:lnTo>
                    <a:pt x="58" y="1029"/>
                  </a:lnTo>
                  <a:lnTo>
                    <a:pt x="64" y="1021"/>
                  </a:lnTo>
                  <a:lnTo>
                    <a:pt x="70" y="1013"/>
                  </a:lnTo>
                  <a:lnTo>
                    <a:pt x="75" y="1006"/>
                  </a:lnTo>
                  <a:lnTo>
                    <a:pt x="82" y="1001"/>
                  </a:lnTo>
                  <a:lnTo>
                    <a:pt x="91" y="995"/>
                  </a:lnTo>
                  <a:lnTo>
                    <a:pt x="99" y="990"/>
                  </a:lnTo>
                  <a:lnTo>
                    <a:pt x="107" y="985"/>
                  </a:lnTo>
                  <a:lnTo>
                    <a:pt x="117" y="982"/>
                  </a:lnTo>
                  <a:lnTo>
                    <a:pt x="126" y="979"/>
                  </a:lnTo>
                  <a:lnTo>
                    <a:pt x="137" y="978"/>
                  </a:lnTo>
                  <a:lnTo>
                    <a:pt x="137" y="978"/>
                  </a:lnTo>
                  <a:lnTo>
                    <a:pt x="142" y="977"/>
                  </a:lnTo>
                  <a:lnTo>
                    <a:pt x="150" y="977"/>
                  </a:lnTo>
                  <a:lnTo>
                    <a:pt x="159" y="977"/>
                  </a:lnTo>
                  <a:lnTo>
                    <a:pt x="168" y="979"/>
                  </a:lnTo>
                  <a:lnTo>
                    <a:pt x="178" y="981"/>
                  </a:lnTo>
                  <a:lnTo>
                    <a:pt x="187" y="984"/>
                  </a:lnTo>
                  <a:lnTo>
                    <a:pt x="195" y="988"/>
                  </a:lnTo>
                  <a:lnTo>
                    <a:pt x="204" y="992"/>
                  </a:lnTo>
                  <a:lnTo>
                    <a:pt x="212" y="997"/>
                  </a:lnTo>
                  <a:lnTo>
                    <a:pt x="219" y="1003"/>
                  </a:lnTo>
                  <a:lnTo>
                    <a:pt x="226" y="1010"/>
                  </a:lnTo>
                  <a:lnTo>
                    <a:pt x="232" y="1017"/>
                  </a:lnTo>
                  <a:lnTo>
                    <a:pt x="238" y="1025"/>
                  </a:lnTo>
                  <a:lnTo>
                    <a:pt x="243" y="1032"/>
                  </a:lnTo>
                  <a:lnTo>
                    <a:pt x="247" y="1042"/>
                  </a:lnTo>
                  <a:lnTo>
                    <a:pt x="250" y="1051"/>
                  </a:lnTo>
                  <a:lnTo>
                    <a:pt x="253" y="1061"/>
                  </a:lnTo>
                  <a:lnTo>
                    <a:pt x="254" y="1070"/>
                  </a:lnTo>
                  <a:lnTo>
                    <a:pt x="257" y="1085"/>
                  </a:lnTo>
                  <a:lnTo>
                    <a:pt x="272" y="1088"/>
                  </a:lnTo>
                  <a:lnTo>
                    <a:pt x="310" y="1096"/>
                  </a:lnTo>
                  <a:lnTo>
                    <a:pt x="347" y="1106"/>
                  </a:lnTo>
                  <a:lnTo>
                    <a:pt x="366" y="1112"/>
                  </a:lnTo>
                  <a:lnTo>
                    <a:pt x="384" y="1119"/>
                  </a:lnTo>
                  <a:lnTo>
                    <a:pt x="403" y="1126"/>
                  </a:lnTo>
                  <a:lnTo>
                    <a:pt x="420" y="1135"/>
                  </a:lnTo>
                  <a:lnTo>
                    <a:pt x="437" y="1143"/>
                  </a:lnTo>
                  <a:lnTo>
                    <a:pt x="454" y="1152"/>
                  </a:lnTo>
                  <a:lnTo>
                    <a:pt x="471" y="1162"/>
                  </a:lnTo>
                  <a:lnTo>
                    <a:pt x="487" y="1172"/>
                  </a:lnTo>
                  <a:lnTo>
                    <a:pt x="503" y="1183"/>
                  </a:lnTo>
                  <a:lnTo>
                    <a:pt x="519" y="1195"/>
                  </a:lnTo>
                  <a:lnTo>
                    <a:pt x="533" y="1207"/>
                  </a:lnTo>
                  <a:lnTo>
                    <a:pt x="549" y="1221"/>
                  </a:lnTo>
                  <a:lnTo>
                    <a:pt x="586" y="1258"/>
                  </a:lnTo>
                  <a:lnTo>
                    <a:pt x="624" y="1297"/>
                  </a:lnTo>
                  <a:lnTo>
                    <a:pt x="659" y="1334"/>
                  </a:lnTo>
                  <a:lnTo>
                    <a:pt x="696" y="1369"/>
                  </a:lnTo>
                  <a:lnTo>
                    <a:pt x="715" y="1384"/>
                  </a:lnTo>
                  <a:lnTo>
                    <a:pt x="735" y="1398"/>
                  </a:lnTo>
                  <a:lnTo>
                    <a:pt x="755" y="1411"/>
                  </a:lnTo>
                  <a:lnTo>
                    <a:pt x="776" y="1423"/>
                  </a:lnTo>
                  <a:lnTo>
                    <a:pt x="788" y="1428"/>
                  </a:lnTo>
                  <a:lnTo>
                    <a:pt x="798" y="1431"/>
                  </a:lnTo>
                  <a:lnTo>
                    <a:pt x="810" y="1436"/>
                  </a:lnTo>
                  <a:lnTo>
                    <a:pt x="822" y="1438"/>
                  </a:lnTo>
                  <a:lnTo>
                    <a:pt x="834" y="1441"/>
                  </a:lnTo>
                  <a:lnTo>
                    <a:pt x="846" y="1443"/>
                  </a:lnTo>
                  <a:lnTo>
                    <a:pt x="859" y="1444"/>
                  </a:lnTo>
                  <a:lnTo>
                    <a:pt x="872" y="1444"/>
                  </a:lnTo>
                  <a:lnTo>
                    <a:pt x="874" y="1444"/>
                  </a:lnTo>
                  <a:lnTo>
                    <a:pt x="895" y="1444"/>
                  </a:lnTo>
                  <a:lnTo>
                    <a:pt x="895" y="1423"/>
                  </a:lnTo>
                  <a:lnTo>
                    <a:pt x="895" y="1421"/>
                  </a:lnTo>
                  <a:lnTo>
                    <a:pt x="895" y="1417"/>
                  </a:lnTo>
                  <a:lnTo>
                    <a:pt x="895" y="1415"/>
                  </a:lnTo>
                  <a:lnTo>
                    <a:pt x="892" y="1383"/>
                  </a:lnTo>
                  <a:lnTo>
                    <a:pt x="889" y="1352"/>
                  </a:lnTo>
                  <a:lnTo>
                    <a:pt x="883" y="1323"/>
                  </a:lnTo>
                  <a:lnTo>
                    <a:pt x="877" y="1294"/>
                  </a:lnTo>
                  <a:lnTo>
                    <a:pt x="869" y="1267"/>
                  </a:lnTo>
                  <a:lnTo>
                    <a:pt x="859" y="1238"/>
                  </a:lnTo>
                  <a:lnTo>
                    <a:pt x="849" y="1211"/>
                  </a:lnTo>
                  <a:lnTo>
                    <a:pt x="838" y="1185"/>
                  </a:lnTo>
                  <a:lnTo>
                    <a:pt x="826" y="1158"/>
                  </a:lnTo>
                  <a:lnTo>
                    <a:pt x="814" y="1132"/>
                  </a:lnTo>
                  <a:lnTo>
                    <a:pt x="802" y="1108"/>
                  </a:lnTo>
                  <a:lnTo>
                    <a:pt x="789" y="1082"/>
                  </a:lnTo>
                  <a:lnTo>
                    <a:pt x="776" y="1056"/>
                  </a:lnTo>
                  <a:lnTo>
                    <a:pt x="763" y="1030"/>
                  </a:lnTo>
                  <a:lnTo>
                    <a:pt x="751" y="1004"/>
                  </a:lnTo>
                  <a:lnTo>
                    <a:pt x="739" y="978"/>
                  </a:lnTo>
                  <a:lnTo>
                    <a:pt x="723" y="940"/>
                  </a:lnTo>
                  <a:lnTo>
                    <a:pt x="708" y="900"/>
                  </a:lnTo>
                  <a:lnTo>
                    <a:pt x="695" y="859"/>
                  </a:lnTo>
                  <a:lnTo>
                    <a:pt x="682" y="818"/>
                  </a:lnTo>
                  <a:lnTo>
                    <a:pt x="677" y="797"/>
                  </a:lnTo>
                  <a:lnTo>
                    <a:pt x="671" y="775"/>
                  </a:lnTo>
                  <a:lnTo>
                    <a:pt x="668" y="753"/>
                  </a:lnTo>
                  <a:lnTo>
                    <a:pt x="664" y="732"/>
                  </a:lnTo>
                  <a:lnTo>
                    <a:pt x="660" y="711"/>
                  </a:lnTo>
                  <a:lnTo>
                    <a:pt x="659" y="690"/>
                  </a:lnTo>
                  <a:lnTo>
                    <a:pt x="658" y="669"/>
                  </a:lnTo>
                  <a:lnTo>
                    <a:pt x="657" y="647"/>
                  </a:lnTo>
                  <a:lnTo>
                    <a:pt x="658" y="623"/>
                  </a:lnTo>
                  <a:lnTo>
                    <a:pt x="659" y="598"/>
                  </a:lnTo>
                  <a:lnTo>
                    <a:pt x="663" y="574"/>
                  </a:lnTo>
                  <a:lnTo>
                    <a:pt x="668" y="551"/>
                  </a:lnTo>
                  <a:lnTo>
                    <a:pt x="672" y="536"/>
                  </a:lnTo>
                  <a:lnTo>
                    <a:pt x="677" y="519"/>
                  </a:lnTo>
                  <a:lnTo>
                    <a:pt x="683" y="504"/>
                  </a:lnTo>
                  <a:lnTo>
                    <a:pt x="689" y="488"/>
                  </a:lnTo>
                  <a:lnTo>
                    <a:pt x="696" y="474"/>
                  </a:lnTo>
                  <a:lnTo>
                    <a:pt x="703" y="459"/>
                  </a:lnTo>
                  <a:lnTo>
                    <a:pt x="710" y="446"/>
                  </a:lnTo>
                  <a:lnTo>
                    <a:pt x="718" y="432"/>
                  </a:lnTo>
                  <a:lnTo>
                    <a:pt x="728" y="419"/>
                  </a:lnTo>
                  <a:lnTo>
                    <a:pt x="737" y="406"/>
                  </a:lnTo>
                  <a:lnTo>
                    <a:pt x="746" y="393"/>
                  </a:lnTo>
                  <a:lnTo>
                    <a:pt x="756" y="381"/>
                  </a:lnTo>
                  <a:lnTo>
                    <a:pt x="778" y="359"/>
                  </a:lnTo>
                  <a:lnTo>
                    <a:pt x="802" y="338"/>
                  </a:lnTo>
                  <a:lnTo>
                    <a:pt x="819" y="322"/>
                  </a:lnTo>
                  <a:lnTo>
                    <a:pt x="802" y="306"/>
                  </a:lnTo>
                  <a:lnTo>
                    <a:pt x="796" y="300"/>
                  </a:lnTo>
                  <a:lnTo>
                    <a:pt x="791" y="294"/>
                  </a:lnTo>
                  <a:lnTo>
                    <a:pt x="788" y="287"/>
                  </a:lnTo>
                  <a:lnTo>
                    <a:pt x="784" y="280"/>
                  </a:lnTo>
                  <a:lnTo>
                    <a:pt x="782" y="272"/>
                  </a:lnTo>
                  <a:lnTo>
                    <a:pt x="772" y="268"/>
                  </a:lnTo>
                  <a:lnTo>
                    <a:pt x="766" y="265"/>
                  </a:lnTo>
                  <a:lnTo>
                    <a:pt x="761" y="260"/>
                  </a:lnTo>
                  <a:lnTo>
                    <a:pt x="753" y="254"/>
                  </a:lnTo>
                  <a:lnTo>
                    <a:pt x="748" y="246"/>
                  </a:lnTo>
                  <a:lnTo>
                    <a:pt x="735" y="229"/>
                  </a:lnTo>
                  <a:lnTo>
                    <a:pt x="725" y="214"/>
                  </a:lnTo>
                  <a:lnTo>
                    <a:pt x="725" y="214"/>
                  </a:lnTo>
                  <a:lnTo>
                    <a:pt x="718" y="219"/>
                  </a:lnTo>
                  <a:lnTo>
                    <a:pt x="726" y="219"/>
                  </a:lnTo>
                  <a:lnTo>
                    <a:pt x="725" y="214"/>
                  </a:lnTo>
                  <a:lnTo>
                    <a:pt x="718" y="219"/>
                  </a:lnTo>
                  <a:lnTo>
                    <a:pt x="726" y="219"/>
                  </a:lnTo>
                  <a:lnTo>
                    <a:pt x="718" y="219"/>
                  </a:lnTo>
                  <a:lnTo>
                    <a:pt x="724" y="224"/>
                  </a:lnTo>
                  <a:lnTo>
                    <a:pt x="725" y="222"/>
                  </a:lnTo>
                  <a:lnTo>
                    <a:pt x="726" y="219"/>
                  </a:lnTo>
                  <a:lnTo>
                    <a:pt x="718" y="219"/>
                  </a:lnTo>
                  <a:lnTo>
                    <a:pt x="724" y="224"/>
                  </a:lnTo>
                  <a:lnTo>
                    <a:pt x="718" y="218"/>
                  </a:lnTo>
                  <a:lnTo>
                    <a:pt x="718" y="226"/>
                  </a:lnTo>
                  <a:lnTo>
                    <a:pt x="722" y="226"/>
                  </a:lnTo>
                  <a:lnTo>
                    <a:pt x="724" y="224"/>
                  </a:lnTo>
                  <a:lnTo>
                    <a:pt x="718" y="218"/>
                  </a:lnTo>
                  <a:lnTo>
                    <a:pt x="718" y="226"/>
                  </a:lnTo>
                  <a:lnTo>
                    <a:pt x="718" y="214"/>
                  </a:lnTo>
                  <a:lnTo>
                    <a:pt x="712" y="225"/>
                  </a:lnTo>
                  <a:lnTo>
                    <a:pt x="718" y="226"/>
                  </a:lnTo>
                  <a:lnTo>
                    <a:pt x="718" y="214"/>
                  </a:lnTo>
                  <a:lnTo>
                    <a:pt x="712" y="225"/>
                  </a:lnTo>
                  <a:lnTo>
                    <a:pt x="717" y="217"/>
                  </a:lnTo>
                  <a:lnTo>
                    <a:pt x="709" y="221"/>
                  </a:lnTo>
                  <a:lnTo>
                    <a:pt x="712" y="225"/>
                  </a:lnTo>
                  <a:lnTo>
                    <a:pt x="717" y="217"/>
                  </a:lnTo>
                  <a:lnTo>
                    <a:pt x="709" y="221"/>
                  </a:lnTo>
                  <a:lnTo>
                    <a:pt x="709" y="221"/>
                  </a:lnTo>
                  <a:lnTo>
                    <a:pt x="713" y="229"/>
                  </a:lnTo>
                  <a:lnTo>
                    <a:pt x="723" y="244"/>
                  </a:lnTo>
                  <a:lnTo>
                    <a:pt x="733" y="259"/>
                  </a:lnTo>
                  <a:lnTo>
                    <a:pt x="746" y="273"/>
                  </a:lnTo>
                  <a:lnTo>
                    <a:pt x="779" y="302"/>
                  </a:lnTo>
                  <a:lnTo>
                    <a:pt x="782" y="259"/>
                  </a:lnTo>
                  <a:lnTo>
                    <a:pt x="784" y="241"/>
                  </a:lnTo>
                  <a:lnTo>
                    <a:pt x="788" y="224"/>
                  </a:lnTo>
                  <a:lnTo>
                    <a:pt x="791" y="215"/>
                  </a:lnTo>
                  <a:lnTo>
                    <a:pt x="795" y="208"/>
                  </a:lnTo>
                  <a:lnTo>
                    <a:pt x="798" y="204"/>
                  </a:lnTo>
                  <a:lnTo>
                    <a:pt x="803" y="199"/>
                  </a:lnTo>
                  <a:lnTo>
                    <a:pt x="803" y="199"/>
                  </a:lnTo>
                  <a:lnTo>
                    <a:pt x="802" y="198"/>
                  </a:lnTo>
                  <a:lnTo>
                    <a:pt x="802" y="199"/>
                  </a:lnTo>
                  <a:lnTo>
                    <a:pt x="803" y="199"/>
                  </a:lnTo>
                  <a:lnTo>
                    <a:pt x="802" y="198"/>
                  </a:lnTo>
                  <a:lnTo>
                    <a:pt x="802" y="199"/>
                  </a:lnTo>
                  <a:lnTo>
                    <a:pt x="802" y="195"/>
                  </a:lnTo>
                  <a:lnTo>
                    <a:pt x="799" y="199"/>
                  </a:lnTo>
                  <a:lnTo>
                    <a:pt x="802" y="199"/>
                  </a:lnTo>
                  <a:lnTo>
                    <a:pt x="802" y="195"/>
                  </a:lnTo>
                  <a:lnTo>
                    <a:pt x="799" y="199"/>
                  </a:lnTo>
                  <a:lnTo>
                    <a:pt x="801" y="197"/>
                  </a:lnTo>
                  <a:lnTo>
                    <a:pt x="798" y="198"/>
                  </a:lnTo>
                  <a:lnTo>
                    <a:pt x="799" y="199"/>
                  </a:lnTo>
                  <a:lnTo>
                    <a:pt x="801" y="197"/>
                  </a:lnTo>
                  <a:lnTo>
                    <a:pt x="798" y="198"/>
                  </a:lnTo>
                  <a:lnTo>
                    <a:pt x="817" y="187"/>
                  </a:lnTo>
                  <a:lnTo>
                    <a:pt x="798" y="198"/>
                  </a:lnTo>
                  <a:lnTo>
                    <a:pt x="801" y="200"/>
                  </a:lnTo>
                  <a:lnTo>
                    <a:pt x="802" y="205"/>
                  </a:lnTo>
                  <a:lnTo>
                    <a:pt x="802" y="211"/>
                  </a:lnTo>
                  <a:lnTo>
                    <a:pt x="803" y="218"/>
                  </a:lnTo>
                  <a:lnTo>
                    <a:pt x="802" y="231"/>
                  </a:lnTo>
                  <a:lnTo>
                    <a:pt x="798" y="244"/>
                  </a:lnTo>
                  <a:lnTo>
                    <a:pt x="794" y="255"/>
                  </a:lnTo>
                  <a:lnTo>
                    <a:pt x="789" y="262"/>
                  </a:lnTo>
                  <a:lnTo>
                    <a:pt x="785" y="266"/>
                  </a:lnTo>
                  <a:lnTo>
                    <a:pt x="782" y="268"/>
                  </a:lnTo>
                  <a:lnTo>
                    <a:pt x="763" y="278"/>
                  </a:lnTo>
                  <a:lnTo>
                    <a:pt x="772" y="297"/>
                  </a:lnTo>
                  <a:lnTo>
                    <a:pt x="775" y="300"/>
                  </a:lnTo>
                  <a:lnTo>
                    <a:pt x="778" y="305"/>
                  </a:lnTo>
                  <a:lnTo>
                    <a:pt x="778" y="305"/>
                  </a:lnTo>
                  <a:lnTo>
                    <a:pt x="785" y="314"/>
                  </a:lnTo>
                  <a:lnTo>
                    <a:pt x="794" y="321"/>
                  </a:lnTo>
                  <a:lnTo>
                    <a:pt x="806" y="333"/>
                  </a:lnTo>
                  <a:lnTo>
                    <a:pt x="819" y="322"/>
                  </a:lnTo>
                  <a:lnTo>
                    <a:pt x="839" y="308"/>
                  </a:lnTo>
                  <a:lnTo>
                    <a:pt x="859" y="294"/>
                  </a:lnTo>
                  <a:lnTo>
                    <a:pt x="879" y="282"/>
                  </a:lnTo>
                  <a:lnTo>
                    <a:pt x="901" y="271"/>
                  </a:lnTo>
                  <a:lnTo>
                    <a:pt x="923" y="260"/>
                  </a:lnTo>
                  <a:lnTo>
                    <a:pt x="945" y="249"/>
                  </a:lnTo>
                  <a:lnTo>
                    <a:pt x="969" y="240"/>
                  </a:lnTo>
                  <a:lnTo>
                    <a:pt x="992" y="232"/>
                  </a:lnTo>
                  <a:lnTo>
                    <a:pt x="1005" y="228"/>
                  </a:lnTo>
                  <a:lnTo>
                    <a:pt x="1007" y="214"/>
                  </a:lnTo>
                  <a:lnTo>
                    <a:pt x="1008" y="202"/>
                  </a:lnTo>
                  <a:lnTo>
                    <a:pt x="1008" y="189"/>
                  </a:lnTo>
                  <a:lnTo>
                    <a:pt x="1008" y="186"/>
                  </a:lnTo>
                  <a:lnTo>
                    <a:pt x="1009" y="169"/>
                  </a:lnTo>
                  <a:lnTo>
                    <a:pt x="992" y="165"/>
                  </a:lnTo>
                  <a:lnTo>
                    <a:pt x="987" y="164"/>
                  </a:lnTo>
                  <a:lnTo>
                    <a:pt x="981" y="160"/>
                  </a:lnTo>
                  <a:lnTo>
                    <a:pt x="975" y="156"/>
                  </a:lnTo>
                  <a:lnTo>
                    <a:pt x="970" y="152"/>
                  </a:lnTo>
                  <a:lnTo>
                    <a:pt x="965" y="147"/>
                  </a:lnTo>
                  <a:lnTo>
                    <a:pt x="962" y="142"/>
                  </a:lnTo>
                  <a:lnTo>
                    <a:pt x="961" y="138"/>
                  </a:lnTo>
                  <a:lnTo>
                    <a:pt x="960" y="133"/>
                  </a:lnTo>
                  <a:lnTo>
                    <a:pt x="960" y="133"/>
                  </a:lnTo>
                  <a:lnTo>
                    <a:pt x="960" y="132"/>
                  </a:lnTo>
                  <a:lnTo>
                    <a:pt x="960" y="131"/>
                  </a:lnTo>
                  <a:lnTo>
                    <a:pt x="960" y="128"/>
                  </a:lnTo>
                  <a:lnTo>
                    <a:pt x="960" y="127"/>
                  </a:lnTo>
                  <a:lnTo>
                    <a:pt x="960" y="127"/>
                  </a:lnTo>
                  <a:lnTo>
                    <a:pt x="960" y="127"/>
                  </a:lnTo>
                  <a:lnTo>
                    <a:pt x="960" y="127"/>
                  </a:lnTo>
                  <a:lnTo>
                    <a:pt x="960" y="127"/>
                  </a:lnTo>
                  <a:lnTo>
                    <a:pt x="960" y="127"/>
                  </a:lnTo>
                  <a:lnTo>
                    <a:pt x="956" y="126"/>
                  </a:lnTo>
                  <a:lnTo>
                    <a:pt x="958" y="129"/>
                  </a:lnTo>
                  <a:lnTo>
                    <a:pt x="960" y="127"/>
                  </a:lnTo>
                  <a:lnTo>
                    <a:pt x="956" y="126"/>
                  </a:lnTo>
                  <a:lnTo>
                    <a:pt x="958" y="129"/>
                  </a:lnTo>
                  <a:lnTo>
                    <a:pt x="957" y="127"/>
                  </a:lnTo>
                  <a:lnTo>
                    <a:pt x="958" y="129"/>
                  </a:lnTo>
                  <a:lnTo>
                    <a:pt x="958" y="129"/>
                  </a:lnTo>
                  <a:lnTo>
                    <a:pt x="957" y="127"/>
                  </a:lnTo>
                  <a:lnTo>
                    <a:pt x="958" y="129"/>
                  </a:lnTo>
                  <a:lnTo>
                    <a:pt x="960" y="129"/>
                  </a:lnTo>
                  <a:lnTo>
                    <a:pt x="965" y="131"/>
                  </a:lnTo>
                  <a:lnTo>
                    <a:pt x="974" y="134"/>
                  </a:lnTo>
                  <a:lnTo>
                    <a:pt x="980" y="139"/>
                  </a:lnTo>
                  <a:lnTo>
                    <a:pt x="983" y="144"/>
                  </a:lnTo>
                  <a:lnTo>
                    <a:pt x="988" y="153"/>
                  </a:lnTo>
                  <a:lnTo>
                    <a:pt x="990" y="164"/>
                  </a:lnTo>
                  <a:lnTo>
                    <a:pt x="995" y="192"/>
                  </a:lnTo>
                  <a:lnTo>
                    <a:pt x="1021" y="179"/>
                  </a:lnTo>
                  <a:lnTo>
                    <a:pt x="1030" y="173"/>
                  </a:lnTo>
                  <a:lnTo>
                    <a:pt x="1040" y="165"/>
                  </a:lnTo>
                  <a:lnTo>
                    <a:pt x="1047" y="156"/>
                  </a:lnTo>
                  <a:lnTo>
                    <a:pt x="1054" y="148"/>
                  </a:lnTo>
                  <a:lnTo>
                    <a:pt x="1062" y="134"/>
                  </a:lnTo>
                  <a:lnTo>
                    <a:pt x="1068" y="119"/>
                  </a:lnTo>
                  <a:lnTo>
                    <a:pt x="1074" y="104"/>
                  </a:lnTo>
                  <a:lnTo>
                    <a:pt x="1077" y="88"/>
                  </a:lnTo>
                  <a:lnTo>
                    <a:pt x="1081" y="73"/>
                  </a:lnTo>
                  <a:lnTo>
                    <a:pt x="1084" y="59"/>
                  </a:lnTo>
                  <a:lnTo>
                    <a:pt x="1087" y="46"/>
                  </a:lnTo>
                  <a:lnTo>
                    <a:pt x="1089" y="34"/>
                  </a:lnTo>
                  <a:lnTo>
                    <a:pt x="1089" y="34"/>
                  </a:lnTo>
                  <a:lnTo>
                    <a:pt x="1080" y="33"/>
                  </a:lnTo>
                  <a:lnTo>
                    <a:pt x="1084" y="40"/>
                  </a:lnTo>
                  <a:lnTo>
                    <a:pt x="1088" y="36"/>
                  </a:lnTo>
                  <a:lnTo>
                    <a:pt x="1089" y="34"/>
                  </a:lnTo>
                  <a:lnTo>
                    <a:pt x="1080" y="33"/>
                  </a:lnTo>
                  <a:lnTo>
                    <a:pt x="1084" y="40"/>
                  </a:lnTo>
                  <a:lnTo>
                    <a:pt x="1080" y="33"/>
                  </a:lnTo>
                  <a:lnTo>
                    <a:pt x="1080" y="42"/>
                  </a:lnTo>
                  <a:lnTo>
                    <a:pt x="1082" y="41"/>
                  </a:lnTo>
                  <a:lnTo>
                    <a:pt x="1084" y="40"/>
                  </a:lnTo>
                  <a:lnTo>
                    <a:pt x="1080" y="33"/>
                  </a:lnTo>
                  <a:lnTo>
                    <a:pt x="1080" y="42"/>
                  </a:lnTo>
                  <a:lnTo>
                    <a:pt x="1080" y="34"/>
                  </a:lnTo>
                  <a:lnTo>
                    <a:pt x="1075" y="40"/>
                  </a:lnTo>
                  <a:lnTo>
                    <a:pt x="1080" y="42"/>
                  </a:lnTo>
                  <a:lnTo>
                    <a:pt x="1080" y="34"/>
                  </a:lnTo>
                  <a:lnTo>
                    <a:pt x="1075" y="40"/>
                  </a:lnTo>
                  <a:lnTo>
                    <a:pt x="1081" y="33"/>
                  </a:lnTo>
                  <a:lnTo>
                    <a:pt x="1071" y="33"/>
                  </a:lnTo>
                  <a:lnTo>
                    <a:pt x="1073" y="36"/>
                  </a:lnTo>
                  <a:lnTo>
                    <a:pt x="1075" y="40"/>
                  </a:lnTo>
                  <a:lnTo>
                    <a:pt x="1081" y="33"/>
                  </a:lnTo>
                  <a:lnTo>
                    <a:pt x="1071" y="33"/>
                  </a:lnTo>
                  <a:lnTo>
                    <a:pt x="1078" y="33"/>
                  </a:lnTo>
                  <a:lnTo>
                    <a:pt x="1071" y="32"/>
                  </a:lnTo>
                  <a:lnTo>
                    <a:pt x="1071" y="33"/>
                  </a:lnTo>
                  <a:lnTo>
                    <a:pt x="1078" y="33"/>
                  </a:lnTo>
                  <a:lnTo>
                    <a:pt x="1071" y="32"/>
                  </a:lnTo>
                  <a:lnTo>
                    <a:pt x="1093" y="35"/>
                  </a:lnTo>
                  <a:lnTo>
                    <a:pt x="1071" y="31"/>
                  </a:lnTo>
                  <a:lnTo>
                    <a:pt x="1068" y="48"/>
                  </a:lnTo>
                  <a:lnTo>
                    <a:pt x="1063" y="68"/>
                  </a:lnTo>
                  <a:lnTo>
                    <a:pt x="1058" y="91"/>
                  </a:lnTo>
                  <a:lnTo>
                    <a:pt x="1050" y="113"/>
                  </a:lnTo>
                  <a:lnTo>
                    <a:pt x="1045" y="124"/>
                  </a:lnTo>
                  <a:lnTo>
                    <a:pt x="1041" y="133"/>
                  </a:lnTo>
                  <a:lnTo>
                    <a:pt x="1036" y="142"/>
                  </a:lnTo>
                  <a:lnTo>
                    <a:pt x="1031" y="149"/>
                  </a:lnTo>
                  <a:lnTo>
                    <a:pt x="1025" y="156"/>
                  </a:lnTo>
                  <a:lnTo>
                    <a:pt x="1020" y="161"/>
                  </a:lnTo>
                  <a:lnTo>
                    <a:pt x="1014" y="164"/>
                  </a:lnTo>
                  <a:lnTo>
                    <a:pt x="1009" y="166"/>
                  </a:lnTo>
                  <a:lnTo>
                    <a:pt x="992" y="169"/>
                  </a:lnTo>
                  <a:lnTo>
                    <a:pt x="992" y="186"/>
                  </a:lnTo>
                  <a:lnTo>
                    <a:pt x="992" y="194"/>
                  </a:lnTo>
                  <a:lnTo>
                    <a:pt x="991" y="202"/>
                  </a:lnTo>
                  <a:lnTo>
                    <a:pt x="989" y="233"/>
                  </a:lnTo>
                  <a:lnTo>
                    <a:pt x="1018" y="224"/>
                  </a:lnTo>
                  <a:lnTo>
                    <a:pt x="1043" y="218"/>
                  </a:lnTo>
                  <a:lnTo>
                    <a:pt x="1069" y="212"/>
                  </a:lnTo>
                  <a:lnTo>
                    <a:pt x="1096" y="206"/>
                  </a:lnTo>
                  <a:lnTo>
                    <a:pt x="1122" y="202"/>
                  </a:lnTo>
                  <a:lnTo>
                    <a:pt x="1149" y="199"/>
                  </a:lnTo>
                  <a:lnTo>
                    <a:pt x="1175" y="197"/>
                  </a:lnTo>
                  <a:lnTo>
                    <a:pt x="1202" y="195"/>
                  </a:lnTo>
                  <a:lnTo>
                    <a:pt x="1228" y="195"/>
                  </a:lnTo>
                  <a:lnTo>
                    <a:pt x="1228" y="195"/>
                  </a:lnTo>
                  <a:lnTo>
                    <a:pt x="1229" y="184"/>
                  </a:lnTo>
                  <a:lnTo>
                    <a:pt x="1228" y="195"/>
                  </a:lnTo>
                  <a:lnTo>
                    <a:pt x="1228" y="195"/>
                  </a:lnTo>
                  <a:lnTo>
                    <a:pt x="1229" y="184"/>
                  </a:lnTo>
                  <a:lnTo>
                    <a:pt x="1228" y="195"/>
                  </a:lnTo>
                  <a:lnTo>
                    <a:pt x="1276" y="197"/>
                  </a:lnTo>
                  <a:lnTo>
                    <a:pt x="1244" y="160"/>
                  </a:lnTo>
                  <a:lnTo>
                    <a:pt x="1241" y="154"/>
                  </a:lnTo>
                  <a:lnTo>
                    <a:pt x="1237" y="148"/>
                  </a:lnTo>
                  <a:lnTo>
                    <a:pt x="1235" y="142"/>
                  </a:lnTo>
                  <a:lnTo>
                    <a:pt x="1235" y="138"/>
                  </a:lnTo>
                  <a:lnTo>
                    <a:pt x="1235" y="134"/>
                  </a:lnTo>
                  <a:lnTo>
                    <a:pt x="1236" y="132"/>
                  </a:lnTo>
                  <a:lnTo>
                    <a:pt x="1236" y="132"/>
                  </a:lnTo>
                  <a:lnTo>
                    <a:pt x="1239" y="129"/>
                  </a:lnTo>
                  <a:lnTo>
                    <a:pt x="1241" y="128"/>
                  </a:lnTo>
                  <a:lnTo>
                    <a:pt x="1241" y="128"/>
                  </a:lnTo>
                  <a:lnTo>
                    <a:pt x="1241" y="128"/>
                  </a:lnTo>
                  <a:lnTo>
                    <a:pt x="1241" y="128"/>
                  </a:lnTo>
                  <a:lnTo>
                    <a:pt x="1241" y="128"/>
                  </a:lnTo>
                  <a:lnTo>
                    <a:pt x="1241" y="128"/>
                  </a:lnTo>
                  <a:lnTo>
                    <a:pt x="1241" y="128"/>
                  </a:lnTo>
                  <a:lnTo>
                    <a:pt x="1241" y="128"/>
                  </a:lnTo>
                  <a:lnTo>
                    <a:pt x="1241" y="128"/>
                  </a:lnTo>
                  <a:lnTo>
                    <a:pt x="1241" y="128"/>
                  </a:lnTo>
                  <a:lnTo>
                    <a:pt x="1241" y="128"/>
                  </a:lnTo>
                  <a:lnTo>
                    <a:pt x="1241" y="128"/>
                  </a:lnTo>
                  <a:lnTo>
                    <a:pt x="1243" y="131"/>
                  </a:lnTo>
                  <a:lnTo>
                    <a:pt x="1249" y="136"/>
                  </a:lnTo>
                  <a:lnTo>
                    <a:pt x="1255" y="147"/>
                  </a:lnTo>
                  <a:lnTo>
                    <a:pt x="1260" y="158"/>
                  </a:lnTo>
                  <a:lnTo>
                    <a:pt x="1270" y="191"/>
                  </a:lnTo>
                  <a:lnTo>
                    <a:pt x="1294" y="166"/>
                  </a:lnTo>
                  <a:lnTo>
                    <a:pt x="1304" y="153"/>
                  </a:lnTo>
                  <a:lnTo>
                    <a:pt x="1314" y="139"/>
                  </a:lnTo>
                  <a:lnTo>
                    <a:pt x="1321" y="125"/>
                  </a:lnTo>
                  <a:lnTo>
                    <a:pt x="1328" y="109"/>
                  </a:lnTo>
                  <a:lnTo>
                    <a:pt x="1334" y="95"/>
                  </a:lnTo>
                  <a:lnTo>
                    <a:pt x="1339" y="81"/>
                  </a:lnTo>
                  <a:lnTo>
                    <a:pt x="1342" y="69"/>
                  </a:lnTo>
                  <a:lnTo>
                    <a:pt x="1346" y="60"/>
                  </a:lnTo>
                  <a:lnTo>
                    <a:pt x="1336" y="56"/>
                  </a:lnTo>
                  <a:lnTo>
                    <a:pt x="1342" y="65"/>
                  </a:lnTo>
                  <a:lnTo>
                    <a:pt x="1344" y="61"/>
                  </a:lnTo>
                  <a:lnTo>
                    <a:pt x="1346" y="60"/>
                  </a:lnTo>
                  <a:lnTo>
                    <a:pt x="1336" y="56"/>
                  </a:lnTo>
                  <a:lnTo>
                    <a:pt x="1342" y="65"/>
                  </a:lnTo>
                  <a:lnTo>
                    <a:pt x="1335" y="55"/>
                  </a:lnTo>
                  <a:lnTo>
                    <a:pt x="1335" y="66"/>
                  </a:lnTo>
                  <a:lnTo>
                    <a:pt x="1339" y="66"/>
                  </a:lnTo>
                  <a:lnTo>
                    <a:pt x="1342" y="65"/>
                  </a:lnTo>
                  <a:lnTo>
                    <a:pt x="1335" y="55"/>
                  </a:lnTo>
                  <a:lnTo>
                    <a:pt x="1335" y="66"/>
                  </a:lnTo>
                  <a:lnTo>
                    <a:pt x="1335" y="59"/>
                  </a:lnTo>
                  <a:lnTo>
                    <a:pt x="1330" y="65"/>
                  </a:lnTo>
                  <a:lnTo>
                    <a:pt x="1333" y="66"/>
                  </a:lnTo>
                  <a:lnTo>
                    <a:pt x="1335" y="66"/>
                  </a:lnTo>
                  <a:lnTo>
                    <a:pt x="1335" y="59"/>
                  </a:lnTo>
                  <a:lnTo>
                    <a:pt x="1330" y="65"/>
                  </a:lnTo>
                  <a:lnTo>
                    <a:pt x="1336" y="58"/>
                  </a:lnTo>
                  <a:lnTo>
                    <a:pt x="1328" y="58"/>
                  </a:lnTo>
                  <a:lnTo>
                    <a:pt x="1329" y="62"/>
                  </a:lnTo>
                  <a:lnTo>
                    <a:pt x="1330" y="65"/>
                  </a:lnTo>
                  <a:lnTo>
                    <a:pt x="1336" y="58"/>
                  </a:lnTo>
                  <a:lnTo>
                    <a:pt x="1328" y="58"/>
                  </a:lnTo>
                  <a:lnTo>
                    <a:pt x="1335" y="58"/>
                  </a:lnTo>
                  <a:lnTo>
                    <a:pt x="1328" y="55"/>
                  </a:lnTo>
                  <a:lnTo>
                    <a:pt x="1328" y="58"/>
                  </a:lnTo>
                  <a:lnTo>
                    <a:pt x="1335" y="58"/>
                  </a:lnTo>
                  <a:lnTo>
                    <a:pt x="1328" y="55"/>
                  </a:lnTo>
                  <a:lnTo>
                    <a:pt x="1326" y="65"/>
                  </a:lnTo>
                  <a:lnTo>
                    <a:pt x="1321" y="76"/>
                  </a:lnTo>
                  <a:lnTo>
                    <a:pt x="1315" y="91"/>
                  </a:lnTo>
                  <a:lnTo>
                    <a:pt x="1308" y="107"/>
                  </a:lnTo>
                  <a:lnTo>
                    <a:pt x="1301" y="122"/>
                  </a:lnTo>
                  <a:lnTo>
                    <a:pt x="1293" y="138"/>
                  </a:lnTo>
                  <a:lnTo>
                    <a:pt x="1283" y="151"/>
                  </a:lnTo>
                  <a:lnTo>
                    <a:pt x="1275" y="161"/>
                  </a:lnTo>
                  <a:lnTo>
                    <a:pt x="1241" y="194"/>
                  </a:lnTo>
                  <a:lnTo>
                    <a:pt x="1288" y="198"/>
                  </a:lnTo>
                  <a:lnTo>
                    <a:pt x="1309" y="199"/>
                  </a:lnTo>
                  <a:lnTo>
                    <a:pt x="1332" y="202"/>
                  </a:lnTo>
                  <a:lnTo>
                    <a:pt x="1353" y="205"/>
                  </a:lnTo>
                  <a:lnTo>
                    <a:pt x="1374" y="209"/>
                  </a:lnTo>
                  <a:lnTo>
                    <a:pt x="1395" y="214"/>
                  </a:lnTo>
                  <a:lnTo>
                    <a:pt x="1416" y="219"/>
                  </a:lnTo>
                  <a:lnTo>
                    <a:pt x="1436" y="225"/>
                  </a:lnTo>
                  <a:lnTo>
                    <a:pt x="1456" y="231"/>
                  </a:lnTo>
                  <a:lnTo>
                    <a:pt x="1473" y="237"/>
                  </a:lnTo>
                  <a:lnTo>
                    <a:pt x="1481" y="222"/>
                  </a:lnTo>
                  <a:lnTo>
                    <a:pt x="1483" y="219"/>
                  </a:lnTo>
                  <a:lnTo>
                    <a:pt x="1486" y="214"/>
                  </a:lnTo>
                  <a:lnTo>
                    <a:pt x="1502" y="185"/>
                  </a:lnTo>
                  <a:lnTo>
                    <a:pt x="1468" y="184"/>
                  </a:lnTo>
                  <a:lnTo>
                    <a:pt x="1461" y="182"/>
                  </a:lnTo>
                  <a:lnTo>
                    <a:pt x="1453" y="181"/>
                  </a:lnTo>
                  <a:lnTo>
                    <a:pt x="1446" y="179"/>
                  </a:lnTo>
                  <a:lnTo>
                    <a:pt x="1439" y="174"/>
                  </a:lnTo>
                  <a:lnTo>
                    <a:pt x="1439" y="174"/>
                  </a:lnTo>
                  <a:lnTo>
                    <a:pt x="1434" y="171"/>
                  </a:lnTo>
                  <a:lnTo>
                    <a:pt x="1429" y="166"/>
                  </a:lnTo>
                  <a:lnTo>
                    <a:pt x="1425" y="161"/>
                  </a:lnTo>
                  <a:lnTo>
                    <a:pt x="1421" y="155"/>
                  </a:lnTo>
                  <a:lnTo>
                    <a:pt x="1417" y="148"/>
                  </a:lnTo>
                  <a:lnTo>
                    <a:pt x="1415" y="142"/>
                  </a:lnTo>
                  <a:lnTo>
                    <a:pt x="1414" y="135"/>
                  </a:lnTo>
                  <a:lnTo>
                    <a:pt x="1414" y="129"/>
                  </a:lnTo>
                  <a:lnTo>
                    <a:pt x="1414" y="122"/>
                  </a:lnTo>
                  <a:lnTo>
                    <a:pt x="1415" y="118"/>
                  </a:lnTo>
                  <a:lnTo>
                    <a:pt x="1417" y="112"/>
                  </a:lnTo>
                  <a:lnTo>
                    <a:pt x="1421" y="107"/>
                  </a:lnTo>
                  <a:lnTo>
                    <a:pt x="1421" y="107"/>
                  </a:lnTo>
                  <a:lnTo>
                    <a:pt x="1426" y="102"/>
                  </a:lnTo>
                  <a:lnTo>
                    <a:pt x="1430" y="100"/>
                  </a:lnTo>
                  <a:lnTo>
                    <a:pt x="1435" y="99"/>
                  </a:lnTo>
                  <a:lnTo>
                    <a:pt x="1441" y="99"/>
                  </a:lnTo>
                  <a:lnTo>
                    <a:pt x="1448" y="99"/>
                  </a:lnTo>
                  <a:lnTo>
                    <a:pt x="1457" y="102"/>
                  </a:lnTo>
                  <a:lnTo>
                    <a:pt x="1466" y="106"/>
                  </a:lnTo>
                  <a:lnTo>
                    <a:pt x="1473" y="112"/>
                  </a:lnTo>
                  <a:lnTo>
                    <a:pt x="1480" y="119"/>
                  </a:lnTo>
                  <a:lnTo>
                    <a:pt x="1485" y="127"/>
                  </a:lnTo>
                  <a:lnTo>
                    <a:pt x="1488" y="134"/>
                  </a:lnTo>
                  <a:lnTo>
                    <a:pt x="1489" y="141"/>
                  </a:lnTo>
                  <a:lnTo>
                    <a:pt x="1489" y="144"/>
                  </a:lnTo>
                  <a:lnTo>
                    <a:pt x="1488" y="155"/>
                  </a:lnTo>
                  <a:lnTo>
                    <a:pt x="1486" y="168"/>
                  </a:lnTo>
                  <a:lnTo>
                    <a:pt x="1477" y="205"/>
                  </a:lnTo>
                  <a:lnTo>
                    <a:pt x="1513" y="193"/>
                  </a:lnTo>
                  <a:lnTo>
                    <a:pt x="1532" y="185"/>
                  </a:lnTo>
                  <a:lnTo>
                    <a:pt x="1548" y="175"/>
                  </a:lnTo>
                  <a:lnTo>
                    <a:pt x="1565" y="165"/>
                  </a:lnTo>
                  <a:lnTo>
                    <a:pt x="1581" y="154"/>
                  </a:lnTo>
                  <a:lnTo>
                    <a:pt x="1595" y="142"/>
                  </a:lnTo>
                  <a:lnTo>
                    <a:pt x="1608" y="131"/>
                  </a:lnTo>
                  <a:lnTo>
                    <a:pt x="1621" y="119"/>
                  </a:lnTo>
                  <a:lnTo>
                    <a:pt x="1632" y="109"/>
                  </a:lnTo>
                  <a:lnTo>
                    <a:pt x="1632" y="109"/>
                  </a:lnTo>
                  <a:lnTo>
                    <a:pt x="1626" y="102"/>
                  </a:lnTo>
                  <a:lnTo>
                    <a:pt x="1626" y="112"/>
                  </a:lnTo>
                  <a:lnTo>
                    <a:pt x="1629" y="111"/>
                  </a:lnTo>
                  <a:lnTo>
                    <a:pt x="1632" y="109"/>
                  </a:lnTo>
                  <a:lnTo>
                    <a:pt x="1626" y="102"/>
                  </a:lnTo>
                  <a:lnTo>
                    <a:pt x="1626" y="112"/>
                  </a:lnTo>
                  <a:lnTo>
                    <a:pt x="1626" y="102"/>
                  </a:lnTo>
                  <a:lnTo>
                    <a:pt x="1619" y="109"/>
                  </a:lnTo>
                  <a:lnTo>
                    <a:pt x="1621" y="111"/>
                  </a:lnTo>
                  <a:lnTo>
                    <a:pt x="1626" y="112"/>
                  </a:lnTo>
                  <a:lnTo>
                    <a:pt x="1626" y="102"/>
                  </a:lnTo>
                  <a:lnTo>
                    <a:pt x="1619" y="109"/>
                  </a:lnTo>
                  <a:lnTo>
                    <a:pt x="1625" y="104"/>
                  </a:lnTo>
                  <a:lnTo>
                    <a:pt x="1618" y="104"/>
                  </a:lnTo>
                  <a:lnTo>
                    <a:pt x="1618" y="107"/>
                  </a:lnTo>
                  <a:lnTo>
                    <a:pt x="1619" y="109"/>
                  </a:lnTo>
                  <a:lnTo>
                    <a:pt x="1625" y="104"/>
                  </a:lnTo>
                  <a:lnTo>
                    <a:pt x="1618" y="104"/>
                  </a:lnTo>
                  <a:lnTo>
                    <a:pt x="1627" y="104"/>
                  </a:lnTo>
                  <a:lnTo>
                    <a:pt x="1620" y="96"/>
                  </a:lnTo>
                  <a:lnTo>
                    <a:pt x="1618" y="99"/>
                  </a:lnTo>
                  <a:lnTo>
                    <a:pt x="1618" y="104"/>
                  </a:lnTo>
                  <a:lnTo>
                    <a:pt x="1627" y="104"/>
                  </a:lnTo>
                  <a:lnTo>
                    <a:pt x="1620" y="96"/>
                  </a:lnTo>
                  <a:lnTo>
                    <a:pt x="1620" y="96"/>
                  </a:lnTo>
                  <a:lnTo>
                    <a:pt x="1607" y="107"/>
                  </a:lnTo>
                  <a:lnTo>
                    <a:pt x="1593" y="120"/>
                  </a:lnTo>
                  <a:lnTo>
                    <a:pt x="1578" y="133"/>
                  </a:lnTo>
                  <a:lnTo>
                    <a:pt x="1561" y="146"/>
                  </a:lnTo>
                  <a:lnTo>
                    <a:pt x="1545" y="158"/>
                  </a:lnTo>
                  <a:lnTo>
                    <a:pt x="1527" y="167"/>
                  </a:lnTo>
                  <a:lnTo>
                    <a:pt x="1509" y="175"/>
                  </a:lnTo>
                  <a:lnTo>
                    <a:pt x="1492" y="181"/>
                  </a:lnTo>
                  <a:lnTo>
                    <a:pt x="1482" y="184"/>
                  </a:lnTo>
                  <a:lnTo>
                    <a:pt x="1477" y="193"/>
                  </a:lnTo>
                  <a:lnTo>
                    <a:pt x="1474" y="201"/>
                  </a:lnTo>
                  <a:lnTo>
                    <a:pt x="1469" y="209"/>
                  </a:lnTo>
                  <a:lnTo>
                    <a:pt x="1456" y="232"/>
                  </a:lnTo>
                  <a:lnTo>
                    <a:pt x="1482" y="241"/>
                  </a:lnTo>
                  <a:lnTo>
                    <a:pt x="1489" y="221"/>
                  </a:lnTo>
                  <a:lnTo>
                    <a:pt x="1481" y="240"/>
                  </a:lnTo>
                  <a:lnTo>
                    <a:pt x="1506" y="251"/>
                  </a:lnTo>
                  <a:lnTo>
                    <a:pt x="1529" y="264"/>
                  </a:lnTo>
                  <a:lnTo>
                    <a:pt x="1550" y="277"/>
                  </a:lnTo>
                  <a:lnTo>
                    <a:pt x="1570" y="292"/>
                  </a:lnTo>
                  <a:lnTo>
                    <a:pt x="1589" y="308"/>
                  </a:lnTo>
                  <a:lnTo>
                    <a:pt x="1607" y="326"/>
                  </a:lnTo>
                  <a:lnTo>
                    <a:pt x="1625" y="345"/>
                  </a:lnTo>
                  <a:lnTo>
                    <a:pt x="1640" y="364"/>
                  </a:lnTo>
                  <a:lnTo>
                    <a:pt x="1651" y="379"/>
                  </a:lnTo>
                  <a:lnTo>
                    <a:pt x="1661" y="395"/>
                  </a:lnTo>
                  <a:lnTo>
                    <a:pt x="1672" y="412"/>
                  </a:lnTo>
                  <a:lnTo>
                    <a:pt x="1681" y="430"/>
                  </a:lnTo>
                  <a:lnTo>
                    <a:pt x="1699" y="465"/>
                  </a:lnTo>
                  <a:lnTo>
                    <a:pt x="1714" y="501"/>
                  </a:lnTo>
                  <a:lnTo>
                    <a:pt x="1728" y="540"/>
                  </a:lnTo>
                  <a:lnTo>
                    <a:pt x="1741" y="580"/>
                  </a:lnTo>
                  <a:lnTo>
                    <a:pt x="1752" y="620"/>
                  </a:lnTo>
                  <a:lnTo>
                    <a:pt x="1762" y="661"/>
                  </a:lnTo>
                  <a:lnTo>
                    <a:pt x="1772" y="704"/>
                  </a:lnTo>
                  <a:lnTo>
                    <a:pt x="1780" y="745"/>
                  </a:lnTo>
                  <a:lnTo>
                    <a:pt x="1788" y="786"/>
                  </a:lnTo>
                  <a:lnTo>
                    <a:pt x="1797" y="827"/>
                  </a:lnTo>
                  <a:lnTo>
                    <a:pt x="1804" y="868"/>
                  </a:lnTo>
                  <a:lnTo>
                    <a:pt x="1812" y="906"/>
                  </a:lnTo>
                  <a:lnTo>
                    <a:pt x="1820" y="944"/>
                  </a:lnTo>
                  <a:lnTo>
                    <a:pt x="1828" y="981"/>
                  </a:lnTo>
                  <a:lnTo>
                    <a:pt x="1838" y="1019"/>
                  </a:lnTo>
                  <a:lnTo>
                    <a:pt x="1848" y="1056"/>
                  </a:lnTo>
                  <a:lnTo>
                    <a:pt x="1860" y="1091"/>
                  </a:lnTo>
                  <a:lnTo>
                    <a:pt x="1872" y="1125"/>
                  </a:lnTo>
                  <a:lnTo>
                    <a:pt x="1882" y="1155"/>
                  </a:lnTo>
                  <a:lnTo>
                    <a:pt x="1906" y="1134"/>
                  </a:lnTo>
                  <a:lnTo>
                    <a:pt x="1914" y="1125"/>
                  </a:lnTo>
                  <a:lnTo>
                    <a:pt x="1925" y="1118"/>
                  </a:lnTo>
                  <a:lnTo>
                    <a:pt x="1934" y="1111"/>
                  </a:lnTo>
                  <a:lnTo>
                    <a:pt x="1945" y="1104"/>
                  </a:lnTo>
                  <a:lnTo>
                    <a:pt x="1966" y="1092"/>
                  </a:lnTo>
                  <a:lnTo>
                    <a:pt x="1990" y="1082"/>
                  </a:lnTo>
                  <a:lnTo>
                    <a:pt x="2015" y="1072"/>
                  </a:lnTo>
                  <a:lnTo>
                    <a:pt x="2043" y="1065"/>
                  </a:lnTo>
                  <a:lnTo>
                    <a:pt x="2072" y="1058"/>
                  </a:lnTo>
                  <a:lnTo>
                    <a:pt x="2104" y="1051"/>
                  </a:lnTo>
                  <a:lnTo>
                    <a:pt x="2124" y="1048"/>
                  </a:lnTo>
                  <a:lnTo>
                    <a:pt x="2144" y="1044"/>
                  </a:lnTo>
                  <a:lnTo>
                    <a:pt x="2164" y="1038"/>
                  </a:lnTo>
                  <a:lnTo>
                    <a:pt x="2184" y="1032"/>
                  </a:lnTo>
                  <a:lnTo>
                    <a:pt x="2203" y="1026"/>
                  </a:lnTo>
                  <a:lnTo>
                    <a:pt x="2223" y="1018"/>
                  </a:lnTo>
                  <a:lnTo>
                    <a:pt x="2242" y="1010"/>
                  </a:lnTo>
                  <a:lnTo>
                    <a:pt x="2260" y="1001"/>
                  </a:lnTo>
                  <a:lnTo>
                    <a:pt x="2279" y="990"/>
                  </a:lnTo>
                  <a:lnTo>
                    <a:pt x="2296" y="977"/>
                  </a:lnTo>
                  <a:lnTo>
                    <a:pt x="2312" y="964"/>
                  </a:lnTo>
                  <a:lnTo>
                    <a:pt x="2327" y="949"/>
                  </a:lnTo>
                  <a:lnTo>
                    <a:pt x="2340" y="932"/>
                  </a:lnTo>
                  <a:lnTo>
                    <a:pt x="2352" y="913"/>
                  </a:lnTo>
                  <a:lnTo>
                    <a:pt x="2358" y="904"/>
                  </a:lnTo>
                  <a:lnTo>
                    <a:pt x="2363" y="893"/>
                  </a:lnTo>
                  <a:lnTo>
                    <a:pt x="2367" y="883"/>
                  </a:lnTo>
                  <a:lnTo>
                    <a:pt x="2371" y="872"/>
                  </a:lnTo>
                  <a:lnTo>
                    <a:pt x="2371" y="872"/>
                  </a:lnTo>
                  <a:lnTo>
                    <a:pt x="2377" y="852"/>
                  </a:lnTo>
                  <a:lnTo>
                    <a:pt x="2382" y="832"/>
                  </a:lnTo>
                  <a:lnTo>
                    <a:pt x="2385" y="813"/>
                  </a:lnTo>
                  <a:lnTo>
                    <a:pt x="2388" y="793"/>
                  </a:lnTo>
                  <a:lnTo>
                    <a:pt x="2390" y="773"/>
                  </a:lnTo>
                  <a:lnTo>
                    <a:pt x="2391" y="754"/>
                  </a:lnTo>
                  <a:lnTo>
                    <a:pt x="2392" y="734"/>
                  </a:lnTo>
                  <a:lnTo>
                    <a:pt x="2392" y="716"/>
                  </a:lnTo>
                  <a:lnTo>
                    <a:pt x="2392" y="703"/>
                  </a:lnTo>
                  <a:lnTo>
                    <a:pt x="2392" y="690"/>
                  </a:lnTo>
                  <a:lnTo>
                    <a:pt x="2392" y="678"/>
                  </a:lnTo>
                  <a:lnTo>
                    <a:pt x="2391" y="665"/>
                  </a:lnTo>
                  <a:lnTo>
                    <a:pt x="2391" y="651"/>
                  </a:lnTo>
                  <a:lnTo>
                    <a:pt x="2377" y="646"/>
                  </a:lnTo>
                  <a:lnTo>
                    <a:pt x="2364" y="640"/>
                  </a:lnTo>
                  <a:lnTo>
                    <a:pt x="2351" y="633"/>
                  </a:lnTo>
                  <a:lnTo>
                    <a:pt x="2339" y="624"/>
                  </a:lnTo>
                  <a:lnTo>
                    <a:pt x="2329" y="613"/>
                  </a:lnTo>
                  <a:lnTo>
                    <a:pt x="2320" y="601"/>
                  </a:lnTo>
                  <a:lnTo>
                    <a:pt x="2313" y="589"/>
                  </a:lnTo>
                  <a:lnTo>
                    <a:pt x="2309" y="574"/>
                  </a:lnTo>
                  <a:lnTo>
                    <a:pt x="2305" y="559"/>
                  </a:lnTo>
                  <a:lnTo>
                    <a:pt x="2305" y="559"/>
                  </a:lnTo>
                  <a:lnTo>
                    <a:pt x="2305" y="552"/>
                  </a:lnTo>
                  <a:lnTo>
                    <a:pt x="2305" y="546"/>
                  </a:lnTo>
                  <a:lnTo>
                    <a:pt x="2305" y="536"/>
                  </a:lnTo>
                  <a:lnTo>
                    <a:pt x="2306" y="526"/>
                  </a:lnTo>
                  <a:lnTo>
                    <a:pt x="2309" y="517"/>
                  </a:lnTo>
                  <a:lnTo>
                    <a:pt x="2312" y="507"/>
                  </a:lnTo>
                  <a:lnTo>
                    <a:pt x="2316" y="499"/>
                  </a:lnTo>
                  <a:lnTo>
                    <a:pt x="2320" y="491"/>
                  </a:lnTo>
                  <a:lnTo>
                    <a:pt x="2325" y="483"/>
                  </a:lnTo>
                  <a:lnTo>
                    <a:pt x="2331" y="476"/>
                  </a:lnTo>
                  <a:lnTo>
                    <a:pt x="2338" y="468"/>
                  </a:lnTo>
                  <a:lnTo>
                    <a:pt x="2345" y="463"/>
                  </a:lnTo>
                  <a:lnTo>
                    <a:pt x="2352" y="457"/>
                  </a:lnTo>
                  <a:lnTo>
                    <a:pt x="2360" y="452"/>
                  </a:lnTo>
                  <a:lnTo>
                    <a:pt x="2370" y="448"/>
                  </a:lnTo>
                  <a:lnTo>
                    <a:pt x="2379" y="445"/>
                  </a:lnTo>
                  <a:lnTo>
                    <a:pt x="2389" y="443"/>
                  </a:lnTo>
                  <a:lnTo>
                    <a:pt x="2398" y="440"/>
                  </a:lnTo>
                  <a:lnTo>
                    <a:pt x="2398" y="440"/>
                  </a:lnTo>
                  <a:lnTo>
                    <a:pt x="2396" y="419"/>
                  </a:lnTo>
                  <a:close/>
                </a:path>
              </a:pathLst>
            </a:custGeom>
            <a:solidFill>
              <a:srgbClr val="574D48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6653" tIns="58327" rIns="116653" bIns="58327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434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137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2" name="Freeform 32"/>
            <p:cNvSpPr>
              <a:spLocks/>
            </p:cNvSpPr>
            <p:nvPr/>
          </p:nvSpPr>
          <p:spPr bwMode="auto">
            <a:xfrm>
              <a:off x="861" y="2569"/>
              <a:ext cx="20" cy="20"/>
            </a:xfrm>
            <a:custGeom>
              <a:avLst/>
              <a:gdLst>
                <a:gd name="T0" fmla="*/ 37 w 76"/>
                <a:gd name="T1" fmla="*/ 77 h 77"/>
                <a:gd name="T2" fmla="*/ 30 w 76"/>
                <a:gd name="T3" fmla="*/ 75 h 77"/>
                <a:gd name="T4" fmla="*/ 23 w 76"/>
                <a:gd name="T5" fmla="*/ 73 h 77"/>
                <a:gd name="T6" fmla="*/ 16 w 76"/>
                <a:gd name="T7" fmla="*/ 69 h 77"/>
                <a:gd name="T8" fmla="*/ 11 w 76"/>
                <a:gd name="T9" fmla="*/ 65 h 77"/>
                <a:gd name="T10" fmla="*/ 7 w 76"/>
                <a:gd name="T11" fmla="*/ 59 h 77"/>
                <a:gd name="T12" fmla="*/ 3 w 76"/>
                <a:gd name="T13" fmla="*/ 53 h 77"/>
                <a:gd name="T14" fmla="*/ 1 w 76"/>
                <a:gd name="T15" fmla="*/ 46 h 77"/>
                <a:gd name="T16" fmla="*/ 0 w 76"/>
                <a:gd name="T17" fmla="*/ 38 h 77"/>
                <a:gd name="T18" fmla="*/ 1 w 76"/>
                <a:gd name="T19" fmla="*/ 31 h 77"/>
                <a:gd name="T20" fmla="*/ 3 w 76"/>
                <a:gd name="T21" fmla="*/ 24 h 77"/>
                <a:gd name="T22" fmla="*/ 7 w 76"/>
                <a:gd name="T23" fmla="*/ 16 h 77"/>
                <a:gd name="T24" fmla="*/ 11 w 76"/>
                <a:gd name="T25" fmla="*/ 11 h 77"/>
                <a:gd name="T26" fmla="*/ 16 w 76"/>
                <a:gd name="T27" fmla="*/ 6 h 77"/>
                <a:gd name="T28" fmla="*/ 23 w 76"/>
                <a:gd name="T29" fmla="*/ 2 h 77"/>
                <a:gd name="T30" fmla="*/ 30 w 76"/>
                <a:gd name="T31" fmla="*/ 0 h 77"/>
                <a:gd name="T32" fmla="*/ 37 w 76"/>
                <a:gd name="T33" fmla="*/ 0 h 77"/>
                <a:gd name="T34" fmla="*/ 45 w 76"/>
                <a:gd name="T35" fmla="*/ 0 h 77"/>
                <a:gd name="T36" fmla="*/ 53 w 76"/>
                <a:gd name="T37" fmla="*/ 2 h 77"/>
                <a:gd name="T38" fmla="*/ 58 w 76"/>
                <a:gd name="T39" fmla="*/ 6 h 77"/>
                <a:gd name="T40" fmla="*/ 64 w 76"/>
                <a:gd name="T41" fmla="*/ 11 h 77"/>
                <a:gd name="T42" fmla="*/ 69 w 76"/>
                <a:gd name="T43" fmla="*/ 16 h 77"/>
                <a:gd name="T44" fmla="*/ 73 w 76"/>
                <a:gd name="T45" fmla="*/ 24 h 77"/>
                <a:gd name="T46" fmla="*/ 75 w 76"/>
                <a:gd name="T47" fmla="*/ 31 h 77"/>
                <a:gd name="T48" fmla="*/ 76 w 76"/>
                <a:gd name="T49" fmla="*/ 38 h 77"/>
                <a:gd name="T50" fmla="*/ 75 w 76"/>
                <a:gd name="T51" fmla="*/ 46 h 77"/>
                <a:gd name="T52" fmla="*/ 73 w 76"/>
                <a:gd name="T53" fmla="*/ 53 h 77"/>
                <a:gd name="T54" fmla="*/ 69 w 76"/>
                <a:gd name="T55" fmla="*/ 59 h 77"/>
                <a:gd name="T56" fmla="*/ 64 w 76"/>
                <a:gd name="T57" fmla="*/ 65 h 77"/>
                <a:gd name="T58" fmla="*/ 58 w 76"/>
                <a:gd name="T59" fmla="*/ 69 h 77"/>
                <a:gd name="T60" fmla="*/ 53 w 76"/>
                <a:gd name="T61" fmla="*/ 73 h 77"/>
                <a:gd name="T62" fmla="*/ 45 w 76"/>
                <a:gd name="T63" fmla="*/ 75 h 77"/>
                <a:gd name="T64" fmla="*/ 37 w 76"/>
                <a:gd name="T65" fmla="*/ 77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76" h="77">
                  <a:moveTo>
                    <a:pt x="37" y="77"/>
                  </a:moveTo>
                  <a:lnTo>
                    <a:pt x="30" y="75"/>
                  </a:lnTo>
                  <a:lnTo>
                    <a:pt x="23" y="73"/>
                  </a:lnTo>
                  <a:lnTo>
                    <a:pt x="16" y="69"/>
                  </a:lnTo>
                  <a:lnTo>
                    <a:pt x="11" y="65"/>
                  </a:lnTo>
                  <a:lnTo>
                    <a:pt x="7" y="59"/>
                  </a:lnTo>
                  <a:lnTo>
                    <a:pt x="3" y="53"/>
                  </a:lnTo>
                  <a:lnTo>
                    <a:pt x="1" y="46"/>
                  </a:lnTo>
                  <a:lnTo>
                    <a:pt x="0" y="38"/>
                  </a:lnTo>
                  <a:lnTo>
                    <a:pt x="1" y="31"/>
                  </a:lnTo>
                  <a:lnTo>
                    <a:pt x="3" y="24"/>
                  </a:lnTo>
                  <a:lnTo>
                    <a:pt x="7" y="16"/>
                  </a:lnTo>
                  <a:lnTo>
                    <a:pt x="11" y="11"/>
                  </a:lnTo>
                  <a:lnTo>
                    <a:pt x="16" y="6"/>
                  </a:lnTo>
                  <a:lnTo>
                    <a:pt x="23" y="2"/>
                  </a:lnTo>
                  <a:lnTo>
                    <a:pt x="30" y="0"/>
                  </a:lnTo>
                  <a:lnTo>
                    <a:pt x="37" y="0"/>
                  </a:lnTo>
                  <a:lnTo>
                    <a:pt x="45" y="0"/>
                  </a:lnTo>
                  <a:lnTo>
                    <a:pt x="53" y="2"/>
                  </a:lnTo>
                  <a:lnTo>
                    <a:pt x="58" y="6"/>
                  </a:lnTo>
                  <a:lnTo>
                    <a:pt x="64" y="11"/>
                  </a:lnTo>
                  <a:lnTo>
                    <a:pt x="69" y="16"/>
                  </a:lnTo>
                  <a:lnTo>
                    <a:pt x="73" y="24"/>
                  </a:lnTo>
                  <a:lnTo>
                    <a:pt x="75" y="31"/>
                  </a:lnTo>
                  <a:lnTo>
                    <a:pt x="76" y="38"/>
                  </a:lnTo>
                  <a:lnTo>
                    <a:pt x="75" y="46"/>
                  </a:lnTo>
                  <a:lnTo>
                    <a:pt x="73" y="53"/>
                  </a:lnTo>
                  <a:lnTo>
                    <a:pt x="69" y="59"/>
                  </a:lnTo>
                  <a:lnTo>
                    <a:pt x="64" y="65"/>
                  </a:lnTo>
                  <a:lnTo>
                    <a:pt x="58" y="69"/>
                  </a:lnTo>
                  <a:lnTo>
                    <a:pt x="53" y="73"/>
                  </a:lnTo>
                  <a:lnTo>
                    <a:pt x="45" y="75"/>
                  </a:lnTo>
                  <a:lnTo>
                    <a:pt x="37" y="77"/>
                  </a:lnTo>
                  <a:close/>
                </a:path>
              </a:pathLst>
            </a:custGeom>
            <a:solidFill>
              <a:srgbClr val="B4A69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6653" tIns="58327" rIns="116653" bIns="58327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434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137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3" name="Freeform 33"/>
            <p:cNvSpPr>
              <a:spLocks/>
            </p:cNvSpPr>
            <p:nvPr/>
          </p:nvSpPr>
          <p:spPr bwMode="auto">
            <a:xfrm>
              <a:off x="1019" y="2478"/>
              <a:ext cx="19" cy="18"/>
            </a:xfrm>
            <a:custGeom>
              <a:avLst/>
              <a:gdLst>
                <a:gd name="T0" fmla="*/ 38 w 76"/>
                <a:gd name="T1" fmla="*/ 76 h 76"/>
                <a:gd name="T2" fmla="*/ 30 w 76"/>
                <a:gd name="T3" fmla="*/ 75 h 76"/>
                <a:gd name="T4" fmla="*/ 23 w 76"/>
                <a:gd name="T5" fmla="*/ 73 h 76"/>
                <a:gd name="T6" fmla="*/ 17 w 76"/>
                <a:gd name="T7" fmla="*/ 69 h 76"/>
                <a:gd name="T8" fmla="*/ 11 w 76"/>
                <a:gd name="T9" fmla="*/ 65 h 76"/>
                <a:gd name="T10" fmla="*/ 6 w 76"/>
                <a:gd name="T11" fmla="*/ 60 h 76"/>
                <a:gd name="T12" fmla="*/ 3 w 76"/>
                <a:gd name="T13" fmla="*/ 53 h 76"/>
                <a:gd name="T14" fmla="*/ 0 w 76"/>
                <a:gd name="T15" fmla="*/ 46 h 76"/>
                <a:gd name="T16" fmla="*/ 0 w 76"/>
                <a:gd name="T17" fmla="*/ 37 h 76"/>
                <a:gd name="T18" fmla="*/ 0 w 76"/>
                <a:gd name="T19" fmla="*/ 30 h 76"/>
                <a:gd name="T20" fmla="*/ 3 w 76"/>
                <a:gd name="T21" fmla="*/ 23 h 76"/>
                <a:gd name="T22" fmla="*/ 6 w 76"/>
                <a:gd name="T23" fmla="*/ 16 h 76"/>
                <a:gd name="T24" fmla="*/ 11 w 76"/>
                <a:gd name="T25" fmla="*/ 10 h 76"/>
                <a:gd name="T26" fmla="*/ 17 w 76"/>
                <a:gd name="T27" fmla="*/ 6 h 76"/>
                <a:gd name="T28" fmla="*/ 23 w 76"/>
                <a:gd name="T29" fmla="*/ 2 h 76"/>
                <a:gd name="T30" fmla="*/ 30 w 76"/>
                <a:gd name="T31" fmla="*/ 0 h 76"/>
                <a:gd name="T32" fmla="*/ 38 w 76"/>
                <a:gd name="T33" fmla="*/ 0 h 76"/>
                <a:gd name="T34" fmla="*/ 45 w 76"/>
                <a:gd name="T35" fmla="*/ 0 h 76"/>
                <a:gd name="T36" fmla="*/ 52 w 76"/>
                <a:gd name="T37" fmla="*/ 2 h 76"/>
                <a:gd name="T38" fmla="*/ 59 w 76"/>
                <a:gd name="T39" fmla="*/ 6 h 76"/>
                <a:gd name="T40" fmla="*/ 64 w 76"/>
                <a:gd name="T41" fmla="*/ 10 h 76"/>
                <a:gd name="T42" fmla="*/ 68 w 76"/>
                <a:gd name="T43" fmla="*/ 16 h 76"/>
                <a:gd name="T44" fmla="*/ 72 w 76"/>
                <a:gd name="T45" fmla="*/ 23 h 76"/>
                <a:gd name="T46" fmla="*/ 74 w 76"/>
                <a:gd name="T47" fmla="*/ 30 h 76"/>
                <a:gd name="T48" fmla="*/ 76 w 76"/>
                <a:gd name="T49" fmla="*/ 37 h 76"/>
                <a:gd name="T50" fmla="*/ 74 w 76"/>
                <a:gd name="T51" fmla="*/ 46 h 76"/>
                <a:gd name="T52" fmla="*/ 72 w 76"/>
                <a:gd name="T53" fmla="*/ 53 h 76"/>
                <a:gd name="T54" fmla="*/ 68 w 76"/>
                <a:gd name="T55" fmla="*/ 59 h 76"/>
                <a:gd name="T56" fmla="*/ 65 w 76"/>
                <a:gd name="T57" fmla="*/ 65 h 76"/>
                <a:gd name="T58" fmla="*/ 59 w 76"/>
                <a:gd name="T59" fmla="*/ 69 h 76"/>
                <a:gd name="T60" fmla="*/ 52 w 76"/>
                <a:gd name="T61" fmla="*/ 73 h 76"/>
                <a:gd name="T62" fmla="*/ 45 w 76"/>
                <a:gd name="T63" fmla="*/ 75 h 76"/>
                <a:gd name="T64" fmla="*/ 38 w 76"/>
                <a:gd name="T65" fmla="*/ 76 h 76"/>
                <a:gd name="T66" fmla="*/ 38 w 76"/>
                <a:gd name="T67" fmla="*/ 76 h 76"/>
                <a:gd name="T68" fmla="*/ 38 w 76"/>
                <a:gd name="T69" fmla="*/ 76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76" h="76">
                  <a:moveTo>
                    <a:pt x="38" y="76"/>
                  </a:moveTo>
                  <a:lnTo>
                    <a:pt x="30" y="75"/>
                  </a:lnTo>
                  <a:lnTo>
                    <a:pt x="23" y="73"/>
                  </a:lnTo>
                  <a:lnTo>
                    <a:pt x="17" y="69"/>
                  </a:lnTo>
                  <a:lnTo>
                    <a:pt x="11" y="65"/>
                  </a:lnTo>
                  <a:lnTo>
                    <a:pt x="6" y="60"/>
                  </a:lnTo>
                  <a:lnTo>
                    <a:pt x="3" y="53"/>
                  </a:lnTo>
                  <a:lnTo>
                    <a:pt x="0" y="46"/>
                  </a:lnTo>
                  <a:lnTo>
                    <a:pt x="0" y="37"/>
                  </a:lnTo>
                  <a:lnTo>
                    <a:pt x="0" y="30"/>
                  </a:lnTo>
                  <a:lnTo>
                    <a:pt x="3" y="23"/>
                  </a:lnTo>
                  <a:lnTo>
                    <a:pt x="6" y="16"/>
                  </a:lnTo>
                  <a:lnTo>
                    <a:pt x="11" y="10"/>
                  </a:lnTo>
                  <a:lnTo>
                    <a:pt x="17" y="6"/>
                  </a:lnTo>
                  <a:lnTo>
                    <a:pt x="23" y="2"/>
                  </a:lnTo>
                  <a:lnTo>
                    <a:pt x="30" y="0"/>
                  </a:lnTo>
                  <a:lnTo>
                    <a:pt x="38" y="0"/>
                  </a:lnTo>
                  <a:lnTo>
                    <a:pt x="45" y="0"/>
                  </a:lnTo>
                  <a:lnTo>
                    <a:pt x="52" y="2"/>
                  </a:lnTo>
                  <a:lnTo>
                    <a:pt x="59" y="6"/>
                  </a:lnTo>
                  <a:lnTo>
                    <a:pt x="64" y="10"/>
                  </a:lnTo>
                  <a:lnTo>
                    <a:pt x="68" y="16"/>
                  </a:lnTo>
                  <a:lnTo>
                    <a:pt x="72" y="23"/>
                  </a:lnTo>
                  <a:lnTo>
                    <a:pt x="74" y="30"/>
                  </a:lnTo>
                  <a:lnTo>
                    <a:pt x="76" y="37"/>
                  </a:lnTo>
                  <a:lnTo>
                    <a:pt x="74" y="46"/>
                  </a:lnTo>
                  <a:lnTo>
                    <a:pt x="72" y="53"/>
                  </a:lnTo>
                  <a:lnTo>
                    <a:pt x="68" y="59"/>
                  </a:lnTo>
                  <a:lnTo>
                    <a:pt x="65" y="65"/>
                  </a:lnTo>
                  <a:lnTo>
                    <a:pt x="59" y="69"/>
                  </a:lnTo>
                  <a:lnTo>
                    <a:pt x="52" y="73"/>
                  </a:lnTo>
                  <a:lnTo>
                    <a:pt x="45" y="75"/>
                  </a:lnTo>
                  <a:lnTo>
                    <a:pt x="38" y="76"/>
                  </a:lnTo>
                  <a:lnTo>
                    <a:pt x="38" y="76"/>
                  </a:lnTo>
                  <a:lnTo>
                    <a:pt x="38" y="76"/>
                  </a:lnTo>
                  <a:close/>
                </a:path>
              </a:pathLst>
            </a:custGeom>
            <a:solidFill>
              <a:srgbClr val="B4A69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6653" tIns="58327" rIns="116653" bIns="58327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434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137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4" name="Freeform 34"/>
            <p:cNvSpPr>
              <a:spLocks/>
            </p:cNvSpPr>
            <p:nvPr/>
          </p:nvSpPr>
          <p:spPr bwMode="auto">
            <a:xfrm>
              <a:off x="660" y="2397"/>
              <a:ext cx="19" cy="22"/>
            </a:xfrm>
            <a:custGeom>
              <a:avLst/>
              <a:gdLst>
                <a:gd name="T0" fmla="*/ 38 w 76"/>
                <a:gd name="T1" fmla="*/ 77 h 77"/>
                <a:gd name="T2" fmla="*/ 30 w 76"/>
                <a:gd name="T3" fmla="*/ 76 h 77"/>
                <a:gd name="T4" fmla="*/ 23 w 76"/>
                <a:gd name="T5" fmla="*/ 74 h 77"/>
                <a:gd name="T6" fmla="*/ 17 w 76"/>
                <a:gd name="T7" fmla="*/ 70 h 77"/>
                <a:gd name="T8" fmla="*/ 11 w 76"/>
                <a:gd name="T9" fmla="*/ 66 h 77"/>
                <a:gd name="T10" fmla="*/ 6 w 76"/>
                <a:gd name="T11" fmla="*/ 60 h 77"/>
                <a:gd name="T12" fmla="*/ 3 w 76"/>
                <a:gd name="T13" fmla="*/ 54 h 77"/>
                <a:gd name="T14" fmla="*/ 0 w 76"/>
                <a:gd name="T15" fmla="*/ 47 h 77"/>
                <a:gd name="T16" fmla="*/ 0 w 76"/>
                <a:gd name="T17" fmla="*/ 39 h 77"/>
                <a:gd name="T18" fmla="*/ 0 w 76"/>
                <a:gd name="T19" fmla="*/ 32 h 77"/>
                <a:gd name="T20" fmla="*/ 3 w 76"/>
                <a:gd name="T21" fmla="*/ 23 h 77"/>
                <a:gd name="T22" fmla="*/ 6 w 76"/>
                <a:gd name="T23" fmla="*/ 17 h 77"/>
                <a:gd name="T24" fmla="*/ 11 w 76"/>
                <a:gd name="T25" fmla="*/ 12 h 77"/>
                <a:gd name="T26" fmla="*/ 17 w 76"/>
                <a:gd name="T27" fmla="*/ 7 h 77"/>
                <a:gd name="T28" fmla="*/ 23 w 76"/>
                <a:gd name="T29" fmla="*/ 3 h 77"/>
                <a:gd name="T30" fmla="*/ 30 w 76"/>
                <a:gd name="T31" fmla="*/ 1 h 77"/>
                <a:gd name="T32" fmla="*/ 38 w 76"/>
                <a:gd name="T33" fmla="*/ 0 h 77"/>
                <a:gd name="T34" fmla="*/ 38 w 76"/>
                <a:gd name="T35" fmla="*/ 0 h 77"/>
                <a:gd name="T36" fmla="*/ 38 w 76"/>
                <a:gd name="T37" fmla="*/ 0 h 77"/>
                <a:gd name="T38" fmla="*/ 45 w 76"/>
                <a:gd name="T39" fmla="*/ 1 h 77"/>
                <a:gd name="T40" fmla="*/ 52 w 76"/>
                <a:gd name="T41" fmla="*/ 3 h 77"/>
                <a:gd name="T42" fmla="*/ 59 w 76"/>
                <a:gd name="T43" fmla="*/ 7 h 77"/>
                <a:gd name="T44" fmla="*/ 65 w 76"/>
                <a:gd name="T45" fmla="*/ 12 h 77"/>
                <a:gd name="T46" fmla="*/ 70 w 76"/>
                <a:gd name="T47" fmla="*/ 17 h 77"/>
                <a:gd name="T48" fmla="*/ 73 w 76"/>
                <a:gd name="T49" fmla="*/ 23 h 77"/>
                <a:gd name="T50" fmla="*/ 74 w 76"/>
                <a:gd name="T51" fmla="*/ 30 h 77"/>
                <a:gd name="T52" fmla="*/ 76 w 76"/>
                <a:gd name="T53" fmla="*/ 39 h 77"/>
                <a:gd name="T54" fmla="*/ 76 w 76"/>
                <a:gd name="T55" fmla="*/ 46 h 77"/>
                <a:gd name="T56" fmla="*/ 73 w 76"/>
                <a:gd name="T57" fmla="*/ 54 h 77"/>
                <a:gd name="T58" fmla="*/ 70 w 76"/>
                <a:gd name="T59" fmla="*/ 60 h 77"/>
                <a:gd name="T60" fmla="*/ 65 w 76"/>
                <a:gd name="T61" fmla="*/ 66 h 77"/>
                <a:gd name="T62" fmla="*/ 59 w 76"/>
                <a:gd name="T63" fmla="*/ 70 h 77"/>
                <a:gd name="T64" fmla="*/ 53 w 76"/>
                <a:gd name="T65" fmla="*/ 74 h 77"/>
                <a:gd name="T66" fmla="*/ 46 w 76"/>
                <a:gd name="T67" fmla="*/ 76 h 77"/>
                <a:gd name="T68" fmla="*/ 38 w 76"/>
                <a:gd name="T69" fmla="*/ 77 h 77"/>
                <a:gd name="T70" fmla="*/ 38 w 76"/>
                <a:gd name="T71" fmla="*/ 77 h 77"/>
                <a:gd name="T72" fmla="*/ 38 w 76"/>
                <a:gd name="T73" fmla="*/ 77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76" h="77">
                  <a:moveTo>
                    <a:pt x="38" y="77"/>
                  </a:moveTo>
                  <a:lnTo>
                    <a:pt x="30" y="76"/>
                  </a:lnTo>
                  <a:lnTo>
                    <a:pt x="23" y="74"/>
                  </a:lnTo>
                  <a:lnTo>
                    <a:pt x="17" y="70"/>
                  </a:lnTo>
                  <a:lnTo>
                    <a:pt x="11" y="66"/>
                  </a:lnTo>
                  <a:lnTo>
                    <a:pt x="6" y="60"/>
                  </a:lnTo>
                  <a:lnTo>
                    <a:pt x="3" y="54"/>
                  </a:lnTo>
                  <a:lnTo>
                    <a:pt x="0" y="47"/>
                  </a:lnTo>
                  <a:lnTo>
                    <a:pt x="0" y="39"/>
                  </a:lnTo>
                  <a:lnTo>
                    <a:pt x="0" y="32"/>
                  </a:lnTo>
                  <a:lnTo>
                    <a:pt x="3" y="23"/>
                  </a:lnTo>
                  <a:lnTo>
                    <a:pt x="6" y="17"/>
                  </a:lnTo>
                  <a:lnTo>
                    <a:pt x="11" y="12"/>
                  </a:lnTo>
                  <a:lnTo>
                    <a:pt x="17" y="7"/>
                  </a:lnTo>
                  <a:lnTo>
                    <a:pt x="23" y="3"/>
                  </a:lnTo>
                  <a:lnTo>
                    <a:pt x="30" y="1"/>
                  </a:lnTo>
                  <a:lnTo>
                    <a:pt x="38" y="0"/>
                  </a:lnTo>
                  <a:lnTo>
                    <a:pt x="38" y="0"/>
                  </a:lnTo>
                  <a:lnTo>
                    <a:pt x="38" y="0"/>
                  </a:lnTo>
                  <a:lnTo>
                    <a:pt x="45" y="1"/>
                  </a:lnTo>
                  <a:lnTo>
                    <a:pt x="52" y="3"/>
                  </a:lnTo>
                  <a:lnTo>
                    <a:pt x="59" y="7"/>
                  </a:lnTo>
                  <a:lnTo>
                    <a:pt x="65" y="12"/>
                  </a:lnTo>
                  <a:lnTo>
                    <a:pt x="70" y="17"/>
                  </a:lnTo>
                  <a:lnTo>
                    <a:pt x="73" y="23"/>
                  </a:lnTo>
                  <a:lnTo>
                    <a:pt x="74" y="30"/>
                  </a:lnTo>
                  <a:lnTo>
                    <a:pt x="76" y="39"/>
                  </a:lnTo>
                  <a:lnTo>
                    <a:pt x="76" y="46"/>
                  </a:lnTo>
                  <a:lnTo>
                    <a:pt x="73" y="54"/>
                  </a:lnTo>
                  <a:lnTo>
                    <a:pt x="70" y="60"/>
                  </a:lnTo>
                  <a:lnTo>
                    <a:pt x="65" y="66"/>
                  </a:lnTo>
                  <a:lnTo>
                    <a:pt x="59" y="70"/>
                  </a:lnTo>
                  <a:lnTo>
                    <a:pt x="53" y="74"/>
                  </a:lnTo>
                  <a:lnTo>
                    <a:pt x="46" y="76"/>
                  </a:lnTo>
                  <a:lnTo>
                    <a:pt x="38" y="77"/>
                  </a:lnTo>
                  <a:lnTo>
                    <a:pt x="38" y="77"/>
                  </a:lnTo>
                  <a:lnTo>
                    <a:pt x="38" y="77"/>
                  </a:lnTo>
                  <a:close/>
                </a:path>
              </a:pathLst>
            </a:custGeom>
            <a:solidFill>
              <a:srgbClr val="B4A69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6653" tIns="58327" rIns="116653" bIns="58327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434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137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5" name="Freeform 35"/>
            <p:cNvSpPr>
              <a:spLocks/>
            </p:cNvSpPr>
            <p:nvPr/>
          </p:nvSpPr>
          <p:spPr bwMode="auto">
            <a:xfrm>
              <a:off x="789" y="2397"/>
              <a:ext cx="19" cy="20"/>
            </a:xfrm>
            <a:custGeom>
              <a:avLst/>
              <a:gdLst>
                <a:gd name="T0" fmla="*/ 37 w 75"/>
                <a:gd name="T1" fmla="*/ 76 h 76"/>
                <a:gd name="T2" fmla="*/ 30 w 75"/>
                <a:gd name="T3" fmla="*/ 75 h 76"/>
                <a:gd name="T4" fmla="*/ 23 w 75"/>
                <a:gd name="T5" fmla="*/ 73 h 76"/>
                <a:gd name="T6" fmla="*/ 16 w 75"/>
                <a:gd name="T7" fmla="*/ 69 h 76"/>
                <a:gd name="T8" fmla="*/ 11 w 75"/>
                <a:gd name="T9" fmla="*/ 64 h 76"/>
                <a:gd name="T10" fmla="*/ 7 w 75"/>
                <a:gd name="T11" fmla="*/ 59 h 76"/>
                <a:gd name="T12" fmla="*/ 3 w 75"/>
                <a:gd name="T13" fmla="*/ 53 h 76"/>
                <a:gd name="T14" fmla="*/ 1 w 75"/>
                <a:gd name="T15" fmla="*/ 46 h 76"/>
                <a:gd name="T16" fmla="*/ 0 w 75"/>
                <a:gd name="T17" fmla="*/ 37 h 76"/>
                <a:gd name="T18" fmla="*/ 1 w 75"/>
                <a:gd name="T19" fmla="*/ 30 h 76"/>
                <a:gd name="T20" fmla="*/ 3 w 75"/>
                <a:gd name="T21" fmla="*/ 23 h 76"/>
                <a:gd name="T22" fmla="*/ 7 w 75"/>
                <a:gd name="T23" fmla="*/ 16 h 76"/>
                <a:gd name="T24" fmla="*/ 11 w 75"/>
                <a:gd name="T25" fmla="*/ 10 h 76"/>
                <a:gd name="T26" fmla="*/ 16 w 75"/>
                <a:gd name="T27" fmla="*/ 6 h 76"/>
                <a:gd name="T28" fmla="*/ 23 w 75"/>
                <a:gd name="T29" fmla="*/ 2 h 76"/>
                <a:gd name="T30" fmla="*/ 30 w 75"/>
                <a:gd name="T31" fmla="*/ 0 h 76"/>
                <a:gd name="T32" fmla="*/ 37 w 75"/>
                <a:gd name="T33" fmla="*/ 0 h 76"/>
                <a:gd name="T34" fmla="*/ 46 w 75"/>
                <a:gd name="T35" fmla="*/ 0 h 76"/>
                <a:gd name="T36" fmla="*/ 53 w 75"/>
                <a:gd name="T37" fmla="*/ 2 h 76"/>
                <a:gd name="T38" fmla="*/ 59 w 75"/>
                <a:gd name="T39" fmla="*/ 6 h 76"/>
                <a:gd name="T40" fmla="*/ 64 w 75"/>
                <a:gd name="T41" fmla="*/ 10 h 76"/>
                <a:gd name="T42" fmla="*/ 69 w 75"/>
                <a:gd name="T43" fmla="*/ 16 h 76"/>
                <a:gd name="T44" fmla="*/ 73 w 75"/>
                <a:gd name="T45" fmla="*/ 22 h 76"/>
                <a:gd name="T46" fmla="*/ 75 w 75"/>
                <a:gd name="T47" fmla="*/ 30 h 76"/>
                <a:gd name="T48" fmla="*/ 75 w 75"/>
                <a:gd name="T49" fmla="*/ 37 h 76"/>
                <a:gd name="T50" fmla="*/ 75 w 75"/>
                <a:gd name="T51" fmla="*/ 46 h 76"/>
                <a:gd name="T52" fmla="*/ 73 w 75"/>
                <a:gd name="T53" fmla="*/ 53 h 76"/>
                <a:gd name="T54" fmla="*/ 69 w 75"/>
                <a:gd name="T55" fmla="*/ 59 h 76"/>
                <a:gd name="T56" fmla="*/ 64 w 75"/>
                <a:gd name="T57" fmla="*/ 64 h 76"/>
                <a:gd name="T58" fmla="*/ 59 w 75"/>
                <a:gd name="T59" fmla="*/ 69 h 76"/>
                <a:gd name="T60" fmla="*/ 53 w 75"/>
                <a:gd name="T61" fmla="*/ 73 h 76"/>
                <a:gd name="T62" fmla="*/ 46 w 75"/>
                <a:gd name="T63" fmla="*/ 75 h 76"/>
                <a:gd name="T64" fmla="*/ 37 w 75"/>
                <a:gd name="T65" fmla="*/ 76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75" h="76">
                  <a:moveTo>
                    <a:pt x="37" y="76"/>
                  </a:moveTo>
                  <a:lnTo>
                    <a:pt x="30" y="75"/>
                  </a:lnTo>
                  <a:lnTo>
                    <a:pt x="23" y="73"/>
                  </a:lnTo>
                  <a:lnTo>
                    <a:pt x="16" y="69"/>
                  </a:lnTo>
                  <a:lnTo>
                    <a:pt x="11" y="64"/>
                  </a:lnTo>
                  <a:lnTo>
                    <a:pt x="7" y="59"/>
                  </a:lnTo>
                  <a:lnTo>
                    <a:pt x="3" y="53"/>
                  </a:lnTo>
                  <a:lnTo>
                    <a:pt x="1" y="46"/>
                  </a:lnTo>
                  <a:lnTo>
                    <a:pt x="0" y="37"/>
                  </a:lnTo>
                  <a:lnTo>
                    <a:pt x="1" y="30"/>
                  </a:lnTo>
                  <a:lnTo>
                    <a:pt x="3" y="23"/>
                  </a:lnTo>
                  <a:lnTo>
                    <a:pt x="7" y="16"/>
                  </a:lnTo>
                  <a:lnTo>
                    <a:pt x="11" y="10"/>
                  </a:lnTo>
                  <a:lnTo>
                    <a:pt x="16" y="6"/>
                  </a:lnTo>
                  <a:lnTo>
                    <a:pt x="23" y="2"/>
                  </a:lnTo>
                  <a:lnTo>
                    <a:pt x="30" y="0"/>
                  </a:lnTo>
                  <a:lnTo>
                    <a:pt x="37" y="0"/>
                  </a:lnTo>
                  <a:lnTo>
                    <a:pt x="46" y="0"/>
                  </a:lnTo>
                  <a:lnTo>
                    <a:pt x="53" y="2"/>
                  </a:lnTo>
                  <a:lnTo>
                    <a:pt x="59" y="6"/>
                  </a:lnTo>
                  <a:lnTo>
                    <a:pt x="64" y="10"/>
                  </a:lnTo>
                  <a:lnTo>
                    <a:pt x="69" y="16"/>
                  </a:lnTo>
                  <a:lnTo>
                    <a:pt x="73" y="22"/>
                  </a:lnTo>
                  <a:lnTo>
                    <a:pt x="75" y="30"/>
                  </a:lnTo>
                  <a:lnTo>
                    <a:pt x="75" y="37"/>
                  </a:lnTo>
                  <a:lnTo>
                    <a:pt x="75" y="46"/>
                  </a:lnTo>
                  <a:lnTo>
                    <a:pt x="73" y="53"/>
                  </a:lnTo>
                  <a:lnTo>
                    <a:pt x="69" y="59"/>
                  </a:lnTo>
                  <a:lnTo>
                    <a:pt x="64" y="64"/>
                  </a:lnTo>
                  <a:lnTo>
                    <a:pt x="59" y="69"/>
                  </a:lnTo>
                  <a:lnTo>
                    <a:pt x="53" y="73"/>
                  </a:lnTo>
                  <a:lnTo>
                    <a:pt x="46" y="75"/>
                  </a:lnTo>
                  <a:lnTo>
                    <a:pt x="37" y="76"/>
                  </a:lnTo>
                  <a:close/>
                </a:path>
              </a:pathLst>
            </a:custGeom>
            <a:solidFill>
              <a:srgbClr val="B4A69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6653" tIns="58327" rIns="116653" bIns="58327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434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137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6" name="Freeform 36"/>
            <p:cNvSpPr>
              <a:spLocks/>
            </p:cNvSpPr>
            <p:nvPr/>
          </p:nvSpPr>
          <p:spPr bwMode="auto">
            <a:xfrm>
              <a:off x="917" y="2397"/>
              <a:ext cx="19" cy="20"/>
            </a:xfrm>
            <a:custGeom>
              <a:avLst/>
              <a:gdLst>
                <a:gd name="T0" fmla="*/ 38 w 77"/>
                <a:gd name="T1" fmla="*/ 76 h 76"/>
                <a:gd name="T2" fmla="*/ 31 w 77"/>
                <a:gd name="T3" fmla="*/ 75 h 76"/>
                <a:gd name="T4" fmla="*/ 24 w 77"/>
                <a:gd name="T5" fmla="*/ 73 h 76"/>
                <a:gd name="T6" fmla="*/ 18 w 77"/>
                <a:gd name="T7" fmla="*/ 69 h 76"/>
                <a:gd name="T8" fmla="*/ 12 w 77"/>
                <a:gd name="T9" fmla="*/ 64 h 76"/>
                <a:gd name="T10" fmla="*/ 7 w 77"/>
                <a:gd name="T11" fmla="*/ 58 h 76"/>
                <a:gd name="T12" fmla="*/ 4 w 77"/>
                <a:gd name="T13" fmla="*/ 53 h 76"/>
                <a:gd name="T14" fmla="*/ 1 w 77"/>
                <a:gd name="T15" fmla="*/ 45 h 76"/>
                <a:gd name="T16" fmla="*/ 0 w 77"/>
                <a:gd name="T17" fmla="*/ 37 h 76"/>
                <a:gd name="T18" fmla="*/ 1 w 77"/>
                <a:gd name="T19" fmla="*/ 30 h 76"/>
                <a:gd name="T20" fmla="*/ 4 w 77"/>
                <a:gd name="T21" fmla="*/ 23 h 76"/>
                <a:gd name="T22" fmla="*/ 7 w 77"/>
                <a:gd name="T23" fmla="*/ 16 h 76"/>
                <a:gd name="T24" fmla="*/ 12 w 77"/>
                <a:gd name="T25" fmla="*/ 10 h 76"/>
                <a:gd name="T26" fmla="*/ 18 w 77"/>
                <a:gd name="T27" fmla="*/ 5 h 76"/>
                <a:gd name="T28" fmla="*/ 24 w 77"/>
                <a:gd name="T29" fmla="*/ 2 h 76"/>
                <a:gd name="T30" fmla="*/ 31 w 77"/>
                <a:gd name="T31" fmla="*/ 0 h 76"/>
                <a:gd name="T32" fmla="*/ 39 w 77"/>
                <a:gd name="T33" fmla="*/ 0 h 76"/>
                <a:gd name="T34" fmla="*/ 39 w 77"/>
                <a:gd name="T35" fmla="*/ 0 h 76"/>
                <a:gd name="T36" fmla="*/ 39 w 77"/>
                <a:gd name="T37" fmla="*/ 0 h 76"/>
                <a:gd name="T38" fmla="*/ 46 w 77"/>
                <a:gd name="T39" fmla="*/ 0 h 76"/>
                <a:gd name="T40" fmla="*/ 53 w 77"/>
                <a:gd name="T41" fmla="*/ 2 h 76"/>
                <a:gd name="T42" fmla="*/ 60 w 77"/>
                <a:gd name="T43" fmla="*/ 5 h 76"/>
                <a:gd name="T44" fmla="*/ 65 w 77"/>
                <a:gd name="T45" fmla="*/ 10 h 76"/>
                <a:gd name="T46" fmla="*/ 70 w 77"/>
                <a:gd name="T47" fmla="*/ 16 h 76"/>
                <a:gd name="T48" fmla="*/ 73 w 77"/>
                <a:gd name="T49" fmla="*/ 23 h 76"/>
                <a:gd name="T50" fmla="*/ 75 w 77"/>
                <a:gd name="T51" fmla="*/ 30 h 76"/>
                <a:gd name="T52" fmla="*/ 77 w 77"/>
                <a:gd name="T53" fmla="*/ 37 h 76"/>
                <a:gd name="T54" fmla="*/ 75 w 77"/>
                <a:gd name="T55" fmla="*/ 45 h 76"/>
                <a:gd name="T56" fmla="*/ 73 w 77"/>
                <a:gd name="T57" fmla="*/ 53 h 76"/>
                <a:gd name="T58" fmla="*/ 70 w 77"/>
                <a:gd name="T59" fmla="*/ 58 h 76"/>
                <a:gd name="T60" fmla="*/ 65 w 77"/>
                <a:gd name="T61" fmla="*/ 64 h 76"/>
                <a:gd name="T62" fmla="*/ 60 w 77"/>
                <a:gd name="T63" fmla="*/ 69 h 76"/>
                <a:gd name="T64" fmla="*/ 53 w 77"/>
                <a:gd name="T65" fmla="*/ 73 h 76"/>
                <a:gd name="T66" fmla="*/ 46 w 77"/>
                <a:gd name="T67" fmla="*/ 75 h 76"/>
                <a:gd name="T68" fmla="*/ 39 w 77"/>
                <a:gd name="T69" fmla="*/ 76 h 76"/>
                <a:gd name="T70" fmla="*/ 39 w 77"/>
                <a:gd name="T71" fmla="*/ 76 h 76"/>
                <a:gd name="T72" fmla="*/ 38 w 77"/>
                <a:gd name="T73" fmla="*/ 76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77" h="76">
                  <a:moveTo>
                    <a:pt x="38" y="76"/>
                  </a:moveTo>
                  <a:lnTo>
                    <a:pt x="31" y="75"/>
                  </a:lnTo>
                  <a:lnTo>
                    <a:pt x="24" y="73"/>
                  </a:lnTo>
                  <a:lnTo>
                    <a:pt x="18" y="69"/>
                  </a:lnTo>
                  <a:lnTo>
                    <a:pt x="12" y="64"/>
                  </a:lnTo>
                  <a:lnTo>
                    <a:pt x="7" y="58"/>
                  </a:lnTo>
                  <a:lnTo>
                    <a:pt x="4" y="53"/>
                  </a:lnTo>
                  <a:lnTo>
                    <a:pt x="1" y="45"/>
                  </a:lnTo>
                  <a:lnTo>
                    <a:pt x="0" y="37"/>
                  </a:lnTo>
                  <a:lnTo>
                    <a:pt x="1" y="30"/>
                  </a:lnTo>
                  <a:lnTo>
                    <a:pt x="4" y="23"/>
                  </a:lnTo>
                  <a:lnTo>
                    <a:pt x="7" y="16"/>
                  </a:lnTo>
                  <a:lnTo>
                    <a:pt x="12" y="10"/>
                  </a:lnTo>
                  <a:lnTo>
                    <a:pt x="18" y="5"/>
                  </a:lnTo>
                  <a:lnTo>
                    <a:pt x="24" y="2"/>
                  </a:lnTo>
                  <a:lnTo>
                    <a:pt x="31" y="0"/>
                  </a:lnTo>
                  <a:lnTo>
                    <a:pt x="39" y="0"/>
                  </a:lnTo>
                  <a:lnTo>
                    <a:pt x="39" y="0"/>
                  </a:lnTo>
                  <a:lnTo>
                    <a:pt x="39" y="0"/>
                  </a:lnTo>
                  <a:lnTo>
                    <a:pt x="46" y="0"/>
                  </a:lnTo>
                  <a:lnTo>
                    <a:pt x="53" y="2"/>
                  </a:lnTo>
                  <a:lnTo>
                    <a:pt x="60" y="5"/>
                  </a:lnTo>
                  <a:lnTo>
                    <a:pt x="65" y="10"/>
                  </a:lnTo>
                  <a:lnTo>
                    <a:pt x="70" y="16"/>
                  </a:lnTo>
                  <a:lnTo>
                    <a:pt x="73" y="23"/>
                  </a:lnTo>
                  <a:lnTo>
                    <a:pt x="75" y="30"/>
                  </a:lnTo>
                  <a:lnTo>
                    <a:pt x="77" y="37"/>
                  </a:lnTo>
                  <a:lnTo>
                    <a:pt x="75" y="45"/>
                  </a:lnTo>
                  <a:lnTo>
                    <a:pt x="73" y="53"/>
                  </a:lnTo>
                  <a:lnTo>
                    <a:pt x="70" y="58"/>
                  </a:lnTo>
                  <a:lnTo>
                    <a:pt x="65" y="64"/>
                  </a:lnTo>
                  <a:lnTo>
                    <a:pt x="60" y="69"/>
                  </a:lnTo>
                  <a:lnTo>
                    <a:pt x="53" y="73"/>
                  </a:lnTo>
                  <a:lnTo>
                    <a:pt x="46" y="75"/>
                  </a:lnTo>
                  <a:lnTo>
                    <a:pt x="39" y="76"/>
                  </a:lnTo>
                  <a:lnTo>
                    <a:pt x="39" y="76"/>
                  </a:lnTo>
                  <a:lnTo>
                    <a:pt x="38" y="76"/>
                  </a:lnTo>
                  <a:close/>
                </a:path>
              </a:pathLst>
            </a:custGeom>
            <a:solidFill>
              <a:srgbClr val="B4A69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6653" tIns="58327" rIns="116653" bIns="58327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434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137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7" name="Freeform 37"/>
            <p:cNvSpPr>
              <a:spLocks/>
            </p:cNvSpPr>
            <p:nvPr/>
          </p:nvSpPr>
          <p:spPr bwMode="auto">
            <a:xfrm>
              <a:off x="918" y="2458"/>
              <a:ext cx="19" cy="20"/>
            </a:xfrm>
            <a:custGeom>
              <a:avLst/>
              <a:gdLst>
                <a:gd name="T0" fmla="*/ 37 w 76"/>
                <a:gd name="T1" fmla="*/ 76 h 76"/>
                <a:gd name="T2" fmla="*/ 30 w 76"/>
                <a:gd name="T3" fmla="*/ 75 h 76"/>
                <a:gd name="T4" fmla="*/ 23 w 76"/>
                <a:gd name="T5" fmla="*/ 73 h 76"/>
                <a:gd name="T6" fmla="*/ 16 w 76"/>
                <a:gd name="T7" fmla="*/ 69 h 76"/>
                <a:gd name="T8" fmla="*/ 11 w 76"/>
                <a:gd name="T9" fmla="*/ 64 h 76"/>
                <a:gd name="T10" fmla="*/ 7 w 76"/>
                <a:gd name="T11" fmla="*/ 60 h 76"/>
                <a:gd name="T12" fmla="*/ 3 w 76"/>
                <a:gd name="T13" fmla="*/ 53 h 76"/>
                <a:gd name="T14" fmla="*/ 1 w 76"/>
                <a:gd name="T15" fmla="*/ 46 h 76"/>
                <a:gd name="T16" fmla="*/ 0 w 76"/>
                <a:gd name="T17" fmla="*/ 37 h 76"/>
                <a:gd name="T18" fmla="*/ 1 w 76"/>
                <a:gd name="T19" fmla="*/ 30 h 76"/>
                <a:gd name="T20" fmla="*/ 3 w 76"/>
                <a:gd name="T21" fmla="*/ 23 h 76"/>
                <a:gd name="T22" fmla="*/ 7 w 76"/>
                <a:gd name="T23" fmla="*/ 16 h 76"/>
                <a:gd name="T24" fmla="*/ 10 w 76"/>
                <a:gd name="T25" fmla="*/ 10 h 76"/>
                <a:gd name="T26" fmla="*/ 16 w 76"/>
                <a:gd name="T27" fmla="*/ 6 h 76"/>
                <a:gd name="T28" fmla="*/ 23 w 76"/>
                <a:gd name="T29" fmla="*/ 2 h 76"/>
                <a:gd name="T30" fmla="*/ 30 w 76"/>
                <a:gd name="T31" fmla="*/ 0 h 76"/>
                <a:gd name="T32" fmla="*/ 37 w 76"/>
                <a:gd name="T33" fmla="*/ 0 h 76"/>
                <a:gd name="T34" fmla="*/ 46 w 76"/>
                <a:gd name="T35" fmla="*/ 0 h 76"/>
                <a:gd name="T36" fmla="*/ 53 w 76"/>
                <a:gd name="T37" fmla="*/ 2 h 76"/>
                <a:gd name="T38" fmla="*/ 59 w 76"/>
                <a:gd name="T39" fmla="*/ 6 h 76"/>
                <a:gd name="T40" fmla="*/ 64 w 76"/>
                <a:gd name="T41" fmla="*/ 10 h 76"/>
                <a:gd name="T42" fmla="*/ 69 w 76"/>
                <a:gd name="T43" fmla="*/ 16 h 76"/>
                <a:gd name="T44" fmla="*/ 73 w 76"/>
                <a:gd name="T45" fmla="*/ 23 h 76"/>
                <a:gd name="T46" fmla="*/ 75 w 76"/>
                <a:gd name="T47" fmla="*/ 30 h 76"/>
                <a:gd name="T48" fmla="*/ 76 w 76"/>
                <a:gd name="T49" fmla="*/ 37 h 76"/>
                <a:gd name="T50" fmla="*/ 75 w 76"/>
                <a:gd name="T51" fmla="*/ 46 h 76"/>
                <a:gd name="T52" fmla="*/ 73 w 76"/>
                <a:gd name="T53" fmla="*/ 53 h 76"/>
                <a:gd name="T54" fmla="*/ 69 w 76"/>
                <a:gd name="T55" fmla="*/ 59 h 76"/>
                <a:gd name="T56" fmla="*/ 64 w 76"/>
                <a:gd name="T57" fmla="*/ 64 h 76"/>
                <a:gd name="T58" fmla="*/ 59 w 76"/>
                <a:gd name="T59" fmla="*/ 69 h 76"/>
                <a:gd name="T60" fmla="*/ 53 w 76"/>
                <a:gd name="T61" fmla="*/ 73 h 76"/>
                <a:gd name="T62" fmla="*/ 46 w 76"/>
                <a:gd name="T63" fmla="*/ 75 h 76"/>
                <a:gd name="T64" fmla="*/ 37 w 76"/>
                <a:gd name="T65" fmla="*/ 76 h 76"/>
                <a:gd name="T66" fmla="*/ 37 w 76"/>
                <a:gd name="T67" fmla="*/ 76 h 76"/>
                <a:gd name="T68" fmla="*/ 37 w 76"/>
                <a:gd name="T69" fmla="*/ 76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76" h="76">
                  <a:moveTo>
                    <a:pt x="37" y="76"/>
                  </a:moveTo>
                  <a:lnTo>
                    <a:pt x="30" y="75"/>
                  </a:lnTo>
                  <a:lnTo>
                    <a:pt x="23" y="73"/>
                  </a:lnTo>
                  <a:lnTo>
                    <a:pt x="16" y="69"/>
                  </a:lnTo>
                  <a:lnTo>
                    <a:pt x="11" y="64"/>
                  </a:lnTo>
                  <a:lnTo>
                    <a:pt x="7" y="60"/>
                  </a:lnTo>
                  <a:lnTo>
                    <a:pt x="3" y="53"/>
                  </a:lnTo>
                  <a:lnTo>
                    <a:pt x="1" y="46"/>
                  </a:lnTo>
                  <a:lnTo>
                    <a:pt x="0" y="37"/>
                  </a:lnTo>
                  <a:lnTo>
                    <a:pt x="1" y="30"/>
                  </a:lnTo>
                  <a:lnTo>
                    <a:pt x="3" y="23"/>
                  </a:lnTo>
                  <a:lnTo>
                    <a:pt x="7" y="16"/>
                  </a:lnTo>
                  <a:lnTo>
                    <a:pt x="10" y="10"/>
                  </a:lnTo>
                  <a:lnTo>
                    <a:pt x="16" y="6"/>
                  </a:lnTo>
                  <a:lnTo>
                    <a:pt x="23" y="2"/>
                  </a:lnTo>
                  <a:lnTo>
                    <a:pt x="30" y="0"/>
                  </a:lnTo>
                  <a:lnTo>
                    <a:pt x="37" y="0"/>
                  </a:lnTo>
                  <a:lnTo>
                    <a:pt x="46" y="0"/>
                  </a:lnTo>
                  <a:lnTo>
                    <a:pt x="53" y="2"/>
                  </a:lnTo>
                  <a:lnTo>
                    <a:pt x="59" y="6"/>
                  </a:lnTo>
                  <a:lnTo>
                    <a:pt x="64" y="10"/>
                  </a:lnTo>
                  <a:lnTo>
                    <a:pt x="69" y="16"/>
                  </a:lnTo>
                  <a:lnTo>
                    <a:pt x="73" y="23"/>
                  </a:lnTo>
                  <a:lnTo>
                    <a:pt x="75" y="30"/>
                  </a:lnTo>
                  <a:lnTo>
                    <a:pt x="76" y="37"/>
                  </a:lnTo>
                  <a:lnTo>
                    <a:pt x="75" y="46"/>
                  </a:lnTo>
                  <a:lnTo>
                    <a:pt x="73" y="53"/>
                  </a:lnTo>
                  <a:lnTo>
                    <a:pt x="69" y="59"/>
                  </a:lnTo>
                  <a:lnTo>
                    <a:pt x="64" y="64"/>
                  </a:lnTo>
                  <a:lnTo>
                    <a:pt x="59" y="69"/>
                  </a:lnTo>
                  <a:lnTo>
                    <a:pt x="53" y="73"/>
                  </a:lnTo>
                  <a:lnTo>
                    <a:pt x="46" y="75"/>
                  </a:lnTo>
                  <a:lnTo>
                    <a:pt x="37" y="76"/>
                  </a:lnTo>
                  <a:lnTo>
                    <a:pt x="37" y="76"/>
                  </a:lnTo>
                  <a:lnTo>
                    <a:pt x="37" y="76"/>
                  </a:lnTo>
                  <a:close/>
                </a:path>
              </a:pathLst>
            </a:custGeom>
            <a:solidFill>
              <a:srgbClr val="B4A69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6653" tIns="58327" rIns="116653" bIns="58327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434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137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8" name="Freeform 38"/>
            <p:cNvSpPr>
              <a:spLocks/>
            </p:cNvSpPr>
            <p:nvPr/>
          </p:nvSpPr>
          <p:spPr bwMode="auto">
            <a:xfrm>
              <a:off x="927" y="2521"/>
              <a:ext cx="19" cy="20"/>
            </a:xfrm>
            <a:custGeom>
              <a:avLst/>
              <a:gdLst>
                <a:gd name="T0" fmla="*/ 39 w 77"/>
                <a:gd name="T1" fmla="*/ 76 h 76"/>
                <a:gd name="T2" fmla="*/ 31 w 77"/>
                <a:gd name="T3" fmla="*/ 75 h 76"/>
                <a:gd name="T4" fmla="*/ 24 w 77"/>
                <a:gd name="T5" fmla="*/ 73 h 76"/>
                <a:gd name="T6" fmla="*/ 18 w 77"/>
                <a:gd name="T7" fmla="*/ 69 h 76"/>
                <a:gd name="T8" fmla="*/ 12 w 77"/>
                <a:gd name="T9" fmla="*/ 65 h 76"/>
                <a:gd name="T10" fmla="*/ 7 w 77"/>
                <a:gd name="T11" fmla="*/ 60 h 76"/>
                <a:gd name="T12" fmla="*/ 4 w 77"/>
                <a:gd name="T13" fmla="*/ 53 h 76"/>
                <a:gd name="T14" fmla="*/ 1 w 77"/>
                <a:gd name="T15" fmla="*/ 45 h 76"/>
                <a:gd name="T16" fmla="*/ 0 w 77"/>
                <a:gd name="T17" fmla="*/ 37 h 76"/>
                <a:gd name="T18" fmla="*/ 1 w 77"/>
                <a:gd name="T19" fmla="*/ 30 h 76"/>
                <a:gd name="T20" fmla="*/ 4 w 77"/>
                <a:gd name="T21" fmla="*/ 23 h 76"/>
                <a:gd name="T22" fmla="*/ 7 w 77"/>
                <a:gd name="T23" fmla="*/ 16 h 76"/>
                <a:gd name="T24" fmla="*/ 12 w 77"/>
                <a:gd name="T25" fmla="*/ 10 h 76"/>
                <a:gd name="T26" fmla="*/ 18 w 77"/>
                <a:gd name="T27" fmla="*/ 7 h 76"/>
                <a:gd name="T28" fmla="*/ 24 w 77"/>
                <a:gd name="T29" fmla="*/ 3 h 76"/>
                <a:gd name="T30" fmla="*/ 31 w 77"/>
                <a:gd name="T31" fmla="*/ 1 h 76"/>
                <a:gd name="T32" fmla="*/ 38 w 77"/>
                <a:gd name="T33" fmla="*/ 0 h 76"/>
                <a:gd name="T34" fmla="*/ 46 w 77"/>
                <a:gd name="T35" fmla="*/ 1 h 76"/>
                <a:gd name="T36" fmla="*/ 53 w 77"/>
                <a:gd name="T37" fmla="*/ 2 h 76"/>
                <a:gd name="T38" fmla="*/ 60 w 77"/>
                <a:gd name="T39" fmla="*/ 5 h 76"/>
                <a:gd name="T40" fmla="*/ 65 w 77"/>
                <a:gd name="T41" fmla="*/ 10 h 76"/>
                <a:gd name="T42" fmla="*/ 70 w 77"/>
                <a:gd name="T43" fmla="*/ 16 h 76"/>
                <a:gd name="T44" fmla="*/ 73 w 77"/>
                <a:gd name="T45" fmla="*/ 23 h 76"/>
                <a:gd name="T46" fmla="*/ 76 w 77"/>
                <a:gd name="T47" fmla="*/ 30 h 76"/>
                <a:gd name="T48" fmla="*/ 77 w 77"/>
                <a:gd name="T49" fmla="*/ 37 h 76"/>
                <a:gd name="T50" fmla="*/ 76 w 77"/>
                <a:gd name="T51" fmla="*/ 45 h 76"/>
                <a:gd name="T52" fmla="*/ 73 w 77"/>
                <a:gd name="T53" fmla="*/ 53 h 76"/>
                <a:gd name="T54" fmla="*/ 70 w 77"/>
                <a:gd name="T55" fmla="*/ 60 h 76"/>
                <a:gd name="T56" fmla="*/ 65 w 77"/>
                <a:gd name="T57" fmla="*/ 64 h 76"/>
                <a:gd name="T58" fmla="*/ 60 w 77"/>
                <a:gd name="T59" fmla="*/ 69 h 76"/>
                <a:gd name="T60" fmla="*/ 53 w 77"/>
                <a:gd name="T61" fmla="*/ 73 h 76"/>
                <a:gd name="T62" fmla="*/ 46 w 77"/>
                <a:gd name="T63" fmla="*/ 75 h 76"/>
                <a:gd name="T64" fmla="*/ 39 w 77"/>
                <a:gd name="T65" fmla="*/ 76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77" h="76">
                  <a:moveTo>
                    <a:pt x="39" y="76"/>
                  </a:moveTo>
                  <a:lnTo>
                    <a:pt x="31" y="75"/>
                  </a:lnTo>
                  <a:lnTo>
                    <a:pt x="24" y="73"/>
                  </a:lnTo>
                  <a:lnTo>
                    <a:pt x="18" y="69"/>
                  </a:lnTo>
                  <a:lnTo>
                    <a:pt x="12" y="65"/>
                  </a:lnTo>
                  <a:lnTo>
                    <a:pt x="7" y="60"/>
                  </a:lnTo>
                  <a:lnTo>
                    <a:pt x="4" y="53"/>
                  </a:lnTo>
                  <a:lnTo>
                    <a:pt x="1" y="45"/>
                  </a:lnTo>
                  <a:lnTo>
                    <a:pt x="0" y="37"/>
                  </a:lnTo>
                  <a:lnTo>
                    <a:pt x="1" y="30"/>
                  </a:lnTo>
                  <a:lnTo>
                    <a:pt x="4" y="23"/>
                  </a:lnTo>
                  <a:lnTo>
                    <a:pt x="7" y="16"/>
                  </a:lnTo>
                  <a:lnTo>
                    <a:pt x="12" y="10"/>
                  </a:lnTo>
                  <a:lnTo>
                    <a:pt x="18" y="7"/>
                  </a:lnTo>
                  <a:lnTo>
                    <a:pt x="24" y="3"/>
                  </a:lnTo>
                  <a:lnTo>
                    <a:pt x="31" y="1"/>
                  </a:lnTo>
                  <a:lnTo>
                    <a:pt x="38" y="0"/>
                  </a:lnTo>
                  <a:lnTo>
                    <a:pt x="46" y="1"/>
                  </a:lnTo>
                  <a:lnTo>
                    <a:pt x="53" y="2"/>
                  </a:lnTo>
                  <a:lnTo>
                    <a:pt x="60" y="5"/>
                  </a:lnTo>
                  <a:lnTo>
                    <a:pt x="65" y="10"/>
                  </a:lnTo>
                  <a:lnTo>
                    <a:pt x="70" y="16"/>
                  </a:lnTo>
                  <a:lnTo>
                    <a:pt x="73" y="23"/>
                  </a:lnTo>
                  <a:lnTo>
                    <a:pt x="76" y="30"/>
                  </a:lnTo>
                  <a:lnTo>
                    <a:pt x="77" y="37"/>
                  </a:lnTo>
                  <a:lnTo>
                    <a:pt x="76" y="45"/>
                  </a:lnTo>
                  <a:lnTo>
                    <a:pt x="73" y="53"/>
                  </a:lnTo>
                  <a:lnTo>
                    <a:pt x="70" y="60"/>
                  </a:lnTo>
                  <a:lnTo>
                    <a:pt x="65" y="64"/>
                  </a:lnTo>
                  <a:lnTo>
                    <a:pt x="60" y="69"/>
                  </a:lnTo>
                  <a:lnTo>
                    <a:pt x="53" y="73"/>
                  </a:lnTo>
                  <a:lnTo>
                    <a:pt x="46" y="75"/>
                  </a:lnTo>
                  <a:lnTo>
                    <a:pt x="39" y="76"/>
                  </a:lnTo>
                  <a:close/>
                </a:path>
              </a:pathLst>
            </a:custGeom>
            <a:solidFill>
              <a:srgbClr val="B4A69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6653" tIns="58327" rIns="116653" bIns="58327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434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137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9" name="Freeform 39"/>
            <p:cNvSpPr>
              <a:spLocks/>
            </p:cNvSpPr>
            <p:nvPr/>
          </p:nvSpPr>
          <p:spPr bwMode="auto">
            <a:xfrm>
              <a:off x="641" y="2547"/>
              <a:ext cx="19" cy="20"/>
            </a:xfrm>
            <a:custGeom>
              <a:avLst/>
              <a:gdLst>
                <a:gd name="T0" fmla="*/ 38 w 76"/>
                <a:gd name="T1" fmla="*/ 76 h 76"/>
                <a:gd name="T2" fmla="*/ 31 w 76"/>
                <a:gd name="T3" fmla="*/ 76 h 76"/>
                <a:gd name="T4" fmla="*/ 24 w 76"/>
                <a:gd name="T5" fmla="*/ 74 h 76"/>
                <a:gd name="T6" fmla="*/ 17 w 76"/>
                <a:gd name="T7" fmla="*/ 70 h 76"/>
                <a:gd name="T8" fmla="*/ 11 w 76"/>
                <a:gd name="T9" fmla="*/ 66 h 76"/>
                <a:gd name="T10" fmla="*/ 7 w 76"/>
                <a:gd name="T11" fmla="*/ 60 h 76"/>
                <a:gd name="T12" fmla="*/ 4 w 76"/>
                <a:gd name="T13" fmla="*/ 53 h 76"/>
                <a:gd name="T14" fmla="*/ 1 w 76"/>
                <a:gd name="T15" fmla="*/ 46 h 76"/>
                <a:gd name="T16" fmla="*/ 0 w 76"/>
                <a:gd name="T17" fmla="*/ 39 h 76"/>
                <a:gd name="T18" fmla="*/ 1 w 76"/>
                <a:gd name="T19" fmla="*/ 30 h 76"/>
                <a:gd name="T20" fmla="*/ 4 w 76"/>
                <a:gd name="T21" fmla="*/ 23 h 76"/>
                <a:gd name="T22" fmla="*/ 6 w 76"/>
                <a:gd name="T23" fmla="*/ 17 h 76"/>
                <a:gd name="T24" fmla="*/ 11 w 76"/>
                <a:gd name="T25" fmla="*/ 11 h 76"/>
                <a:gd name="T26" fmla="*/ 17 w 76"/>
                <a:gd name="T27" fmla="*/ 7 h 76"/>
                <a:gd name="T28" fmla="*/ 24 w 76"/>
                <a:gd name="T29" fmla="*/ 3 h 76"/>
                <a:gd name="T30" fmla="*/ 31 w 76"/>
                <a:gd name="T31" fmla="*/ 1 h 76"/>
                <a:gd name="T32" fmla="*/ 38 w 76"/>
                <a:gd name="T33" fmla="*/ 0 h 76"/>
                <a:gd name="T34" fmla="*/ 38 w 76"/>
                <a:gd name="T35" fmla="*/ 0 h 76"/>
                <a:gd name="T36" fmla="*/ 38 w 76"/>
                <a:gd name="T37" fmla="*/ 0 h 76"/>
                <a:gd name="T38" fmla="*/ 46 w 76"/>
                <a:gd name="T39" fmla="*/ 1 h 76"/>
                <a:gd name="T40" fmla="*/ 53 w 76"/>
                <a:gd name="T41" fmla="*/ 3 h 76"/>
                <a:gd name="T42" fmla="*/ 59 w 76"/>
                <a:gd name="T43" fmla="*/ 7 h 76"/>
                <a:gd name="T44" fmla="*/ 65 w 76"/>
                <a:gd name="T45" fmla="*/ 11 h 76"/>
                <a:gd name="T46" fmla="*/ 70 w 76"/>
                <a:gd name="T47" fmla="*/ 17 h 76"/>
                <a:gd name="T48" fmla="*/ 73 w 76"/>
                <a:gd name="T49" fmla="*/ 23 h 76"/>
                <a:gd name="T50" fmla="*/ 76 w 76"/>
                <a:gd name="T51" fmla="*/ 30 h 76"/>
                <a:gd name="T52" fmla="*/ 76 w 76"/>
                <a:gd name="T53" fmla="*/ 39 h 76"/>
                <a:gd name="T54" fmla="*/ 76 w 76"/>
                <a:gd name="T55" fmla="*/ 46 h 76"/>
                <a:gd name="T56" fmla="*/ 73 w 76"/>
                <a:gd name="T57" fmla="*/ 53 h 76"/>
                <a:gd name="T58" fmla="*/ 70 w 76"/>
                <a:gd name="T59" fmla="*/ 60 h 76"/>
                <a:gd name="T60" fmla="*/ 65 w 76"/>
                <a:gd name="T61" fmla="*/ 66 h 76"/>
                <a:gd name="T62" fmla="*/ 59 w 76"/>
                <a:gd name="T63" fmla="*/ 70 h 76"/>
                <a:gd name="T64" fmla="*/ 53 w 76"/>
                <a:gd name="T65" fmla="*/ 74 h 76"/>
                <a:gd name="T66" fmla="*/ 46 w 76"/>
                <a:gd name="T67" fmla="*/ 76 h 76"/>
                <a:gd name="T68" fmla="*/ 38 w 76"/>
                <a:gd name="T69" fmla="*/ 76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76" h="76">
                  <a:moveTo>
                    <a:pt x="38" y="76"/>
                  </a:moveTo>
                  <a:lnTo>
                    <a:pt x="31" y="76"/>
                  </a:lnTo>
                  <a:lnTo>
                    <a:pt x="24" y="74"/>
                  </a:lnTo>
                  <a:lnTo>
                    <a:pt x="17" y="70"/>
                  </a:lnTo>
                  <a:lnTo>
                    <a:pt x="11" y="66"/>
                  </a:lnTo>
                  <a:lnTo>
                    <a:pt x="7" y="60"/>
                  </a:lnTo>
                  <a:lnTo>
                    <a:pt x="4" y="53"/>
                  </a:lnTo>
                  <a:lnTo>
                    <a:pt x="1" y="46"/>
                  </a:lnTo>
                  <a:lnTo>
                    <a:pt x="0" y="39"/>
                  </a:lnTo>
                  <a:lnTo>
                    <a:pt x="1" y="30"/>
                  </a:lnTo>
                  <a:lnTo>
                    <a:pt x="4" y="23"/>
                  </a:lnTo>
                  <a:lnTo>
                    <a:pt x="6" y="17"/>
                  </a:lnTo>
                  <a:lnTo>
                    <a:pt x="11" y="11"/>
                  </a:lnTo>
                  <a:lnTo>
                    <a:pt x="17" y="7"/>
                  </a:lnTo>
                  <a:lnTo>
                    <a:pt x="24" y="3"/>
                  </a:lnTo>
                  <a:lnTo>
                    <a:pt x="31" y="1"/>
                  </a:lnTo>
                  <a:lnTo>
                    <a:pt x="38" y="0"/>
                  </a:lnTo>
                  <a:lnTo>
                    <a:pt x="38" y="0"/>
                  </a:lnTo>
                  <a:lnTo>
                    <a:pt x="38" y="0"/>
                  </a:lnTo>
                  <a:lnTo>
                    <a:pt x="46" y="1"/>
                  </a:lnTo>
                  <a:lnTo>
                    <a:pt x="53" y="3"/>
                  </a:lnTo>
                  <a:lnTo>
                    <a:pt x="59" y="7"/>
                  </a:lnTo>
                  <a:lnTo>
                    <a:pt x="65" y="11"/>
                  </a:lnTo>
                  <a:lnTo>
                    <a:pt x="70" y="17"/>
                  </a:lnTo>
                  <a:lnTo>
                    <a:pt x="73" y="23"/>
                  </a:lnTo>
                  <a:lnTo>
                    <a:pt x="76" y="30"/>
                  </a:lnTo>
                  <a:lnTo>
                    <a:pt x="76" y="39"/>
                  </a:lnTo>
                  <a:lnTo>
                    <a:pt x="76" y="46"/>
                  </a:lnTo>
                  <a:lnTo>
                    <a:pt x="73" y="53"/>
                  </a:lnTo>
                  <a:lnTo>
                    <a:pt x="70" y="60"/>
                  </a:lnTo>
                  <a:lnTo>
                    <a:pt x="65" y="66"/>
                  </a:lnTo>
                  <a:lnTo>
                    <a:pt x="59" y="70"/>
                  </a:lnTo>
                  <a:lnTo>
                    <a:pt x="53" y="74"/>
                  </a:lnTo>
                  <a:lnTo>
                    <a:pt x="46" y="76"/>
                  </a:lnTo>
                  <a:lnTo>
                    <a:pt x="38" y="76"/>
                  </a:lnTo>
                  <a:close/>
                </a:path>
              </a:pathLst>
            </a:custGeom>
            <a:solidFill>
              <a:srgbClr val="B4A69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6653" tIns="58327" rIns="116653" bIns="58327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434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137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0" name="Freeform 40"/>
            <p:cNvSpPr>
              <a:spLocks/>
            </p:cNvSpPr>
            <p:nvPr/>
          </p:nvSpPr>
          <p:spPr bwMode="auto">
            <a:xfrm>
              <a:off x="801" y="2587"/>
              <a:ext cx="19" cy="20"/>
            </a:xfrm>
            <a:custGeom>
              <a:avLst/>
              <a:gdLst>
                <a:gd name="T0" fmla="*/ 37 w 76"/>
                <a:gd name="T1" fmla="*/ 76 h 76"/>
                <a:gd name="T2" fmla="*/ 30 w 76"/>
                <a:gd name="T3" fmla="*/ 76 h 76"/>
                <a:gd name="T4" fmla="*/ 23 w 76"/>
                <a:gd name="T5" fmla="*/ 74 h 76"/>
                <a:gd name="T6" fmla="*/ 17 w 76"/>
                <a:gd name="T7" fmla="*/ 70 h 76"/>
                <a:gd name="T8" fmla="*/ 11 w 76"/>
                <a:gd name="T9" fmla="*/ 65 h 76"/>
                <a:gd name="T10" fmla="*/ 7 w 76"/>
                <a:gd name="T11" fmla="*/ 60 h 76"/>
                <a:gd name="T12" fmla="*/ 3 w 76"/>
                <a:gd name="T13" fmla="*/ 54 h 76"/>
                <a:gd name="T14" fmla="*/ 1 w 76"/>
                <a:gd name="T15" fmla="*/ 45 h 76"/>
                <a:gd name="T16" fmla="*/ 0 w 76"/>
                <a:gd name="T17" fmla="*/ 38 h 76"/>
                <a:gd name="T18" fmla="*/ 1 w 76"/>
                <a:gd name="T19" fmla="*/ 30 h 76"/>
                <a:gd name="T20" fmla="*/ 3 w 76"/>
                <a:gd name="T21" fmla="*/ 23 h 76"/>
                <a:gd name="T22" fmla="*/ 7 w 76"/>
                <a:gd name="T23" fmla="*/ 17 h 76"/>
                <a:gd name="T24" fmla="*/ 11 w 76"/>
                <a:gd name="T25" fmla="*/ 11 h 76"/>
                <a:gd name="T26" fmla="*/ 16 w 76"/>
                <a:gd name="T27" fmla="*/ 7 h 76"/>
                <a:gd name="T28" fmla="*/ 23 w 76"/>
                <a:gd name="T29" fmla="*/ 3 h 76"/>
                <a:gd name="T30" fmla="*/ 30 w 76"/>
                <a:gd name="T31" fmla="*/ 1 h 76"/>
                <a:gd name="T32" fmla="*/ 37 w 76"/>
                <a:gd name="T33" fmla="*/ 0 h 76"/>
                <a:gd name="T34" fmla="*/ 46 w 76"/>
                <a:gd name="T35" fmla="*/ 1 h 76"/>
                <a:gd name="T36" fmla="*/ 53 w 76"/>
                <a:gd name="T37" fmla="*/ 3 h 76"/>
                <a:gd name="T38" fmla="*/ 59 w 76"/>
                <a:gd name="T39" fmla="*/ 7 h 76"/>
                <a:gd name="T40" fmla="*/ 64 w 76"/>
                <a:gd name="T41" fmla="*/ 11 h 76"/>
                <a:gd name="T42" fmla="*/ 69 w 76"/>
                <a:gd name="T43" fmla="*/ 17 h 76"/>
                <a:gd name="T44" fmla="*/ 73 w 76"/>
                <a:gd name="T45" fmla="*/ 23 h 76"/>
                <a:gd name="T46" fmla="*/ 75 w 76"/>
                <a:gd name="T47" fmla="*/ 30 h 76"/>
                <a:gd name="T48" fmla="*/ 76 w 76"/>
                <a:gd name="T49" fmla="*/ 38 h 76"/>
                <a:gd name="T50" fmla="*/ 75 w 76"/>
                <a:gd name="T51" fmla="*/ 45 h 76"/>
                <a:gd name="T52" fmla="*/ 73 w 76"/>
                <a:gd name="T53" fmla="*/ 52 h 76"/>
                <a:gd name="T54" fmla="*/ 69 w 76"/>
                <a:gd name="T55" fmla="*/ 60 h 76"/>
                <a:gd name="T56" fmla="*/ 64 w 76"/>
                <a:gd name="T57" fmla="*/ 65 h 76"/>
                <a:gd name="T58" fmla="*/ 60 w 76"/>
                <a:gd name="T59" fmla="*/ 70 h 76"/>
                <a:gd name="T60" fmla="*/ 53 w 76"/>
                <a:gd name="T61" fmla="*/ 74 h 76"/>
                <a:gd name="T62" fmla="*/ 46 w 76"/>
                <a:gd name="T63" fmla="*/ 76 h 76"/>
                <a:gd name="T64" fmla="*/ 39 w 76"/>
                <a:gd name="T65" fmla="*/ 76 h 76"/>
                <a:gd name="T66" fmla="*/ 37 w 76"/>
                <a:gd name="T67" fmla="*/ 76 h 76"/>
                <a:gd name="T68" fmla="*/ 37 w 76"/>
                <a:gd name="T69" fmla="*/ 76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76" h="76">
                  <a:moveTo>
                    <a:pt x="37" y="76"/>
                  </a:moveTo>
                  <a:lnTo>
                    <a:pt x="30" y="76"/>
                  </a:lnTo>
                  <a:lnTo>
                    <a:pt x="23" y="74"/>
                  </a:lnTo>
                  <a:lnTo>
                    <a:pt x="17" y="70"/>
                  </a:lnTo>
                  <a:lnTo>
                    <a:pt x="11" y="65"/>
                  </a:lnTo>
                  <a:lnTo>
                    <a:pt x="7" y="60"/>
                  </a:lnTo>
                  <a:lnTo>
                    <a:pt x="3" y="54"/>
                  </a:lnTo>
                  <a:lnTo>
                    <a:pt x="1" y="45"/>
                  </a:lnTo>
                  <a:lnTo>
                    <a:pt x="0" y="38"/>
                  </a:lnTo>
                  <a:lnTo>
                    <a:pt x="1" y="30"/>
                  </a:lnTo>
                  <a:lnTo>
                    <a:pt x="3" y="23"/>
                  </a:lnTo>
                  <a:lnTo>
                    <a:pt x="7" y="17"/>
                  </a:lnTo>
                  <a:lnTo>
                    <a:pt x="11" y="11"/>
                  </a:lnTo>
                  <a:lnTo>
                    <a:pt x="16" y="7"/>
                  </a:lnTo>
                  <a:lnTo>
                    <a:pt x="23" y="3"/>
                  </a:lnTo>
                  <a:lnTo>
                    <a:pt x="30" y="1"/>
                  </a:lnTo>
                  <a:lnTo>
                    <a:pt x="37" y="0"/>
                  </a:lnTo>
                  <a:lnTo>
                    <a:pt x="46" y="1"/>
                  </a:lnTo>
                  <a:lnTo>
                    <a:pt x="53" y="3"/>
                  </a:lnTo>
                  <a:lnTo>
                    <a:pt x="59" y="7"/>
                  </a:lnTo>
                  <a:lnTo>
                    <a:pt x="64" y="11"/>
                  </a:lnTo>
                  <a:lnTo>
                    <a:pt x="69" y="17"/>
                  </a:lnTo>
                  <a:lnTo>
                    <a:pt x="73" y="23"/>
                  </a:lnTo>
                  <a:lnTo>
                    <a:pt x="75" y="30"/>
                  </a:lnTo>
                  <a:lnTo>
                    <a:pt x="76" y="38"/>
                  </a:lnTo>
                  <a:lnTo>
                    <a:pt x="75" y="45"/>
                  </a:lnTo>
                  <a:lnTo>
                    <a:pt x="73" y="52"/>
                  </a:lnTo>
                  <a:lnTo>
                    <a:pt x="69" y="60"/>
                  </a:lnTo>
                  <a:lnTo>
                    <a:pt x="64" y="65"/>
                  </a:lnTo>
                  <a:lnTo>
                    <a:pt x="60" y="70"/>
                  </a:lnTo>
                  <a:lnTo>
                    <a:pt x="53" y="74"/>
                  </a:lnTo>
                  <a:lnTo>
                    <a:pt x="46" y="76"/>
                  </a:lnTo>
                  <a:lnTo>
                    <a:pt x="39" y="76"/>
                  </a:lnTo>
                  <a:lnTo>
                    <a:pt x="37" y="76"/>
                  </a:lnTo>
                  <a:lnTo>
                    <a:pt x="37" y="76"/>
                  </a:lnTo>
                  <a:close/>
                </a:path>
              </a:pathLst>
            </a:custGeom>
            <a:solidFill>
              <a:srgbClr val="B4A69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6653" tIns="58327" rIns="116653" bIns="58327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434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137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2" name="Freeform 42"/>
            <p:cNvSpPr>
              <a:spLocks/>
            </p:cNvSpPr>
            <p:nvPr/>
          </p:nvSpPr>
          <p:spPr bwMode="auto">
            <a:xfrm>
              <a:off x="716" y="2599"/>
              <a:ext cx="19" cy="20"/>
            </a:xfrm>
            <a:custGeom>
              <a:avLst/>
              <a:gdLst>
                <a:gd name="T0" fmla="*/ 39 w 76"/>
                <a:gd name="T1" fmla="*/ 76 h 76"/>
                <a:gd name="T2" fmla="*/ 30 w 76"/>
                <a:gd name="T3" fmla="*/ 75 h 76"/>
                <a:gd name="T4" fmla="*/ 23 w 76"/>
                <a:gd name="T5" fmla="*/ 73 h 76"/>
                <a:gd name="T6" fmla="*/ 17 w 76"/>
                <a:gd name="T7" fmla="*/ 69 h 76"/>
                <a:gd name="T8" fmla="*/ 11 w 76"/>
                <a:gd name="T9" fmla="*/ 64 h 76"/>
                <a:gd name="T10" fmla="*/ 7 w 76"/>
                <a:gd name="T11" fmla="*/ 59 h 76"/>
                <a:gd name="T12" fmla="*/ 3 w 76"/>
                <a:gd name="T13" fmla="*/ 53 h 76"/>
                <a:gd name="T14" fmla="*/ 1 w 76"/>
                <a:gd name="T15" fmla="*/ 46 h 76"/>
                <a:gd name="T16" fmla="*/ 0 w 76"/>
                <a:gd name="T17" fmla="*/ 37 h 76"/>
                <a:gd name="T18" fmla="*/ 1 w 76"/>
                <a:gd name="T19" fmla="*/ 30 h 76"/>
                <a:gd name="T20" fmla="*/ 3 w 76"/>
                <a:gd name="T21" fmla="*/ 22 h 76"/>
                <a:gd name="T22" fmla="*/ 7 w 76"/>
                <a:gd name="T23" fmla="*/ 16 h 76"/>
                <a:gd name="T24" fmla="*/ 11 w 76"/>
                <a:gd name="T25" fmla="*/ 10 h 76"/>
                <a:gd name="T26" fmla="*/ 16 w 76"/>
                <a:gd name="T27" fmla="*/ 6 h 76"/>
                <a:gd name="T28" fmla="*/ 23 w 76"/>
                <a:gd name="T29" fmla="*/ 2 h 76"/>
                <a:gd name="T30" fmla="*/ 30 w 76"/>
                <a:gd name="T31" fmla="*/ 0 h 76"/>
                <a:gd name="T32" fmla="*/ 37 w 76"/>
                <a:gd name="T33" fmla="*/ 0 h 76"/>
                <a:gd name="T34" fmla="*/ 37 w 76"/>
                <a:gd name="T35" fmla="*/ 0 h 76"/>
                <a:gd name="T36" fmla="*/ 39 w 76"/>
                <a:gd name="T37" fmla="*/ 0 h 76"/>
                <a:gd name="T38" fmla="*/ 46 w 76"/>
                <a:gd name="T39" fmla="*/ 0 h 76"/>
                <a:gd name="T40" fmla="*/ 53 w 76"/>
                <a:gd name="T41" fmla="*/ 2 h 76"/>
                <a:gd name="T42" fmla="*/ 60 w 76"/>
                <a:gd name="T43" fmla="*/ 6 h 76"/>
                <a:gd name="T44" fmla="*/ 64 w 76"/>
                <a:gd name="T45" fmla="*/ 10 h 76"/>
                <a:gd name="T46" fmla="*/ 69 w 76"/>
                <a:gd name="T47" fmla="*/ 16 h 76"/>
                <a:gd name="T48" fmla="*/ 73 w 76"/>
                <a:gd name="T49" fmla="*/ 22 h 76"/>
                <a:gd name="T50" fmla="*/ 75 w 76"/>
                <a:gd name="T51" fmla="*/ 29 h 76"/>
                <a:gd name="T52" fmla="*/ 76 w 76"/>
                <a:gd name="T53" fmla="*/ 37 h 76"/>
                <a:gd name="T54" fmla="*/ 75 w 76"/>
                <a:gd name="T55" fmla="*/ 46 h 76"/>
                <a:gd name="T56" fmla="*/ 73 w 76"/>
                <a:gd name="T57" fmla="*/ 53 h 76"/>
                <a:gd name="T58" fmla="*/ 69 w 76"/>
                <a:gd name="T59" fmla="*/ 59 h 76"/>
                <a:gd name="T60" fmla="*/ 64 w 76"/>
                <a:gd name="T61" fmla="*/ 64 h 76"/>
                <a:gd name="T62" fmla="*/ 60 w 76"/>
                <a:gd name="T63" fmla="*/ 69 h 76"/>
                <a:gd name="T64" fmla="*/ 53 w 76"/>
                <a:gd name="T65" fmla="*/ 73 h 76"/>
                <a:gd name="T66" fmla="*/ 46 w 76"/>
                <a:gd name="T67" fmla="*/ 75 h 76"/>
                <a:gd name="T68" fmla="*/ 39 w 76"/>
                <a:gd name="T69" fmla="*/ 76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76" h="76">
                  <a:moveTo>
                    <a:pt x="39" y="76"/>
                  </a:moveTo>
                  <a:lnTo>
                    <a:pt x="30" y="75"/>
                  </a:lnTo>
                  <a:lnTo>
                    <a:pt x="23" y="73"/>
                  </a:lnTo>
                  <a:lnTo>
                    <a:pt x="17" y="69"/>
                  </a:lnTo>
                  <a:lnTo>
                    <a:pt x="11" y="64"/>
                  </a:lnTo>
                  <a:lnTo>
                    <a:pt x="7" y="59"/>
                  </a:lnTo>
                  <a:lnTo>
                    <a:pt x="3" y="53"/>
                  </a:lnTo>
                  <a:lnTo>
                    <a:pt x="1" y="46"/>
                  </a:lnTo>
                  <a:lnTo>
                    <a:pt x="0" y="37"/>
                  </a:lnTo>
                  <a:lnTo>
                    <a:pt x="1" y="30"/>
                  </a:lnTo>
                  <a:lnTo>
                    <a:pt x="3" y="22"/>
                  </a:lnTo>
                  <a:lnTo>
                    <a:pt x="7" y="16"/>
                  </a:lnTo>
                  <a:lnTo>
                    <a:pt x="11" y="10"/>
                  </a:lnTo>
                  <a:lnTo>
                    <a:pt x="16" y="6"/>
                  </a:lnTo>
                  <a:lnTo>
                    <a:pt x="23" y="2"/>
                  </a:lnTo>
                  <a:lnTo>
                    <a:pt x="30" y="0"/>
                  </a:lnTo>
                  <a:lnTo>
                    <a:pt x="37" y="0"/>
                  </a:lnTo>
                  <a:lnTo>
                    <a:pt x="37" y="0"/>
                  </a:lnTo>
                  <a:lnTo>
                    <a:pt x="39" y="0"/>
                  </a:lnTo>
                  <a:lnTo>
                    <a:pt x="46" y="0"/>
                  </a:lnTo>
                  <a:lnTo>
                    <a:pt x="53" y="2"/>
                  </a:lnTo>
                  <a:lnTo>
                    <a:pt x="60" y="6"/>
                  </a:lnTo>
                  <a:lnTo>
                    <a:pt x="64" y="10"/>
                  </a:lnTo>
                  <a:lnTo>
                    <a:pt x="69" y="16"/>
                  </a:lnTo>
                  <a:lnTo>
                    <a:pt x="73" y="22"/>
                  </a:lnTo>
                  <a:lnTo>
                    <a:pt x="75" y="29"/>
                  </a:lnTo>
                  <a:lnTo>
                    <a:pt x="76" y="37"/>
                  </a:lnTo>
                  <a:lnTo>
                    <a:pt x="75" y="46"/>
                  </a:lnTo>
                  <a:lnTo>
                    <a:pt x="73" y="53"/>
                  </a:lnTo>
                  <a:lnTo>
                    <a:pt x="69" y="59"/>
                  </a:lnTo>
                  <a:lnTo>
                    <a:pt x="64" y="64"/>
                  </a:lnTo>
                  <a:lnTo>
                    <a:pt x="60" y="69"/>
                  </a:lnTo>
                  <a:lnTo>
                    <a:pt x="53" y="73"/>
                  </a:lnTo>
                  <a:lnTo>
                    <a:pt x="46" y="75"/>
                  </a:lnTo>
                  <a:lnTo>
                    <a:pt x="39" y="76"/>
                  </a:lnTo>
                  <a:close/>
                </a:path>
              </a:pathLst>
            </a:custGeom>
            <a:solidFill>
              <a:srgbClr val="B4A69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6653" tIns="58327" rIns="116653" bIns="58327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434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137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184" name="Прямоугольник 183"/>
          <p:cNvSpPr/>
          <p:nvPr/>
        </p:nvSpPr>
        <p:spPr>
          <a:xfrm>
            <a:off x="6706606" y="2842747"/>
            <a:ext cx="2140871" cy="411057"/>
          </a:xfrm>
          <a:prstGeom prst="rect">
            <a:avLst/>
          </a:prstGeom>
        </p:spPr>
        <p:txBody>
          <a:bodyPr wrap="none" lIns="81389" tIns="40695" rIns="81389" bIns="40695">
            <a:spAutoFit/>
          </a:bodyPr>
          <a:lstStyle/>
          <a:p>
            <a:pPr marL="0" marR="0" lvl="0" indent="0" algn="l" defTabSz="1166466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137" b="1" i="0" u="none" strike="noStrike" kern="1200" cap="none" spc="0" normalizeH="0" baseline="0" noProof="0" dirty="0">
                <a:ln>
                  <a:noFill/>
                </a:ln>
                <a:solidFill>
                  <a:srgbClr val="14447A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Campylobacter</a:t>
            </a:r>
            <a:endParaRPr kumimoji="0" lang="ru-RU" altLang="ru-RU" sz="2137" b="1" i="0" u="none" strike="noStrike" kern="1200" cap="none" spc="0" normalizeH="0" baseline="0" noProof="0" dirty="0">
              <a:ln>
                <a:noFill/>
              </a:ln>
              <a:solidFill>
                <a:srgbClr val="14447A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85" name="TextBox 184"/>
          <p:cNvSpPr txBox="1"/>
          <p:nvPr/>
        </p:nvSpPr>
        <p:spPr>
          <a:xfrm>
            <a:off x="9592209" y="6308287"/>
            <a:ext cx="164432" cy="276854"/>
          </a:xfrm>
          <a:prstGeom prst="rect">
            <a:avLst/>
          </a:prstGeom>
          <a:noFill/>
        </p:spPr>
        <p:txBody>
          <a:bodyPr wrap="none" lIns="81389" tIns="40695" rIns="81389" bIns="40695" rtlCol="0">
            <a:spAutoFit/>
          </a:bodyPr>
          <a:lstStyle/>
          <a:p>
            <a:pPr marL="0" marR="0" lvl="0" indent="0" algn="l" defTabSz="9434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65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91" name="Rectangle 17"/>
          <p:cNvSpPr>
            <a:spLocks noChangeArrowheads="1"/>
          </p:cNvSpPr>
          <p:nvPr/>
        </p:nvSpPr>
        <p:spPr bwMode="auto">
          <a:xfrm>
            <a:off x="5008336" y="1909650"/>
            <a:ext cx="1389303" cy="27007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1166466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755" b="1" i="0" u="none" strike="noStrike" kern="1200" cap="none" spc="0" normalizeH="0" baseline="0" noProof="0" dirty="0">
                <a:ln>
                  <a:noFill/>
                </a:ln>
                <a:solidFill>
                  <a:srgbClr val="FEFEF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А</a:t>
            </a:r>
            <a:r>
              <a:rPr kumimoji="0" lang="az-Latn-AZ" altLang="ru-RU" sz="1755" b="1" i="0" u="none" strike="noStrike" kern="1200" cap="none" spc="0" normalizeH="0" baseline="0" noProof="0" dirty="0">
                <a:ln>
                  <a:noFill/>
                </a:ln>
                <a:solidFill>
                  <a:srgbClr val="FEFEF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Ə</a:t>
            </a:r>
            <a:r>
              <a:rPr kumimoji="0" lang="en-US" altLang="ru-RU" sz="1755" b="1" i="0" u="none" strike="noStrike" kern="1200" cap="none" spc="0" normalizeH="0" baseline="0" noProof="0" dirty="0">
                <a:ln>
                  <a:noFill/>
                </a:ln>
                <a:solidFill>
                  <a:srgbClr val="FEFEF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I</a:t>
            </a:r>
            <a:endParaRPr kumimoji="0" lang="ru-RU" altLang="ru-RU" sz="1755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92" name="Rectangle 21"/>
          <p:cNvSpPr>
            <a:spLocks noChangeArrowheads="1"/>
          </p:cNvSpPr>
          <p:nvPr/>
        </p:nvSpPr>
        <p:spPr bwMode="auto">
          <a:xfrm>
            <a:off x="4230267" y="2566531"/>
            <a:ext cx="2211545" cy="13154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1166466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az-Latn-AZ" altLang="ru-RU" sz="2137" b="1" i="0" u="none" strike="noStrike" kern="1200" cap="none" spc="0" normalizeH="0" baseline="0" noProof="0" dirty="0">
                <a:ln>
                  <a:noFill/>
                </a:ln>
                <a:solidFill>
                  <a:srgbClr val="14447A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Şərti patogen flora </a:t>
            </a:r>
            <a:endParaRPr kumimoji="0" lang="ru-RU" altLang="ru-RU" sz="2137" b="1" i="0" u="none" strike="noStrike" kern="1200" cap="none" spc="0" normalizeH="0" baseline="0" noProof="0" dirty="0">
              <a:ln>
                <a:noFill/>
              </a:ln>
              <a:solidFill>
                <a:srgbClr val="14447A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  <a:p>
            <a:pPr marL="0" marR="0" lvl="0" indent="0" algn="l" defTabSz="1166466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ru-RU" sz="2137" b="1" i="0" u="none" strike="noStrike" kern="1200" cap="none" spc="0" normalizeH="0" baseline="0" noProof="0" dirty="0">
                <a:ln>
                  <a:noFill/>
                </a:ln>
                <a:solidFill>
                  <a:srgbClr val="14447A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Clostridium </a:t>
            </a:r>
            <a:r>
              <a:rPr kumimoji="0" lang="en-US" altLang="ru-RU" sz="2137" b="1" i="0" u="none" strike="noStrike" kern="1200" cap="none" spc="0" normalizeH="0" baseline="0" noProof="0" dirty="0" err="1">
                <a:ln>
                  <a:noFill/>
                </a:ln>
                <a:solidFill>
                  <a:srgbClr val="14447A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difficile</a:t>
            </a:r>
            <a:endParaRPr kumimoji="0" lang="ru-RU" altLang="ru-RU" sz="2315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pic>
        <p:nvPicPr>
          <p:cNvPr id="187" name="Рисунок 186">
            <a:extLst>
              <a:ext uri="{FF2B5EF4-FFF2-40B4-BE49-F238E27FC236}">
                <a16:creationId xmlns:a16="http://schemas.microsoft.com/office/drawing/2014/main" id="{424E1874-CBAC-457F-BF21-6EB9272FA44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67388" y="6585141"/>
            <a:ext cx="1645267" cy="2221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458082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Freeform 10"/>
          <p:cNvSpPr>
            <a:spLocks/>
          </p:cNvSpPr>
          <p:nvPr/>
        </p:nvSpPr>
        <p:spPr bwMode="auto">
          <a:xfrm>
            <a:off x="9176786" y="671661"/>
            <a:ext cx="1441959" cy="860720"/>
          </a:xfrm>
          <a:custGeom>
            <a:avLst/>
            <a:gdLst>
              <a:gd name="T0" fmla="*/ 0 w 2850"/>
              <a:gd name="T1" fmla="*/ 0 h 1699"/>
              <a:gd name="T2" fmla="*/ 2850 w 2850"/>
              <a:gd name="T3" fmla="*/ 0 h 1699"/>
              <a:gd name="T4" fmla="*/ 2810 w 2850"/>
              <a:gd name="T5" fmla="*/ 59 h 1699"/>
              <a:gd name="T6" fmla="*/ 2769 w 2850"/>
              <a:gd name="T7" fmla="*/ 120 h 1699"/>
              <a:gd name="T8" fmla="*/ 2727 w 2850"/>
              <a:gd name="T9" fmla="*/ 185 h 1699"/>
              <a:gd name="T10" fmla="*/ 2685 w 2850"/>
              <a:gd name="T11" fmla="*/ 252 h 1699"/>
              <a:gd name="T12" fmla="*/ 2641 w 2850"/>
              <a:gd name="T13" fmla="*/ 322 h 1699"/>
              <a:gd name="T14" fmla="*/ 2595 w 2850"/>
              <a:gd name="T15" fmla="*/ 394 h 1699"/>
              <a:gd name="T16" fmla="*/ 2548 w 2850"/>
              <a:gd name="T17" fmla="*/ 466 h 1699"/>
              <a:gd name="T18" fmla="*/ 2499 w 2850"/>
              <a:gd name="T19" fmla="*/ 540 h 1699"/>
              <a:gd name="T20" fmla="*/ 2447 w 2850"/>
              <a:gd name="T21" fmla="*/ 614 h 1699"/>
              <a:gd name="T22" fmla="*/ 2394 w 2850"/>
              <a:gd name="T23" fmla="*/ 688 h 1699"/>
              <a:gd name="T24" fmla="*/ 2337 w 2850"/>
              <a:gd name="T25" fmla="*/ 764 h 1699"/>
              <a:gd name="T26" fmla="*/ 2277 w 2850"/>
              <a:gd name="T27" fmla="*/ 838 h 1699"/>
              <a:gd name="T28" fmla="*/ 2214 w 2850"/>
              <a:gd name="T29" fmla="*/ 911 h 1699"/>
              <a:gd name="T30" fmla="*/ 2148 w 2850"/>
              <a:gd name="T31" fmla="*/ 984 h 1699"/>
              <a:gd name="T32" fmla="*/ 2079 w 2850"/>
              <a:gd name="T33" fmla="*/ 1055 h 1699"/>
              <a:gd name="T34" fmla="*/ 2006 w 2850"/>
              <a:gd name="T35" fmla="*/ 1125 h 1699"/>
              <a:gd name="T36" fmla="*/ 1929 w 2850"/>
              <a:gd name="T37" fmla="*/ 1192 h 1699"/>
              <a:gd name="T38" fmla="*/ 1848 w 2850"/>
              <a:gd name="T39" fmla="*/ 1257 h 1699"/>
              <a:gd name="T40" fmla="*/ 1763 w 2850"/>
              <a:gd name="T41" fmla="*/ 1318 h 1699"/>
              <a:gd name="T42" fmla="*/ 1673 w 2850"/>
              <a:gd name="T43" fmla="*/ 1377 h 1699"/>
              <a:gd name="T44" fmla="*/ 1578 w 2850"/>
              <a:gd name="T45" fmla="*/ 1431 h 1699"/>
              <a:gd name="T46" fmla="*/ 1477 w 2850"/>
              <a:gd name="T47" fmla="*/ 1482 h 1699"/>
              <a:gd name="T48" fmla="*/ 1372 w 2850"/>
              <a:gd name="T49" fmla="*/ 1528 h 1699"/>
              <a:gd name="T50" fmla="*/ 1263 w 2850"/>
              <a:gd name="T51" fmla="*/ 1569 h 1699"/>
              <a:gd name="T52" fmla="*/ 1146 w 2850"/>
              <a:gd name="T53" fmla="*/ 1606 h 1699"/>
              <a:gd name="T54" fmla="*/ 1023 w 2850"/>
              <a:gd name="T55" fmla="*/ 1636 h 1699"/>
              <a:gd name="T56" fmla="*/ 896 w 2850"/>
              <a:gd name="T57" fmla="*/ 1662 h 1699"/>
              <a:gd name="T58" fmla="*/ 761 w 2850"/>
              <a:gd name="T59" fmla="*/ 1681 h 1699"/>
              <a:gd name="T60" fmla="*/ 620 w 2850"/>
              <a:gd name="T61" fmla="*/ 1693 h 1699"/>
              <a:gd name="T62" fmla="*/ 473 w 2850"/>
              <a:gd name="T63" fmla="*/ 1699 h 1699"/>
              <a:gd name="T64" fmla="*/ 318 w 2850"/>
              <a:gd name="T65" fmla="*/ 1696 h 1699"/>
              <a:gd name="T66" fmla="*/ 157 w 2850"/>
              <a:gd name="T67" fmla="*/ 1687 h 1699"/>
              <a:gd name="T68" fmla="*/ 0 w 2850"/>
              <a:gd name="T69" fmla="*/ 1687 h 1699"/>
              <a:gd name="T70" fmla="*/ 0 w 2850"/>
              <a:gd name="T71" fmla="*/ 0 h 16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</a:cxnLst>
            <a:rect l="0" t="0" r="r" b="b"/>
            <a:pathLst>
              <a:path w="2850" h="1699">
                <a:moveTo>
                  <a:pt x="0" y="0"/>
                </a:moveTo>
                <a:lnTo>
                  <a:pt x="2850" y="0"/>
                </a:lnTo>
                <a:lnTo>
                  <a:pt x="2810" y="59"/>
                </a:lnTo>
                <a:lnTo>
                  <a:pt x="2769" y="120"/>
                </a:lnTo>
                <a:lnTo>
                  <a:pt x="2727" y="185"/>
                </a:lnTo>
                <a:lnTo>
                  <a:pt x="2685" y="252"/>
                </a:lnTo>
                <a:lnTo>
                  <a:pt x="2641" y="322"/>
                </a:lnTo>
                <a:lnTo>
                  <a:pt x="2595" y="394"/>
                </a:lnTo>
                <a:lnTo>
                  <a:pt x="2548" y="466"/>
                </a:lnTo>
                <a:lnTo>
                  <a:pt x="2499" y="540"/>
                </a:lnTo>
                <a:lnTo>
                  <a:pt x="2447" y="614"/>
                </a:lnTo>
                <a:lnTo>
                  <a:pt x="2394" y="688"/>
                </a:lnTo>
                <a:lnTo>
                  <a:pt x="2337" y="764"/>
                </a:lnTo>
                <a:lnTo>
                  <a:pt x="2277" y="838"/>
                </a:lnTo>
                <a:lnTo>
                  <a:pt x="2214" y="911"/>
                </a:lnTo>
                <a:lnTo>
                  <a:pt x="2148" y="984"/>
                </a:lnTo>
                <a:lnTo>
                  <a:pt x="2079" y="1055"/>
                </a:lnTo>
                <a:lnTo>
                  <a:pt x="2006" y="1125"/>
                </a:lnTo>
                <a:lnTo>
                  <a:pt x="1929" y="1192"/>
                </a:lnTo>
                <a:lnTo>
                  <a:pt x="1848" y="1257"/>
                </a:lnTo>
                <a:lnTo>
                  <a:pt x="1763" y="1318"/>
                </a:lnTo>
                <a:lnTo>
                  <a:pt x="1673" y="1377"/>
                </a:lnTo>
                <a:lnTo>
                  <a:pt x="1578" y="1431"/>
                </a:lnTo>
                <a:lnTo>
                  <a:pt x="1477" y="1482"/>
                </a:lnTo>
                <a:lnTo>
                  <a:pt x="1372" y="1528"/>
                </a:lnTo>
                <a:lnTo>
                  <a:pt x="1263" y="1569"/>
                </a:lnTo>
                <a:lnTo>
                  <a:pt x="1146" y="1606"/>
                </a:lnTo>
                <a:lnTo>
                  <a:pt x="1023" y="1636"/>
                </a:lnTo>
                <a:lnTo>
                  <a:pt x="896" y="1662"/>
                </a:lnTo>
                <a:lnTo>
                  <a:pt x="761" y="1681"/>
                </a:lnTo>
                <a:lnTo>
                  <a:pt x="620" y="1693"/>
                </a:lnTo>
                <a:lnTo>
                  <a:pt x="473" y="1699"/>
                </a:lnTo>
                <a:lnTo>
                  <a:pt x="318" y="1696"/>
                </a:lnTo>
                <a:lnTo>
                  <a:pt x="157" y="1687"/>
                </a:lnTo>
                <a:lnTo>
                  <a:pt x="0" y="1687"/>
                </a:lnTo>
                <a:lnTo>
                  <a:pt x="0" y="0"/>
                </a:lnTo>
                <a:close/>
              </a:path>
            </a:pathLst>
          </a:custGeom>
          <a:solidFill>
            <a:srgbClr val="97C4DC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16653" tIns="58327" rIns="116653" bIns="58327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434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218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9" name="Freeform 11"/>
          <p:cNvSpPr>
            <a:spLocks/>
          </p:cNvSpPr>
          <p:nvPr/>
        </p:nvSpPr>
        <p:spPr bwMode="auto">
          <a:xfrm>
            <a:off x="0" y="12624"/>
            <a:ext cx="12192000" cy="1581877"/>
          </a:xfrm>
          <a:custGeom>
            <a:avLst/>
            <a:gdLst>
              <a:gd name="T0" fmla="*/ 0 w 18163"/>
              <a:gd name="T1" fmla="*/ 0 h 1689"/>
              <a:gd name="T2" fmla="*/ 18163 w 18163"/>
              <a:gd name="T3" fmla="*/ 0 h 1689"/>
              <a:gd name="T4" fmla="*/ 18057 w 18163"/>
              <a:gd name="T5" fmla="*/ 48 h 1689"/>
              <a:gd name="T6" fmla="*/ 17955 w 18163"/>
              <a:gd name="T7" fmla="*/ 100 h 1689"/>
              <a:gd name="T8" fmla="*/ 17859 w 18163"/>
              <a:gd name="T9" fmla="*/ 157 h 1689"/>
              <a:gd name="T10" fmla="*/ 17767 w 18163"/>
              <a:gd name="T11" fmla="*/ 216 h 1689"/>
              <a:gd name="T12" fmla="*/ 17678 w 18163"/>
              <a:gd name="T13" fmla="*/ 278 h 1689"/>
              <a:gd name="T14" fmla="*/ 17593 w 18163"/>
              <a:gd name="T15" fmla="*/ 343 h 1689"/>
              <a:gd name="T16" fmla="*/ 17511 w 18163"/>
              <a:gd name="T17" fmla="*/ 410 h 1689"/>
              <a:gd name="T18" fmla="*/ 17432 w 18163"/>
              <a:gd name="T19" fmla="*/ 478 h 1689"/>
              <a:gd name="T20" fmla="*/ 17355 w 18163"/>
              <a:gd name="T21" fmla="*/ 549 h 1689"/>
              <a:gd name="T22" fmla="*/ 17281 w 18163"/>
              <a:gd name="T23" fmla="*/ 621 h 1689"/>
              <a:gd name="T24" fmla="*/ 17208 w 18163"/>
              <a:gd name="T25" fmla="*/ 693 h 1689"/>
              <a:gd name="T26" fmla="*/ 17136 w 18163"/>
              <a:gd name="T27" fmla="*/ 765 h 1689"/>
              <a:gd name="T28" fmla="*/ 16995 w 18163"/>
              <a:gd name="T29" fmla="*/ 910 h 1689"/>
              <a:gd name="T30" fmla="*/ 16858 w 18163"/>
              <a:gd name="T31" fmla="*/ 1051 h 1689"/>
              <a:gd name="T32" fmla="*/ 16788 w 18163"/>
              <a:gd name="T33" fmla="*/ 1119 h 1689"/>
              <a:gd name="T34" fmla="*/ 16717 w 18163"/>
              <a:gd name="T35" fmla="*/ 1186 h 1689"/>
              <a:gd name="T36" fmla="*/ 16646 w 18163"/>
              <a:gd name="T37" fmla="*/ 1250 h 1689"/>
              <a:gd name="T38" fmla="*/ 16573 w 18163"/>
              <a:gd name="T39" fmla="*/ 1311 h 1689"/>
              <a:gd name="T40" fmla="*/ 16499 w 18163"/>
              <a:gd name="T41" fmla="*/ 1369 h 1689"/>
              <a:gd name="T42" fmla="*/ 16422 w 18163"/>
              <a:gd name="T43" fmla="*/ 1423 h 1689"/>
              <a:gd name="T44" fmla="*/ 16343 w 18163"/>
              <a:gd name="T45" fmla="*/ 1474 h 1689"/>
              <a:gd name="T46" fmla="*/ 16262 w 18163"/>
              <a:gd name="T47" fmla="*/ 1520 h 1689"/>
              <a:gd name="T48" fmla="*/ 16177 w 18163"/>
              <a:gd name="T49" fmla="*/ 1561 h 1689"/>
              <a:gd name="T50" fmla="*/ 16089 w 18163"/>
              <a:gd name="T51" fmla="*/ 1597 h 1689"/>
              <a:gd name="T52" fmla="*/ 15997 w 18163"/>
              <a:gd name="T53" fmla="*/ 1628 h 1689"/>
              <a:gd name="T54" fmla="*/ 15901 w 18163"/>
              <a:gd name="T55" fmla="*/ 1653 h 1689"/>
              <a:gd name="T56" fmla="*/ 15801 w 18163"/>
              <a:gd name="T57" fmla="*/ 1672 h 1689"/>
              <a:gd name="T58" fmla="*/ 15696 w 18163"/>
              <a:gd name="T59" fmla="*/ 1683 h 1689"/>
              <a:gd name="T60" fmla="*/ 15585 w 18163"/>
              <a:gd name="T61" fmla="*/ 1689 h 1689"/>
              <a:gd name="T62" fmla="*/ 15470 w 18163"/>
              <a:gd name="T63" fmla="*/ 1687 h 1689"/>
              <a:gd name="T64" fmla="*/ 0 w 18163"/>
              <a:gd name="T65" fmla="*/ 1687 h 1689"/>
              <a:gd name="T66" fmla="*/ 0 w 18163"/>
              <a:gd name="T67" fmla="*/ 0 h 168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18163" h="1689">
                <a:moveTo>
                  <a:pt x="0" y="0"/>
                </a:moveTo>
                <a:lnTo>
                  <a:pt x="18163" y="0"/>
                </a:lnTo>
                <a:lnTo>
                  <a:pt x="18057" y="48"/>
                </a:lnTo>
                <a:lnTo>
                  <a:pt x="17955" y="100"/>
                </a:lnTo>
                <a:lnTo>
                  <a:pt x="17859" y="157"/>
                </a:lnTo>
                <a:lnTo>
                  <a:pt x="17767" y="216"/>
                </a:lnTo>
                <a:lnTo>
                  <a:pt x="17678" y="278"/>
                </a:lnTo>
                <a:lnTo>
                  <a:pt x="17593" y="343"/>
                </a:lnTo>
                <a:lnTo>
                  <a:pt x="17511" y="410"/>
                </a:lnTo>
                <a:lnTo>
                  <a:pt x="17432" y="478"/>
                </a:lnTo>
                <a:lnTo>
                  <a:pt x="17355" y="549"/>
                </a:lnTo>
                <a:lnTo>
                  <a:pt x="17281" y="621"/>
                </a:lnTo>
                <a:lnTo>
                  <a:pt x="17208" y="693"/>
                </a:lnTo>
                <a:lnTo>
                  <a:pt x="17136" y="765"/>
                </a:lnTo>
                <a:lnTo>
                  <a:pt x="16995" y="910"/>
                </a:lnTo>
                <a:lnTo>
                  <a:pt x="16858" y="1051"/>
                </a:lnTo>
                <a:lnTo>
                  <a:pt x="16788" y="1119"/>
                </a:lnTo>
                <a:lnTo>
                  <a:pt x="16717" y="1186"/>
                </a:lnTo>
                <a:lnTo>
                  <a:pt x="16646" y="1250"/>
                </a:lnTo>
                <a:lnTo>
                  <a:pt x="16573" y="1311"/>
                </a:lnTo>
                <a:lnTo>
                  <a:pt x="16499" y="1369"/>
                </a:lnTo>
                <a:lnTo>
                  <a:pt x="16422" y="1423"/>
                </a:lnTo>
                <a:lnTo>
                  <a:pt x="16343" y="1474"/>
                </a:lnTo>
                <a:lnTo>
                  <a:pt x="16262" y="1520"/>
                </a:lnTo>
                <a:lnTo>
                  <a:pt x="16177" y="1561"/>
                </a:lnTo>
                <a:lnTo>
                  <a:pt x="16089" y="1597"/>
                </a:lnTo>
                <a:lnTo>
                  <a:pt x="15997" y="1628"/>
                </a:lnTo>
                <a:lnTo>
                  <a:pt x="15901" y="1653"/>
                </a:lnTo>
                <a:lnTo>
                  <a:pt x="15801" y="1672"/>
                </a:lnTo>
                <a:lnTo>
                  <a:pt x="15696" y="1683"/>
                </a:lnTo>
                <a:lnTo>
                  <a:pt x="15585" y="1689"/>
                </a:lnTo>
                <a:lnTo>
                  <a:pt x="15470" y="1687"/>
                </a:lnTo>
                <a:lnTo>
                  <a:pt x="0" y="1687"/>
                </a:lnTo>
                <a:lnTo>
                  <a:pt x="0" y="0"/>
                </a:lnTo>
                <a:close/>
              </a:path>
            </a:pathLst>
          </a:custGeom>
          <a:solidFill>
            <a:srgbClr val="DBF0FC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16653" tIns="58327" rIns="116653" bIns="58327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434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218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3" name="Group 4"/>
          <p:cNvGrpSpPr>
            <a:grpSpLocks noChangeAspect="1"/>
          </p:cNvGrpSpPr>
          <p:nvPr/>
        </p:nvGrpSpPr>
        <p:grpSpPr bwMode="auto">
          <a:xfrm>
            <a:off x="540878" y="59325"/>
            <a:ext cx="9765628" cy="6798675"/>
            <a:chOff x="-87" y="0"/>
            <a:chExt cx="4822" cy="3357"/>
          </a:xfrm>
        </p:grpSpPr>
        <p:sp>
          <p:nvSpPr>
            <p:cNvPr id="4" name="AutoShape 3"/>
            <p:cNvSpPr>
              <a:spLocks noChangeAspect="1" noChangeArrowheads="1" noTextEdit="1"/>
            </p:cNvSpPr>
            <p:nvPr/>
          </p:nvSpPr>
          <p:spPr bwMode="auto">
            <a:xfrm>
              <a:off x="28" y="0"/>
              <a:ext cx="4707" cy="335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16653" tIns="58327" rIns="116653" bIns="58327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434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218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9" name="Freeform 12"/>
            <p:cNvSpPr>
              <a:spLocks/>
            </p:cNvSpPr>
            <p:nvPr/>
          </p:nvSpPr>
          <p:spPr bwMode="auto">
            <a:xfrm>
              <a:off x="3652" y="497"/>
              <a:ext cx="808" cy="0"/>
            </a:xfrm>
            <a:custGeom>
              <a:avLst/>
              <a:gdLst>
                <a:gd name="T0" fmla="*/ 0 w 3234"/>
                <a:gd name="T1" fmla="*/ 3234 w 3234"/>
                <a:gd name="T2" fmla="*/ 0 w 3234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3234">
                  <a:moveTo>
                    <a:pt x="0" y="0"/>
                  </a:moveTo>
                  <a:lnTo>
                    <a:pt x="3234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4763">
              <a:solidFill>
                <a:srgbClr val="14447A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16653" tIns="58327" rIns="116653" bIns="58327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434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218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0" name="Freeform 13"/>
            <p:cNvSpPr>
              <a:spLocks/>
            </p:cNvSpPr>
            <p:nvPr/>
          </p:nvSpPr>
          <p:spPr bwMode="auto">
            <a:xfrm>
              <a:off x="3660" y="311"/>
              <a:ext cx="801" cy="0"/>
            </a:xfrm>
            <a:custGeom>
              <a:avLst/>
              <a:gdLst>
                <a:gd name="T0" fmla="*/ 0 w 3202"/>
                <a:gd name="T1" fmla="*/ 3202 w 3202"/>
                <a:gd name="T2" fmla="*/ 0 w 3202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3202">
                  <a:moveTo>
                    <a:pt x="0" y="0"/>
                  </a:moveTo>
                  <a:lnTo>
                    <a:pt x="3202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4763">
              <a:solidFill>
                <a:srgbClr val="14447A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16653" tIns="58327" rIns="116653" bIns="58327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434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218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5" name="Rectangle 19"/>
            <p:cNvSpPr>
              <a:spLocks noChangeArrowheads="1"/>
            </p:cNvSpPr>
            <p:nvPr/>
          </p:nvSpPr>
          <p:spPr bwMode="auto">
            <a:xfrm>
              <a:off x="-87" y="182"/>
              <a:ext cx="2911" cy="37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1166575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ru-RU" sz="2493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14447A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rPr>
                <a:t>İshalın</a:t>
              </a:r>
              <a:r>
                <a:rPr kumimoji="0" lang="en-US" altLang="ru-RU" sz="2493" b="1" i="0" u="none" strike="noStrike" kern="1200" cap="none" spc="0" normalizeH="0" baseline="0" noProof="0" dirty="0">
                  <a:ln>
                    <a:noFill/>
                  </a:ln>
                  <a:solidFill>
                    <a:srgbClr val="14447A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rPr>
                <a:t> </a:t>
              </a:r>
              <a:r>
                <a:rPr kumimoji="0" lang="en-US" altLang="ru-RU" sz="2493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14447A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rPr>
                <a:t>müalicəsini</a:t>
              </a:r>
              <a:r>
                <a:rPr kumimoji="0" lang="en-US" altLang="ru-RU" sz="2493" b="1" i="0" u="none" strike="noStrike" kern="1200" cap="none" spc="0" normalizeH="0" baseline="0" noProof="0" dirty="0">
                  <a:ln>
                    <a:noFill/>
                  </a:ln>
                  <a:solidFill>
                    <a:srgbClr val="14447A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rPr>
                <a:t> </a:t>
              </a:r>
              <a:r>
                <a:rPr kumimoji="0" lang="en-US" altLang="ru-RU" sz="2493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14447A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rPr>
                <a:t>nədən</a:t>
              </a:r>
              <a:r>
                <a:rPr kumimoji="0" lang="en-US" altLang="ru-RU" sz="2493" b="1" i="0" u="none" strike="noStrike" kern="1200" cap="none" spc="0" normalizeH="0" baseline="0" noProof="0" dirty="0">
                  <a:ln>
                    <a:noFill/>
                  </a:ln>
                  <a:solidFill>
                    <a:srgbClr val="14447A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rPr>
                <a:t> </a:t>
              </a:r>
              <a:r>
                <a:rPr kumimoji="0" lang="en-US" altLang="ru-RU" sz="2493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14447A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rPr>
                <a:t>başlamaq</a:t>
              </a:r>
              <a:r>
                <a:rPr kumimoji="0" lang="en-US" altLang="ru-RU" sz="2493" b="1" i="0" u="none" strike="noStrike" kern="1200" cap="none" spc="0" normalizeH="0" baseline="0" noProof="0" dirty="0">
                  <a:ln>
                    <a:noFill/>
                  </a:ln>
                  <a:solidFill>
                    <a:srgbClr val="14447A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rPr>
                <a:t> </a:t>
              </a:r>
              <a:r>
                <a:rPr kumimoji="0" lang="en-US" altLang="ru-RU" sz="2493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14447A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rPr>
                <a:t>lazımdır</a:t>
              </a:r>
              <a:r>
                <a:rPr kumimoji="0" lang="en-US" altLang="ru-RU" sz="2493" b="1" i="0" u="none" strike="noStrike" kern="1200" cap="none" spc="0" normalizeH="0" baseline="0" noProof="0" dirty="0">
                  <a:ln>
                    <a:noFill/>
                  </a:ln>
                  <a:solidFill>
                    <a:srgbClr val="14447A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rPr>
                <a:t>?</a:t>
              </a:r>
              <a:endParaRPr kumimoji="0" lang="ru-RU" altLang="ru-RU" sz="249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sp>
          <p:nvSpPr>
            <p:cNvPr id="16" name="Rectangle 20"/>
            <p:cNvSpPr>
              <a:spLocks noChangeArrowheads="1"/>
            </p:cNvSpPr>
            <p:nvPr/>
          </p:nvSpPr>
          <p:spPr bwMode="auto">
            <a:xfrm>
              <a:off x="2739" y="1538"/>
              <a:ext cx="225" cy="2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1166575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altLang="ru-RU" sz="3190" b="0" i="0" u="none" strike="noStrike" kern="1200" cap="none" spc="0" normalizeH="0" baseline="0" noProof="0" dirty="0">
                  <a:ln>
                    <a:noFill/>
                  </a:ln>
                  <a:solidFill>
                    <a:srgbClr val="14447A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rPr>
                <a:t>    </a:t>
              </a:r>
              <a:endParaRPr kumimoji="0" lang="ru-RU" altLang="ru-RU" sz="2297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sp>
          <p:nvSpPr>
            <p:cNvPr id="18" name="Rectangle 22"/>
            <p:cNvSpPr>
              <a:spLocks noChangeArrowheads="1"/>
            </p:cNvSpPr>
            <p:nvPr/>
          </p:nvSpPr>
          <p:spPr bwMode="auto">
            <a:xfrm>
              <a:off x="2581" y="1969"/>
              <a:ext cx="1634" cy="21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1166575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altLang="ru-RU" sz="2849" b="0" i="0" u="none" strike="noStrike" kern="1200" cap="none" spc="0" normalizeH="0" baseline="0" noProof="0" dirty="0">
                  <a:ln>
                    <a:noFill/>
                  </a:ln>
                  <a:solidFill>
                    <a:srgbClr val="14447A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rPr>
                <a:t>     </a:t>
              </a:r>
              <a:r>
                <a:rPr kumimoji="0" lang="az-Latn-AZ" altLang="ru-RU" sz="2849" b="0" i="0" u="none" strike="noStrike" kern="1200" cap="none" spc="0" normalizeH="0" baseline="0" noProof="0" dirty="0">
                  <a:ln>
                    <a:noFill/>
                  </a:ln>
                  <a:solidFill>
                    <a:srgbClr val="14447A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rPr>
                <a:t>Enterosorbentlər</a:t>
              </a:r>
              <a:r>
                <a:rPr kumimoji="0" lang="ru-RU" altLang="ru-RU" sz="2849" b="0" i="0" u="none" strike="noStrike" kern="1200" cap="none" spc="0" normalizeH="0" baseline="0" noProof="0" dirty="0">
                  <a:ln>
                    <a:noFill/>
                  </a:ln>
                  <a:solidFill>
                    <a:srgbClr val="14447A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rPr>
                <a:t> </a:t>
              </a:r>
              <a:endParaRPr kumimoji="0" lang="ru-RU" altLang="ru-RU" sz="2849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sp>
          <p:nvSpPr>
            <p:cNvPr id="20" name="Freeform 24"/>
            <p:cNvSpPr>
              <a:spLocks/>
            </p:cNvSpPr>
            <p:nvPr/>
          </p:nvSpPr>
          <p:spPr bwMode="auto">
            <a:xfrm>
              <a:off x="2581" y="1969"/>
              <a:ext cx="164" cy="205"/>
            </a:xfrm>
            <a:custGeom>
              <a:avLst/>
              <a:gdLst>
                <a:gd name="T0" fmla="*/ 0 w 658"/>
                <a:gd name="T1" fmla="*/ 337 h 818"/>
                <a:gd name="T2" fmla="*/ 244 w 658"/>
                <a:gd name="T3" fmla="*/ 818 h 818"/>
                <a:gd name="T4" fmla="*/ 261 w 658"/>
                <a:gd name="T5" fmla="*/ 798 h 818"/>
                <a:gd name="T6" fmla="*/ 279 w 658"/>
                <a:gd name="T7" fmla="*/ 777 h 818"/>
                <a:gd name="T8" fmla="*/ 295 w 658"/>
                <a:gd name="T9" fmla="*/ 755 h 818"/>
                <a:gd name="T10" fmla="*/ 313 w 658"/>
                <a:gd name="T11" fmla="*/ 732 h 818"/>
                <a:gd name="T12" fmla="*/ 345 w 658"/>
                <a:gd name="T13" fmla="*/ 685 h 818"/>
                <a:gd name="T14" fmla="*/ 377 w 658"/>
                <a:gd name="T15" fmla="*/ 636 h 818"/>
                <a:gd name="T16" fmla="*/ 406 w 658"/>
                <a:gd name="T17" fmla="*/ 586 h 818"/>
                <a:gd name="T18" fmla="*/ 434 w 658"/>
                <a:gd name="T19" fmla="*/ 535 h 818"/>
                <a:gd name="T20" fmla="*/ 461 w 658"/>
                <a:gd name="T21" fmla="*/ 482 h 818"/>
                <a:gd name="T22" fmla="*/ 488 w 658"/>
                <a:gd name="T23" fmla="*/ 429 h 818"/>
                <a:gd name="T24" fmla="*/ 513 w 658"/>
                <a:gd name="T25" fmla="*/ 373 h 818"/>
                <a:gd name="T26" fmla="*/ 537 w 658"/>
                <a:gd name="T27" fmla="*/ 319 h 818"/>
                <a:gd name="T28" fmla="*/ 559 w 658"/>
                <a:gd name="T29" fmla="*/ 265 h 818"/>
                <a:gd name="T30" fmla="*/ 581 w 658"/>
                <a:gd name="T31" fmla="*/ 211 h 818"/>
                <a:gd name="T32" fmla="*/ 621 w 658"/>
                <a:gd name="T33" fmla="*/ 104 h 818"/>
                <a:gd name="T34" fmla="*/ 658 w 658"/>
                <a:gd name="T35" fmla="*/ 0 h 818"/>
                <a:gd name="T36" fmla="*/ 612 w 658"/>
                <a:gd name="T37" fmla="*/ 72 h 818"/>
                <a:gd name="T38" fmla="*/ 565 w 658"/>
                <a:gd name="T39" fmla="*/ 144 h 818"/>
                <a:gd name="T40" fmla="*/ 540 w 658"/>
                <a:gd name="T41" fmla="*/ 179 h 818"/>
                <a:gd name="T42" fmla="*/ 515 w 658"/>
                <a:gd name="T43" fmla="*/ 213 h 818"/>
                <a:gd name="T44" fmla="*/ 491 w 658"/>
                <a:gd name="T45" fmla="*/ 246 h 818"/>
                <a:gd name="T46" fmla="*/ 466 w 658"/>
                <a:gd name="T47" fmla="*/ 278 h 818"/>
                <a:gd name="T48" fmla="*/ 440 w 658"/>
                <a:gd name="T49" fmla="*/ 310 h 818"/>
                <a:gd name="T50" fmla="*/ 413 w 658"/>
                <a:gd name="T51" fmla="*/ 339 h 818"/>
                <a:gd name="T52" fmla="*/ 386 w 658"/>
                <a:gd name="T53" fmla="*/ 366 h 818"/>
                <a:gd name="T54" fmla="*/ 359 w 658"/>
                <a:gd name="T55" fmla="*/ 393 h 818"/>
                <a:gd name="T56" fmla="*/ 331 w 658"/>
                <a:gd name="T57" fmla="*/ 417 h 818"/>
                <a:gd name="T58" fmla="*/ 302 w 658"/>
                <a:gd name="T59" fmla="*/ 438 h 818"/>
                <a:gd name="T60" fmla="*/ 288 w 658"/>
                <a:gd name="T61" fmla="*/ 449 h 818"/>
                <a:gd name="T62" fmla="*/ 273 w 658"/>
                <a:gd name="T63" fmla="*/ 458 h 818"/>
                <a:gd name="T64" fmla="*/ 258 w 658"/>
                <a:gd name="T65" fmla="*/ 466 h 818"/>
                <a:gd name="T66" fmla="*/ 244 w 658"/>
                <a:gd name="T67" fmla="*/ 475 h 818"/>
                <a:gd name="T68" fmla="*/ 0 w 658"/>
                <a:gd name="T69" fmla="*/ 337 h 8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658" h="818">
                  <a:moveTo>
                    <a:pt x="0" y="337"/>
                  </a:moveTo>
                  <a:lnTo>
                    <a:pt x="244" y="818"/>
                  </a:lnTo>
                  <a:lnTo>
                    <a:pt x="261" y="798"/>
                  </a:lnTo>
                  <a:lnTo>
                    <a:pt x="279" y="777"/>
                  </a:lnTo>
                  <a:lnTo>
                    <a:pt x="295" y="755"/>
                  </a:lnTo>
                  <a:lnTo>
                    <a:pt x="313" y="732"/>
                  </a:lnTo>
                  <a:lnTo>
                    <a:pt x="345" y="685"/>
                  </a:lnTo>
                  <a:lnTo>
                    <a:pt x="377" y="636"/>
                  </a:lnTo>
                  <a:lnTo>
                    <a:pt x="406" y="586"/>
                  </a:lnTo>
                  <a:lnTo>
                    <a:pt x="434" y="535"/>
                  </a:lnTo>
                  <a:lnTo>
                    <a:pt x="461" y="482"/>
                  </a:lnTo>
                  <a:lnTo>
                    <a:pt x="488" y="429"/>
                  </a:lnTo>
                  <a:lnTo>
                    <a:pt x="513" y="373"/>
                  </a:lnTo>
                  <a:lnTo>
                    <a:pt x="537" y="319"/>
                  </a:lnTo>
                  <a:lnTo>
                    <a:pt x="559" y="265"/>
                  </a:lnTo>
                  <a:lnTo>
                    <a:pt x="581" y="211"/>
                  </a:lnTo>
                  <a:lnTo>
                    <a:pt x="621" y="104"/>
                  </a:lnTo>
                  <a:lnTo>
                    <a:pt x="658" y="0"/>
                  </a:lnTo>
                  <a:lnTo>
                    <a:pt x="612" y="72"/>
                  </a:lnTo>
                  <a:lnTo>
                    <a:pt x="565" y="144"/>
                  </a:lnTo>
                  <a:lnTo>
                    <a:pt x="540" y="179"/>
                  </a:lnTo>
                  <a:lnTo>
                    <a:pt x="515" y="213"/>
                  </a:lnTo>
                  <a:lnTo>
                    <a:pt x="491" y="246"/>
                  </a:lnTo>
                  <a:lnTo>
                    <a:pt x="466" y="278"/>
                  </a:lnTo>
                  <a:lnTo>
                    <a:pt x="440" y="310"/>
                  </a:lnTo>
                  <a:lnTo>
                    <a:pt x="413" y="339"/>
                  </a:lnTo>
                  <a:lnTo>
                    <a:pt x="386" y="366"/>
                  </a:lnTo>
                  <a:lnTo>
                    <a:pt x="359" y="393"/>
                  </a:lnTo>
                  <a:lnTo>
                    <a:pt x="331" y="417"/>
                  </a:lnTo>
                  <a:lnTo>
                    <a:pt x="302" y="438"/>
                  </a:lnTo>
                  <a:lnTo>
                    <a:pt x="288" y="449"/>
                  </a:lnTo>
                  <a:lnTo>
                    <a:pt x="273" y="458"/>
                  </a:lnTo>
                  <a:lnTo>
                    <a:pt x="258" y="466"/>
                  </a:lnTo>
                  <a:lnTo>
                    <a:pt x="244" y="475"/>
                  </a:lnTo>
                  <a:lnTo>
                    <a:pt x="0" y="337"/>
                  </a:lnTo>
                  <a:close/>
                </a:path>
              </a:pathLst>
            </a:custGeom>
            <a:solidFill>
              <a:srgbClr val="14447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6653" tIns="58327" rIns="116653" bIns="58327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434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218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1" name="Freeform 25"/>
            <p:cNvSpPr>
              <a:spLocks/>
            </p:cNvSpPr>
            <p:nvPr/>
          </p:nvSpPr>
          <p:spPr bwMode="auto">
            <a:xfrm>
              <a:off x="2062" y="1769"/>
              <a:ext cx="324" cy="313"/>
            </a:xfrm>
            <a:custGeom>
              <a:avLst/>
              <a:gdLst>
                <a:gd name="T0" fmla="*/ 1237 w 1297"/>
                <a:gd name="T1" fmla="*/ 454 h 1252"/>
                <a:gd name="T2" fmla="*/ 1267 w 1297"/>
                <a:gd name="T3" fmla="*/ 458 h 1252"/>
                <a:gd name="T4" fmla="*/ 1278 w 1297"/>
                <a:gd name="T5" fmla="*/ 461 h 1252"/>
                <a:gd name="T6" fmla="*/ 1285 w 1297"/>
                <a:gd name="T7" fmla="*/ 467 h 1252"/>
                <a:gd name="T8" fmla="*/ 1294 w 1297"/>
                <a:gd name="T9" fmla="*/ 485 h 1252"/>
                <a:gd name="T10" fmla="*/ 1297 w 1297"/>
                <a:gd name="T11" fmla="*/ 512 h 1252"/>
                <a:gd name="T12" fmla="*/ 1295 w 1297"/>
                <a:gd name="T13" fmla="*/ 729 h 1252"/>
                <a:gd name="T14" fmla="*/ 1291 w 1297"/>
                <a:gd name="T15" fmla="*/ 752 h 1252"/>
                <a:gd name="T16" fmla="*/ 1282 w 1297"/>
                <a:gd name="T17" fmla="*/ 764 h 1252"/>
                <a:gd name="T18" fmla="*/ 1273 w 1297"/>
                <a:gd name="T19" fmla="*/ 768 h 1252"/>
                <a:gd name="T20" fmla="*/ 1253 w 1297"/>
                <a:gd name="T21" fmla="*/ 773 h 1252"/>
                <a:gd name="T22" fmla="*/ 834 w 1297"/>
                <a:gd name="T23" fmla="*/ 774 h 1252"/>
                <a:gd name="T24" fmla="*/ 833 w 1297"/>
                <a:gd name="T25" fmla="*/ 1211 h 1252"/>
                <a:gd name="T26" fmla="*/ 828 w 1297"/>
                <a:gd name="T27" fmla="*/ 1231 h 1252"/>
                <a:gd name="T28" fmla="*/ 824 w 1297"/>
                <a:gd name="T29" fmla="*/ 1239 h 1252"/>
                <a:gd name="T30" fmla="*/ 813 w 1297"/>
                <a:gd name="T31" fmla="*/ 1246 h 1252"/>
                <a:gd name="T32" fmla="*/ 793 w 1297"/>
                <a:gd name="T33" fmla="*/ 1251 h 1252"/>
                <a:gd name="T34" fmla="*/ 520 w 1297"/>
                <a:gd name="T35" fmla="*/ 1252 h 1252"/>
                <a:gd name="T36" fmla="*/ 491 w 1297"/>
                <a:gd name="T37" fmla="*/ 1249 h 1252"/>
                <a:gd name="T38" fmla="*/ 471 w 1297"/>
                <a:gd name="T39" fmla="*/ 1241 h 1252"/>
                <a:gd name="T40" fmla="*/ 465 w 1297"/>
                <a:gd name="T41" fmla="*/ 1234 h 1252"/>
                <a:gd name="T42" fmla="*/ 460 w 1297"/>
                <a:gd name="T43" fmla="*/ 1225 h 1252"/>
                <a:gd name="T44" fmla="*/ 456 w 1297"/>
                <a:gd name="T45" fmla="*/ 1194 h 1252"/>
                <a:gd name="T46" fmla="*/ 56 w 1297"/>
                <a:gd name="T47" fmla="*/ 774 h 1252"/>
                <a:gd name="T48" fmla="*/ 32 w 1297"/>
                <a:gd name="T49" fmla="*/ 771 h 1252"/>
                <a:gd name="T50" fmla="*/ 22 w 1297"/>
                <a:gd name="T51" fmla="*/ 766 h 1252"/>
                <a:gd name="T52" fmla="*/ 14 w 1297"/>
                <a:gd name="T53" fmla="*/ 759 h 1252"/>
                <a:gd name="T54" fmla="*/ 7 w 1297"/>
                <a:gd name="T55" fmla="*/ 751 h 1252"/>
                <a:gd name="T56" fmla="*/ 3 w 1297"/>
                <a:gd name="T57" fmla="*/ 740 h 1252"/>
                <a:gd name="T58" fmla="*/ 0 w 1297"/>
                <a:gd name="T59" fmla="*/ 714 h 1252"/>
                <a:gd name="T60" fmla="*/ 0 w 1297"/>
                <a:gd name="T61" fmla="*/ 500 h 1252"/>
                <a:gd name="T62" fmla="*/ 5 w 1297"/>
                <a:gd name="T63" fmla="*/ 482 h 1252"/>
                <a:gd name="T64" fmla="*/ 10 w 1297"/>
                <a:gd name="T65" fmla="*/ 473 h 1252"/>
                <a:gd name="T66" fmla="*/ 17 w 1297"/>
                <a:gd name="T67" fmla="*/ 466 h 1252"/>
                <a:gd name="T68" fmla="*/ 27 w 1297"/>
                <a:gd name="T69" fmla="*/ 460 h 1252"/>
                <a:gd name="T70" fmla="*/ 43 w 1297"/>
                <a:gd name="T71" fmla="*/ 455 h 1252"/>
                <a:gd name="T72" fmla="*/ 456 w 1297"/>
                <a:gd name="T73" fmla="*/ 454 h 1252"/>
                <a:gd name="T74" fmla="*/ 458 w 1297"/>
                <a:gd name="T75" fmla="*/ 46 h 1252"/>
                <a:gd name="T76" fmla="*/ 462 w 1297"/>
                <a:gd name="T77" fmla="*/ 28 h 1252"/>
                <a:gd name="T78" fmla="*/ 468 w 1297"/>
                <a:gd name="T79" fmla="*/ 19 h 1252"/>
                <a:gd name="T80" fmla="*/ 476 w 1297"/>
                <a:gd name="T81" fmla="*/ 12 h 1252"/>
                <a:gd name="T82" fmla="*/ 486 w 1297"/>
                <a:gd name="T83" fmla="*/ 6 h 1252"/>
                <a:gd name="T84" fmla="*/ 505 w 1297"/>
                <a:gd name="T85" fmla="*/ 1 h 1252"/>
                <a:gd name="T86" fmla="*/ 776 w 1297"/>
                <a:gd name="T87" fmla="*/ 0 h 1252"/>
                <a:gd name="T88" fmla="*/ 801 w 1297"/>
                <a:gd name="T89" fmla="*/ 3 h 1252"/>
                <a:gd name="T90" fmla="*/ 812 w 1297"/>
                <a:gd name="T91" fmla="*/ 8 h 1252"/>
                <a:gd name="T92" fmla="*/ 820 w 1297"/>
                <a:gd name="T93" fmla="*/ 15 h 1252"/>
                <a:gd name="T94" fmla="*/ 826 w 1297"/>
                <a:gd name="T95" fmla="*/ 23 h 1252"/>
                <a:gd name="T96" fmla="*/ 831 w 1297"/>
                <a:gd name="T97" fmla="*/ 34 h 1252"/>
                <a:gd name="T98" fmla="*/ 834 w 1297"/>
                <a:gd name="T99" fmla="*/ 60 h 12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297" h="1252">
                  <a:moveTo>
                    <a:pt x="834" y="454"/>
                  </a:moveTo>
                  <a:lnTo>
                    <a:pt x="1237" y="454"/>
                  </a:lnTo>
                  <a:lnTo>
                    <a:pt x="1253" y="455"/>
                  </a:lnTo>
                  <a:lnTo>
                    <a:pt x="1267" y="458"/>
                  </a:lnTo>
                  <a:lnTo>
                    <a:pt x="1273" y="459"/>
                  </a:lnTo>
                  <a:lnTo>
                    <a:pt x="1278" y="461"/>
                  </a:lnTo>
                  <a:lnTo>
                    <a:pt x="1282" y="465"/>
                  </a:lnTo>
                  <a:lnTo>
                    <a:pt x="1285" y="467"/>
                  </a:lnTo>
                  <a:lnTo>
                    <a:pt x="1291" y="475"/>
                  </a:lnTo>
                  <a:lnTo>
                    <a:pt x="1294" y="485"/>
                  </a:lnTo>
                  <a:lnTo>
                    <a:pt x="1295" y="496"/>
                  </a:lnTo>
                  <a:lnTo>
                    <a:pt x="1297" y="512"/>
                  </a:lnTo>
                  <a:lnTo>
                    <a:pt x="1297" y="714"/>
                  </a:lnTo>
                  <a:lnTo>
                    <a:pt x="1295" y="729"/>
                  </a:lnTo>
                  <a:lnTo>
                    <a:pt x="1294" y="741"/>
                  </a:lnTo>
                  <a:lnTo>
                    <a:pt x="1291" y="752"/>
                  </a:lnTo>
                  <a:lnTo>
                    <a:pt x="1285" y="760"/>
                  </a:lnTo>
                  <a:lnTo>
                    <a:pt x="1282" y="764"/>
                  </a:lnTo>
                  <a:lnTo>
                    <a:pt x="1278" y="766"/>
                  </a:lnTo>
                  <a:lnTo>
                    <a:pt x="1273" y="768"/>
                  </a:lnTo>
                  <a:lnTo>
                    <a:pt x="1267" y="771"/>
                  </a:lnTo>
                  <a:lnTo>
                    <a:pt x="1253" y="773"/>
                  </a:lnTo>
                  <a:lnTo>
                    <a:pt x="1237" y="774"/>
                  </a:lnTo>
                  <a:lnTo>
                    <a:pt x="834" y="774"/>
                  </a:lnTo>
                  <a:lnTo>
                    <a:pt x="834" y="1194"/>
                  </a:lnTo>
                  <a:lnTo>
                    <a:pt x="833" y="1211"/>
                  </a:lnTo>
                  <a:lnTo>
                    <a:pt x="831" y="1225"/>
                  </a:lnTo>
                  <a:lnTo>
                    <a:pt x="828" y="1231"/>
                  </a:lnTo>
                  <a:lnTo>
                    <a:pt x="826" y="1234"/>
                  </a:lnTo>
                  <a:lnTo>
                    <a:pt x="824" y="1239"/>
                  </a:lnTo>
                  <a:lnTo>
                    <a:pt x="821" y="1241"/>
                  </a:lnTo>
                  <a:lnTo>
                    <a:pt x="813" y="1246"/>
                  </a:lnTo>
                  <a:lnTo>
                    <a:pt x="804" y="1249"/>
                  </a:lnTo>
                  <a:lnTo>
                    <a:pt x="793" y="1251"/>
                  </a:lnTo>
                  <a:lnTo>
                    <a:pt x="780" y="1252"/>
                  </a:lnTo>
                  <a:lnTo>
                    <a:pt x="520" y="1252"/>
                  </a:lnTo>
                  <a:lnTo>
                    <a:pt x="503" y="1251"/>
                  </a:lnTo>
                  <a:lnTo>
                    <a:pt x="491" y="1249"/>
                  </a:lnTo>
                  <a:lnTo>
                    <a:pt x="479" y="1246"/>
                  </a:lnTo>
                  <a:lnTo>
                    <a:pt x="471" y="1241"/>
                  </a:lnTo>
                  <a:lnTo>
                    <a:pt x="467" y="1239"/>
                  </a:lnTo>
                  <a:lnTo>
                    <a:pt x="465" y="1234"/>
                  </a:lnTo>
                  <a:lnTo>
                    <a:pt x="462" y="1231"/>
                  </a:lnTo>
                  <a:lnTo>
                    <a:pt x="460" y="1225"/>
                  </a:lnTo>
                  <a:lnTo>
                    <a:pt x="458" y="1211"/>
                  </a:lnTo>
                  <a:lnTo>
                    <a:pt x="456" y="1194"/>
                  </a:lnTo>
                  <a:lnTo>
                    <a:pt x="456" y="774"/>
                  </a:lnTo>
                  <a:lnTo>
                    <a:pt x="56" y="774"/>
                  </a:lnTo>
                  <a:lnTo>
                    <a:pt x="43" y="773"/>
                  </a:lnTo>
                  <a:lnTo>
                    <a:pt x="32" y="771"/>
                  </a:lnTo>
                  <a:lnTo>
                    <a:pt x="27" y="768"/>
                  </a:lnTo>
                  <a:lnTo>
                    <a:pt x="22" y="766"/>
                  </a:lnTo>
                  <a:lnTo>
                    <a:pt x="17" y="762"/>
                  </a:lnTo>
                  <a:lnTo>
                    <a:pt x="14" y="759"/>
                  </a:lnTo>
                  <a:lnTo>
                    <a:pt x="10" y="755"/>
                  </a:lnTo>
                  <a:lnTo>
                    <a:pt x="7" y="751"/>
                  </a:lnTo>
                  <a:lnTo>
                    <a:pt x="5" y="746"/>
                  </a:lnTo>
                  <a:lnTo>
                    <a:pt x="3" y="740"/>
                  </a:lnTo>
                  <a:lnTo>
                    <a:pt x="0" y="728"/>
                  </a:lnTo>
                  <a:lnTo>
                    <a:pt x="0" y="714"/>
                  </a:lnTo>
                  <a:lnTo>
                    <a:pt x="0" y="514"/>
                  </a:lnTo>
                  <a:lnTo>
                    <a:pt x="0" y="500"/>
                  </a:lnTo>
                  <a:lnTo>
                    <a:pt x="3" y="488"/>
                  </a:lnTo>
                  <a:lnTo>
                    <a:pt x="5" y="482"/>
                  </a:lnTo>
                  <a:lnTo>
                    <a:pt x="7" y="478"/>
                  </a:lnTo>
                  <a:lnTo>
                    <a:pt x="10" y="473"/>
                  </a:lnTo>
                  <a:lnTo>
                    <a:pt x="14" y="469"/>
                  </a:lnTo>
                  <a:lnTo>
                    <a:pt x="17" y="466"/>
                  </a:lnTo>
                  <a:lnTo>
                    <a:pt x="22" y="462"/>
                  </a:lnTo>
                  <a:lnTo>
                    <a:pt x="27" y="460"/>
                  </a:lnTo>
                  <a:lnTo>
                    <a:pt x="32" y="458"/>
                  </a:lnTo>
                  <a:lnTo>
                    <a:pt x="43" y="455"/>
                  </a:lnTo>
                  <a:lnTo>
                    <a:pt x="56" y="454"/>
                  </a:lnTo>
                  <a:lnTo>
                    <a:pt x="456" y="454"/>
                  </a:lnTo>
                  <a:lnTo>
                    <a:pt x="456" y="60"/>
                  </a:lnTo>
                  <a:lnTo>
                    <a:pt x="458" y="46"/>
                  </a:lnTo>
                  <a:lnTo>
                    <a:pt x="460" y="34"/>
                  </a:lnTo>
                  <a:lnTo>
                    <a:pt x="462" y="28"/>
                  </a:lnTo>
                  <a:lnTo>
                    <a:pt x="466" y="23"/>
                  </a:lnTo>
                  <a:lnTo>
                    <a:pt x="468" y="19"/>
                  </a:lnTo>
                  <a:lnTo>
                    <a:pt x="472" y="15"/>
                  </a:lnTo>
                  <a:lnTo>
                    <a:pt x="476" y="12"/>
                  </a:lnTo>
                  <a:lnTo>
                    <a:pt x="481" y="8"/>
                  </a:lnTo>
                  <a:lnTo>
                    <a:pt x="486" y="6"/>
                  </a:lnTo>
                  <a:lnTo>
                    <a:pt x="492" y="3"/>
                  </a:lnTo>
                  <a:lnTo>
                    <a:pt x="505" y="1"/>
                  </a:lnTo>
                  <a:lnTo>
                    <a:pt x="520" y="0"/>
                  </a:lnTo>
                  <a:lnTo>
                    <a:pt x="776" y="0"/>
                  </a:lnTo>
                  <a:lnTo>
                    <a:pt x="789" y="1"/>
                  </a:lnTo>
                  <a:lnTo>
                    <a:pt x="801" y="3"/>
                  </a:lnTo>
                  <a:lnTo>
                    <a:pt x="807" y="6"/>
                  </a:lnTo>
                  <a:lnTo>
                    <a:pt x="812" y="8"/>
                  </a:lnTo>
                  <a:lnTo>
                    <a:pt x="815" y="12"/>
                  </a:lnTo>
                  <a:lnTo>
                    <a:pt x="820" y="15"/>
                  </a:lnTo>
                  <a:lnTo>
                    <a:pt x="822" y="19"/>
                  </a:lnTo>
                  <a:lnTo>
                    <a:pt x="826" y="23"/>
                  </a:lnTo>
                  <a:lnTo>
                    <a:pt x="828" y="28"/>
                  </a:lnTo>
                  <a:lnTo>
                    <a:pt x="831" y="34"/>
                  </a:lnTo>
                  <a:lnTo>
                    <a:pt x="833" y="46"/>
                  </a:lnTo>
                  <a:lnTo>
                    <a:pt x="834" y="60"/>
                  </a:lnTo>
                  <a:lnTo>
                    <a:pt x="834" y="454"/>
                  </a:lnTo>
                  <a:close/>
                </a:path>
              </a:pathLst>
            </a:custGeom>
            <a:solidFill>
              <a:srgbClr val="91A5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6653" tIns="58327" rIns="116653" bIns="58327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434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218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2" name="Rectangle 26"/>
            <p:cNvSpPr>
              <a:spLocks noChangeArrowheads="1"/>
            </p:cNvSpPr>
            <p:nvPr/>
          </p:nvSpPr>
          <p:spPr bwMode="auto">
            <a:xfrm>
              <a:off x="387" y="2995"/>
              <a:ext cx="1922" cy="20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1166575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altLang="ru-RU" sz="890" b="0" i="0" u="none" strike="noStrike" kern="1200" cap="none" spc="0" normalizeH="0" baseline="0" noProof="0" dirty="0">
                  <a:ln>
                    <a:noFill/>
                  </a:ln>
                  <a:solidFill>
                    <a:srgbClr val="14447A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rPr>
                <a:t>Д.В. Усенко, "Острые кишечные инфекции у детей в практике педиатра: </a:t>
              </a:r>
            </a:p>
            <a:p>
              <a:pPr marL="0" marR="0" lvl="0" indent="0" algn="l" defTabSz="1166575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altLang="ru-RU" sz="890" b="0" i="0" u="none" strike="noStrike" kern="1200" cap="none" spc="0" normalizeH="0" baseline="0" noProof="0" dirty="0">
                  <a:ln>
                    <a:noFill/>
                  </a:ln>
                  <a:solidFill>
                    <a:srgbClr val="14447A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rPr>
                <a:t>возможности диагностики и терапии. Вопросы современной педиатрии. </a:t>
              </a:r>
            </a:p>
            <a:p>
              <a:pPr marL="0" marR="0" lvl="0" indent="0" algn="l" defTabSz="1166575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altLang="ru-RU" sz="890" b="0" i="0" u="none" strike="noStrike" kern="1200" cap="none" spc="0" normalizeH="0" baseline="0" noProof="0" dirty="0">
                  <a:ln>
                    <a:noFill/>
                  </a:ln>
                  <a:solidFill>
                    <a:srgbClr val="14447A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rPr>
                <a:t>2014; 13(3):12-20.</a:t>
              </a:r>
              <a:endParaRPr kumimoji="0" lang="ru-RU" altLang="ru-RU" sz="89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sp>
          <p:nvSpPr>
            <p:cNvPr id="26" name="Freeform 30"/>
            <p:cNvSpPr>
              <a:spLocks/>
            </p:cNvSpPr>
            <p:nvPr/>
          </p:nvSpPr>
          <p:spPr bwMode="auto">
            <a:xfrm>
              <a:off x="387" y="1600"/>
              <a:ext cx="1480" cy="706"/>
            </a:xfrm>
            <a:custGeom>
              <a:avLst/>
              <a:gdLst>
                <a:gd name="T0" fmla="*/ 6682 w 7014"/>
                <a:gd name="T1" fmla="*/ 1 h 2824"/>
                <a:gd name="T2" fmla="*/ 6734 w 7014"/>
                <a:gd name="T3" fmla="*/ 7 h 2824"/>
                <a:gd name="T4" fmla="*/ 6784 w 7014"/>
                <a:gd name="T5" fmla="*/ 22 h 2824"/>
                <a:gd name="T6" fmla="*/ 6830 w 7014"/>
                <a:gd name="T7" fmla="*/ 42 h 2824"/>
                <a:gd name="T8" fmla="*/ 6873 w 7014"/>
                <a:gd name="T9" fmla="*/ 70 h 2824"/>
                <a:gd name="T10" fmla="*/ 6911 w 7014"/>
                <a:gd name="T11" fmla="*/ 103 h 2824"/>
                <a:gd name="T12" fmla="*/ 6944 w 7014"/>
                <a:gd name="T13" fmla="*/ 141 h 2824"/>
                <a:gd name="T14" fmla="*/ 6971 w 7014"/>
                <a:gd name="T15" fmla="*/ 184 h 2824"/>
                <a:gd name="T16" fmla="*/ 6993 w 7014"/>
                <a:gd name="T17" fmla="*/ 230 h 2824"/>
                <a:gd name="T18" fmla="*/ 7007 w 7014"/>
                <a:gd name="T19" fmla="*/ 281 h 2824"/>
                <a:gd name="T20" fmla="*/ 7014 w 7014"/>
                <a:gd name="T21" fmla="*/ 333 h 2824"/>
                <a:gd name="T22" fmla="*/ 7014 w 7014"/>
                <a:gd name="T23" fmla="*/ 2492 h 2824"/>
                <a:gd name="T24" fmla="*/ 7007 w 7014"/>
                <a:gd name="T25" fmla="*/ 2543 h 2824"/>
                <a:gd name="T26" fmla="*/ 6993 w 7014"/>
                <a:gd name="T27" fmla="*/ 2594 h 2824"/>
                <a:gd name="T28" fmla="*/ 6971 w 7014"/>
                <a:gd name="T29" fmla="*/ 2640 h 2824"/>
                <a:gd name="T30" fmla="*/ 6944 w 7014"/>
                <a:gd name="T31" fmla="*/ 2682 h 2824"/>
                <a:gd name="T32" fmla="*/ 6911 w 7014"/>
                <a:gd name="T33" fmla="*/ 2721 h 2824"/>
                <a:gd name="T34" fmla="*/ 6873 w 7014"/>
                <a:gd name="T35" fmla="*/ 2754 h 2824"/>
                <a:gd name="T36" fmla="*/ 6830 w 7014"/>
                <a:gd name="T37" fmla="*/ 2781 h 2824"/>
                <a:gd name="T38" fmla="*/ 6784 w 7014"/>
                <a:gd name="T39" fmla="*/ 2802 h 2824"/>
                <a:gd name="T40" fmla="*/ 6734 w 7014"/>
                <a:gd name="T41" fmla="*/ 2816 h 2824"/>
                <a:gd name="T42" fmla="*/ 6682 w 7014"/>
                <a:gd name="T43" fmla="*/ 2824 h 2824"/>
                <a:gd name="T44" fmla="*/ 332 w 7014"/>
                <a:gd name="T45" fmla="*/ 2824 h 2824"/>
                <a:gd name="T46" fmla="*/ 280 w 7014"/>
                <a:gd name="T47" fmla="*/ 2816 h 2824"/>
                <a:gd name="T48" fmla="*/ 230 w 7014"/>
                <a:gd name="T49" fmla="*/ 2802 h 2824"/>
                <a:gd name="T50" fmla="*/ 184 w 7014"/>
                <a:gd name="T51" fmla="*/ 2781 h 2824"/>
                <a:gd name="T52" fmla="*/ 142 w 7014"/>
                <a:gd name="T53" fmla="*/ 2754 h 2824"/>
                <a:gd name="T54" fmla="*/ 103 w 7014"/>
                <a:gd name="T55" fmla="*/ 2721 h 2824"/>
                <a:gd name="T56" fmla="*/ 70 w 7014"/>
                <a:gd name="T57" fmla="*/ 2682 h 2824"/>
                <a:gd name="T58" fmla="*/ 43 w 7014"/>
                <a:gd name="T59" fmla="*/ 2640 h 2824"/>
                <a:gd name="T60" fmla="*/ 22 w 7014"/>
                <a:gd name="T61" fmla="*/ 2594 h 2824"/>
                <a:gd name="T62" fmla="*/ 7 w 7014"/>
                <a:gd name="T63" fmla="*/ 2543 h 2824"/>
                <a:gd name="T64" fmla="*/ 0 w 7014"/>
                <a:gd name="T65" fmla="*/ 2492 h 2824"/>
                <a:gd name="T66" fmla="*/ 0 w 7014"/>
                <a:gd name="T67" fmla="*/ 333 h 2824"/>
                <a:gd name="T68" fmla="*/ 7 w 7014"/>
                <a:gd name="T69" fmla="*/ 281 h 2824"/>
                <a:gd name="T70" fmla="*/ 22 w 7014"/>
                <a:gd name="T71" fmla="*/ 230 h 2824"/>
                <a:gd name="T72" fmla="*/ 43 w 7014"/>
                <a:gd name="T73" fmla="*/ 184 h 2824"/>
                <a:gd name="T74" fmla="*/ 70 w 7014"/>
                <a:gd name="T75" fmla="*/ 141 h 2824"/>
                <a:gd name="T76" fmla="*/ 103 w 7014"/>
                <a:gd name="T77" fmla="*/ 103 h 2824"/>
                <a:gd name="T78" fmla="*/ 142 w 7014"/>
                <a:gd name="T79" fmla="*/ 70 h 2824"/>
                <a:gd name="T80" fmla="*/ 184 w 7014"/>
                <a:gd name="T81" fmla="*/ 42 h 2824"/>
                <a:gd name="T82" fmla="*/ 230 w 7014"/>
                <a:gd name="T83" fmla="*/ 22 h 2824"/>
                <a:gd name="T84" fmla="*/ 280 w 7014"/>
                <a:gd name="T85" fmla="*/ 7 h 2824"/>
                <a:gd name="T86" fmla="*/ 332 w 7014"/>
                <a:gd name="T87" fmla="*/ 1 h 28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7014" h="2824">
                  <a:moveTo>
                    <a:pt x="351" y="0"/>
                  </a:moveTo>
                  <a:lnTo>
                    <a:pt x="6663" y="0"/>
                  </a:lnTo>
                  <a:lnTo>
                    <a:pt x="6682" y="1"/>
                  </a:lnTo>
                  <a:lnTo>
                    <a:pt x="6700" y="2"/>
                  </a:lnTo>
                  <a:lnTo>
                    <a:pt x="6717" y="4"/>
                  </a:lnTo>
                  <a:lnTo>
                    <a:pt x="6734" y="7"/>
                  </a:lnTo>
                  <a:lnTo>
                    <a:pt x="6751" y="11"/>
                  </a:lnTo>
                  <a:lnTo>
                    <a:pt x="6768" y="16"/>
                  </a:lnTo>
                  <a:lnTo>
                    <a:pt x="6784" y="22"/>
                  </a:lnTo>
                  <a:lnTo>
                    <a:pt x="6800" y="28"/>
                  </a:lnTo>
                  <a:lnTo>
                    <a:pt x="6815" y="35"/>
                  </a:lnTo>
                  <a:lnTo>
                    <a:pt x="6830" y="42"/>
                  </a:lnTo>
                  <a:lnTo>
                    <a:pt x="6846" y="51"/>
                  </a:lnTo>
                  <a:lnTo>
                    <a:pt x="6860" y="60"/>
                  </a:lnTo>
                  <a:lnTo>
                    <a:pt x="6873" y="70"/>
                  </a:lnTo>
                  <a:lnTo>
                    <a:pt x="6887" y="81"/>
                  </a:lnTo>
                  <a:lnTo>
                    <a:pt x="6900" y="91"/>
                  </a:lnTo>
                  <a:lnTo>
                    <a:pt x="6911" y="103"/>
                  </a:lnTo>
                  <a:lnTo>
                    <a:pt x="6923" y="115"/>
                  </a:lnTo>
                  <a:lnTo>
                    <a:pt x="6934" y="128"/>
                  </a:lnTo>
                  <a:lnTo>
                    <a:pt x="6944" y="141"/>
                  </a:lnTo>
                  <a:lnTo>
                    <a:pt x="6954" y="155"/>
                  </a:lnTo>
                  <a:lnTo>
                    <a:pt x="6963" y="169"/>
                  </a:lnTo>
                  <a:lnTo>
                    <a:pt x="6971" y="184"/>
                  </a:lnTo>
                  <a:lnTo>
                    <a:pt x="6980" y="200"/>
                  </a:lnTo>
                  <a:lnTo>
                    <a:pt x="6987" y="215"/>
                  </a:lnTo>
                  <a:lnTo>
                    <a:pt x="6993" y="230"/>
                  </a:lnTo>
                  <a:lnTo>
                    <a:pt x="6999" y="247"/>
                  </a:lnTo>
                  <a:lnTo>
                    <a:pt x="7003" y="263"/>
                  </a:lnTo>
                  <a:lnTo>
                    <a:pt x="7007" y="281"/>
                  </a:lnTo>
                  <a:lnTo>
                    <a:pt x="7010" y="297"/>
                  </a:lnTo>
                  <a:lnTo>
                    <a:pt x="7013" y="315"/>
                  </a:lnTo>
                  <a:lnTo>
                    <a:pt x="7014" y="333"/>
                  </a:lnTo>
                  <a:lnTo>
                    <a:pt x="7014" y="350"/>
                  </a:lnTo>
                  <a:lnTo>
                    <a:pt x="7014" y="2473"/>
                  </a:lnTo>
                  <a:lnTo>
                    <a:pt x="7014" y="2492"/>
                  </a:lnTo>
                  <a:lnTo>
                    <a:pt x="7013" y="2509"/>
                  </a:lnTo>
                  <a:lnTo>
                    <a:pt x="7010" y="2527"/>
                  </a:lnTo>
                  <a:lnTo>
                    <a:pt x="7007" y="2543"/>
                  </a:lnTo>
                  <a:lnTo>
                    <a:pt x="7003" y="2561"/>
                  </a:lnTo>
                  <a:lnTo>
                    <a:pt x="6999" y="2578"/>
                  </a:lnTo>
                  <a:lnTo>
                    <a:pt x="6993" y="2594"/>
                  </a:lnTo>
                  <a:lnTo>
                    <a:pt x="6987" y="2609"/>
                  </a:lnTo>
                  <a:lnTo>
                    <a:pt x="6980" y="2625"/>
                  </a:lnTo>
                  <a:lnTo>
                    <a:pt x="6971" y="2640"/>
                  </a:lnTo>
                  <a:lnTo>
                    <a:pt x="6963" y="2655"/>
                  </a:lnTo>
                  <a:lnTo>
                    <a:pt x="6954" y="2669"/>
                  </a:lnTo>
                  <a:lnTo>
                    <a:pt x="6944" y="2682"/>
                  </a:lnTo>
                  <a:lnTo>
                    <a:pt x="6934" y="2696"/>
                  </a:lnTo>
                  <a:lnTo>
                    <a:pt x="6923" y="2709"/>
                  </a:lnTo>
                  <a:lnTo>
                    <a:pt x="6911" y="2721"/>
                  </a:lnTo>
                  <a:lnTo>
                    <a:pt x="6900" y="2733"/>
                  </a:lnTo>
                  <a:lnTo>
                    <a:pt x="6887" y="2744"/>
                  </a:lnTo>
                  <a:lnTo>
                    <a:pt x="6873" y="2754"/>
                  </a:lnTo>
                  <a:lnTo>
                    <a:pt x="6860" y="2764"/>
                  </a:lnTo>
                  <a:lnTo>
                    <a:pt x="6846" y="2773"/>
                  </a:lnTo>
                  <a:lnTo>
                    <a:pt x="6830" y="2781"/>
                  </a:lnTo>
                  <a:lnTo>
                    <a:pt x="6815" y="2789"/>
                  </a:lnTo>
                  <a:lnTo>
                    <a:pt x="6800" y="2796"/>
                  </a:lnTo>
                  <a:lnTo>
                    <a:pt x="6784" y="2802"/>
                  </a:lnTo>
                  <a:lnTo>
                    <a:pt x="6768" y="2808"/>
                  </a:lnTo>
                  <a:lnTo>
                    <a:pt x="6751" y="2813"/>
                  </a:lnTo>
                  <a:lnTo>
                    <a:pt x="6734" y="2816"/>
                  </a:lnTo>
                  <a:lnTo>
                    <a:pt x="6717" y="2820"/>
                  </a:lnTo>
                  <a:lnTo>
                    <a:pt x="6700" y="2822"/>
                  </a:lnTo>
                  <a:lnTo>
                    <a:pt x="6682" y="2824"/>
                  </a:lnTo>
                  <a:lnTo>
                    <a:pt x="6663" y="2824"/>
                  </a:lnTo>
                  <a:lnTo>
                    <a:pt x="351" y="2824"/>
                  </a:lnTo>
                  <a:lnTo>
                    <a:pt x="332" y="2824"/>
                  </a:lnTo>
                  <a:lnTo>
                    <a:pt x="315" y="2822"/>
                  </a:lnTo>
                  <a:lnTo>
                    <a:pt x="297" y="2820"/>
                  </a:lnTo>
                  <a:lnTo>
                    <a:pt x="280" y="2816"/>
                  </a:lnTo>
                  <a:lnTo>
                    <a:pt x="263" y="2813"/>
                  </a:lnTo>
                  <a:lnTo>
                    <a:pt x="246" y="2808"/>
                  </a:lnTo>
                  <a:lnTo>
                    <a:pt x="230" y="2802"/>
                  </a:lnTo>
                  <a:lnTo>
                    <a:pt x="215" y="2796"/>
                  </a:lnTo>
                  <a:lnTo>
                    <a:pt x="199" y="2789"/>
                  </a:lnTo>
                  <a:lnTo>
                    <a:pt x="184" y="2781"/>
                  </a:lnTo>
                  <a:lnTo>
                    <a:pt x="169" y="2773"/>
                  </a:lnTo>
                  <a:lnTo>
                    <a:pt x="155" y="2764"/>
                  </a:lnTo>
                  <a:lnTo>
                    <a:pt x="142" y="2754"/>
                  </a:lnTo>
                  <a:lnTo>
                    <a:pt x="127" y="2744"/>
                  </a:lnTo>
                  <a:lnTo>
                    <a:pt x="116" y="2733"/>
                  </a:lnTo>
                  <a:lnTo>
                    <a:pt x="103" y="2721"/>
                  </a:lnTo>
                  <a:lnTo>
                    <a:pt x="91" y="2709"/>
                  </a:lnTo>
                  <a:lnTo>
                    <a:pt x="80" y="2696"/>
                  </a:lnTo>
                  <a:lnTo>
                    <a:pt x="70" y="2682"/>
                  </a:lnTo>
                  <a:lnTo>
                    <a:pt x="60" y="2669"/>
                  </a:lnTo>
                  <a:lnTo>
                    <a:pt x="51" y="2655"/>
                  </a:lnTo>
                  <a:lnTo>
                    <a:pt x="43" y="2640"/>
                  </a:lnTo>
                  <a:lnTo>
                    <a:pt x="35" y="2625"/>
                  </a:lnTo>
                  <a:lnTo>
                    <a:pt x="27" y="2609"/>
                  </a:lnTo>
                  <a:lnTo>
                    <a:pt x="22" y="2594"/>
                  </a:lnTo>
                  <a:lnTo>
                    <a:pt x="16" y="2578"/>
                  </a:lnTo>
                  <a:lnTo>
                    <a:pt x="11" y="2561"/>
                  </a:lnTo>
                  <a:lnTo>
                    <a:pt x="7" y="2543"/>
                  </a:lnTo>
                  <a:lnTo>
                    <a:pt x="4" y="2527"/>
                  </a:lnTo>
                  <a:lnTo>
                    <a:pt x="2" y="2509"/>
                  </a:lnTo>
                  <a:lnTo>
                    <a:pt x="0" y="2492"/>
                  </a:lnTo>
                  <a:lnTo>
                    <a:pt x="0" y="2473"/>
                  </a:lnTo>
                  <a:lnTo>
                    <a:pt x="0" y="350"/>
                  </a:lnTo>
                  <a:lnTo>
                    <a:pt x="0" y="333"/>
                  </a:lnTo>
                  <a:lnTo>
                    <a:pt x="2" y="315"/>
                  </a:lnTo>
                  <a:lnTo>
                    <a:pt x="4" y="297"/>
                  </a:lnTo>
                  <a:lnTo>
                    <a:pt x="7" y="281"/>
                  </a:lnTo>
                  <a:lnTo>
                    <a:pt x="11" y="263"/>
                  </a:lnTo>
                  <a:lnTo>
                    <a:pt x="16" y="247"/>
                  </a:lnTo>
                  <a:lnTo>
                    <a:pt x="22" y="230"/>
                  </a:lnTo>
                  <a:lnTo>
                    <a:pt x="27" y="215"/>
                  </a:lnTo>
                  <a:lnTo>
                    <a:pt x="35" y="200"/>
                  </a:lnTo>
                  <a:lnTo>
                    <a:pt x="43" y="184"/>
                  </a:lnTo>
                  <a:lnTo>
                    <a:pt x="51" y="169"/>
                  </a:lnTo>
                  <a:lnTo>
                    <a:pt x="60" y="155"/>
                  </a:lnTo>
                  <a:lnTo>
                    <a:pt x="70" y="141"/>
                  </a:lnTo>
                  <a:lnTo>
                    <a:pt x="80" y="128"/>
                  </a:lnTo>
                  <a:lnTo>
                    <a:pt x="91" y="115"/>
                  </a:lnTo>
                  <a:lnTo>
                    <a:pt x="103" y="103"/>
                  </a:lnTo>
                  <a:lnTo>
                    <a:pt x="116" y="91"/>
                  </a:lnTo>
                  <a:lnTo>
                    <a:pt x="127" y="81"/>
                  </a:lnTo>
                  <a:lnTo>
                    <a:pt x="142" y="70"/>
                  </a:lnTo>
                  <a:lnTo>
                    <a:pt x="155" y="60"/>
                  </a:lnTo>
                  <a:lnTo>
                    <a:pt x="169" y="51"/>
                  </a:lnTo>
                  <a:lnTo>
                    <a:pt x="184" y="42"/>
                  </a:lnTo>
                  <a:lnTo>
                    <a:pt x="199" y="35"/>
                  </a:lnTo>
                  <a:lnTo>
                    <a:pt x="215" y="28"/>
                  </a:lnTo>
                  <a:lnTo>
                    <a:pt x="230" y="22"/>
                  </a:lnTo>
                  <a:lnTo>
                    <a:pt x="246" y="16"/>
                  </a:lnTo>
                  <a:lnTo>
                    <a:pt x="263" y="11"/>
                  </a:lnTo>
                  <a:lnTo>
                    <a:pt x="280" y="7"/>
                  </a:lnTo>
                  <a:lnTo>
                    <a:pt x="297" y="4"/>
                  </a:lnTo>
                  <a:lnTo>
                    <a:pt x="315" y="2"/>
                  </a:lnTo>
                  <a:lnTo>
                    <a:pt x="332" y="1"/>
                  </a:lnTo>
                  <a:lnTo>
                    <a:pt x="351" y="0"/>
                  </a:lnTo>
                  <a:close/>
                </a:path>
              </a:pathLst>
            </a:custGeom>
            <a:solidFill>
              <a:srgbClr val="91A5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6653" tIns="58327" rIns="116653" bIns="58327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434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218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29" name="Freeform 17"/>
          <p:cNvSpPr>
            <a:spLocks/>
          </p:cNvSpPr>
          <p:nvPr/>
        </p:nvSpPr>
        <p:spPr bwMode="auto">
          <a:xfrm>
            <a:off x="5904242" y="3437957"/>
            <a:ext cx="332136" cy="407975"/>
          </a:xfrm>
          <a:custGeom>
            <a:avLst/>
            <a:gdLst>
              <a:gd name="T0" fmla="*/ 0 w 658"/>
              <a:gd name="T1" fmla="*/ 336 h 817"/>
              <a:gd name="T2" fmla="*/ 242 w 658"/>
              <a:gd name="T3" fmla="*/ 817 h 817"/>
              <a:gd name="T4" fmla="*/ 260 w 658"/>
              <a:gd name="T5" fmla="*/ 797 h 817"/>
              <a:gd name="T6" fmla="*/ 278 w 658"/>
              <a:gd name="T7" fmla="*/ 776 h 817"/>
              <a:gd name="T8" fmla="*/ 295 w 658"/>
              <a:gd name="T9" fmla="*/ 753 h 817"/>
              <a:gd name="T10" fmla="*/ 312 w 658"/>
              <a:gd name="T11" fmla="*/ 731 h 817"/>
              <a:gd name="T12" fmla="*/ 345 w 658"/>
              <a:gd name="T13" fmla="*/ 684 h 817"/>
              <a:gd name="T14" fmla="*/ 376 w 658"/>
              <a:gd name="T15" fmla="*/ 636 h 817"/>
              <a:gd name="T16" fmla="*/ 405 w 658"/>
              <a:gd name="T17" fmla="*/ 585 h 817"/>
              <a:gd name="T18" fmla="*/ 433 w 658"/>
              <a:gd name="T19" fmla="*/ 533 h 817"/>
              <a:gd name="T20" fmla="*/ 461 w 658"/>
              <a:gd name="T21" fmla="*/ 481 h 817"/>
              <a:gd name="T22" fmla="*/ 487 w 658"/>
              <a:gd name="T23" fmla="*/ 427 h 817"/>
              <a:gd name="T24" fmla="*/ 512 w 658"/>
              <a:gd name="T25" fmla="*/ 373 h 817"/>
              <a:gd name="T26" fmla="*/ 536 w 658"/>
              <a:gd name="T27" fmla="*/ 318 h 817"/>
              <a:gd name="T28" fmla="*/ 558 w 658"/>
              <a:gd name="T29" fmla="*/ 264 h 817"/>
              <a:gd name="T30" fmla="*/ 580 w 658"/>
              <a:gd name="T31" fmla="*/ 210 h 817"/>
              <a:gd name="T32" fmla="*/ 620 w 658"/>
              <a:gd name="T33" fmla="*/ 103 h 817"/>
              <a:gd name="T34" fmla="*/ 658 w 658"/>
              <a:gd name="T35" fmla="*/ 0 h 817"/>
              <a:gd name="T36" fmla="*/ 610 w 658"/>
              <a:gd name="T37" fmla="*/ 72 h 817"/>
              <a:gd name="T38" fmla="*/ 563 w 658"/>
              <a:gd name="T39" fmla="*/ 143 h 817"/>
              <a:gd name="T40" fmla="*/ 540 w 658"/>
              <a:gd name="T41" fmla="*/ 178 h 817"/>
              <a:gd name="T42" fmla="*/ 515 w 658"/>
              <a:gd name="T43" fmla="*/ 212 h 817"/>
              <a:gd name="T44" fmla="*/ 490 w 658"/>
              <a:gd name="T45" fmla="*/ 245 h 817"/>
              <a:gd name="T46" fmla="*/ 464 w 658"/>
              <a:gd name="T47" fmla="*/ 278 h 817"/>
              <a:gd name="T48" fmla="*/ 439 w 658"/>
              <a:gd name="T49" fmla="*/ 309 h 817"/>
              <a:gd name="T50" fmla="*/ 412 w 658"/>
              <a:gd name="T51" fmla="*/ 338 h 817"/>
              <a:gd name="T52" fmla="*/ 386 w 658"/>
              <a:gd name="T53" fmla="*/ 366 h 817"/>
              <a:gd name="T54" fmla="*/ 358 w 658"/>
              <a:gd name="T55" fmla="*/ 392 h 817"/>
              <a:gd name="T56" fmla="*/ 331 w 658"/>
              <a:gd name="T57" fmla="*/ 416 h 817"/>
              <a:gd name="T58" fmla="*/ 301 w 658"/>
              <a:gd name="T59" fmla="*/ 438 h 817"/>
              <a:gd name="T60" fmla="*/ 287 w 658"/>
              <a:gd name="T61" fmla="*/ 448 h 817"/>
              <a:gd name="T62" fmla="*/ 272 w 658"/>
              <a:gd name="T63" fmla="*/ 458 h 817"/>
              <a:gd name="T64" fmla="*/ 258 w 658"/>
              <a:gd name="T65" fmla="*/ 466 h 817"/>
              <a:gd name="T66" fmla="*/ 242 w 658"/>
              <a:gd name="T67" fmla="*/ 474 h 817"/>
              <a:gd name="T68" fmla="*/ 0 w 658"/>
              <a:gd name="T69" fmla="*/ 336 h 81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658" h="817">
                <a:moveTo>
                  <a:pt x="0" y="336"/>
                </a:moveTo>
                <a:lnTo>
                  <a:pt x="242" y="817"/>
                </a:lnTo>
                <a:lnTo>
                  <a:pt x="260" y="797"/>
                </a:lnTo>
                <a:lnTo>
                  <a:pt x="278" y="776"/>
                </a:lnTo>
                <a:lnTo>
                  <a:pt x="295" y="753"/>
                </a:lnTo>
                <a:lnTo>
                  <a:pt x="312" y="731"/>
                </a:lnTo>
                <a:lnTo>
                  <a:pt x="345" y="684"/>
                </a:lnTo>
                <a:lnTo>
                  <a:pt x="376" y="636"/>
                </a:lnTo>
                <a:lnTo>
                  <a:pt x="405" y="585"/>
                </a:lnTo>
                <a:lnTo>
                  <a:pt x="433" y="533"/>
                </a:lnTo>
                <a:lnTo>
                  <a:pt x="461" y="481"/>
                </a:lnTo>
                <a:lnTo>
                  <a:pt x="487" y="427"/>
                </a:lnTo>
                <a:lnTo>
                  <a:pt x="512" y="373"/>
                </a:lnTo>
                <a:lnTo>
                  <a:pt x="536" y="318"/>
                </a:lnTo>
                <a:lnTo>
                  <a:pt x="558" y="264"/>
                </a:lnTo>
                <a:lnTo>
                  <a:pt x="580" y="210"/>
                </a:lnTo>
                <a:lnTo>
                  <a:pt x="620" y="103"/>
                </a:lnTo>
                <a:lnTo>
                  <a:pt x="658" y="0"/>
                </a:lnTo>
                <a:lnTo>
                  <a:pt x="610" y="72"/>
                </a:lnTo>
                <a:lnTo>
                  <a:pt x="563" y="143"/>
                </a:lnTo>
                <a:lnTo>
                  <a:pt x="540" y="178"/>
                </a:lnTo>
                <a:lnTo>
                  <a:pt x="515" y="212"/>
                </a:lnTo>
                <a:lnTo>
                  <a:pt x="490" y="245"/>
                </a:lnTo>
                <a:lnTo>
                  <a:pt x="464" y="278"/>
                </a:lnTo>
                <a:lnTo>
                  <a:pt x="439" y="309"/>
                </a:lnTo>
                <a:lnTo>
                  <a:pt x="412" y="338"/>
                </a:lnTo>
                <a:lnTo>
                  <a:pt x="386" y="366"/>
                </a:lnTo>
                <a:lnTo>
                  <a:pt x="358" y="392"/>
                </a:lnTo>
                <a:lnTo>
                  <a:pt x="331" y="416"/>
                </a:lnTo>
                <a:lnTo>
                  <a:pt x="301" y="438"/>
                </a:lnTo>
                <a:lnTo>
                  <a:pt x="287" y="448"/>
                </a:lnTo>
                <a:lnTo>
                  <a:pt x="272" y="458"/>
                </a:lnTo>
                <a:lnTo>
                  <a:pt x="258" y="466"/>
                </a:lnTo>
                <a:lnTo>
                  <a:pt x="242" y="474"/>
                </a:lnTo>
                <a:lnTo>
                  <a:pt x="0" y="336"/>
                </a:lnTo>
                <a:close/>
              </a:path>
            </a:pathLst>
          </a:custGeom>
          <a:solidFill>
            <a:srgbClr val="527E2C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16653" tIns="58327" rIns="116653" bIns="58327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434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29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0" name="Rectangle 24"/>
          <p:cNvSpPr>
            <a:spLocks noChangeArrowheads="1"/>
          </p:cNvSpPr>
          <p:nvPr/>
        </p:nvSpPr>
        <p:spPr bwMode="auto">
          <a:xfrm>
            <a:off x="6428418" y="3439531"/>
            <a:ext cx="2130391" cy="4384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1166575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az-Latn-AZ" altLang="ru-RU" sz="2849" b="1" i="0" u="none" strike="noStrike" kern="1200" cap="none" spc="0" normalizeH="0" baseline="0" noProof="0" dirty="0">
                <a:ln>
                  <a:noFill/>
                </a:ln>
                <a:solidFill>
                  <a:srgbClr val="527E2C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Probiotiklər</a:t>
            </a:r>
            <a:r>
              <a:rPr kumimoji="0" lang="ru-RU" altLang="ru-RU" sz="2849" b="1" i="0" u="none" strike="noStrike" kern="1200" cap="none" spc="0" normalizeH="0" baseline="0" noProof="0" dirty="0">
                <a:ln>
                  <a:noFill/>
                </a:ln>
                <a:solidFill>
                  <a:srgbClr val="527E2C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</a:t>
            </a:r>
            <a:endParaRPr kumimoji="0" lang="ru-RU" altLang="ru-RU" sz="2849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pic>
        <p:nvPicPr>
          <p:cNvPr id="31" name="Рисунок 30"/>
          <p:cNvPicPr>
            <a:picLocks noChangeAspect="1"/>
          </p:cNvPicPr>
          <p:nvPr/>
        </p:nvPicPr>
        <p:blipFill rotWithShape="1"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13240" b="86371" l="14712" r="86567">
                        <a14:foregroundMark x1="41720" y1="34579" x2="41720" y2="34579"/>
                        <a14:foregroundMark x1="41933" y1="31308" x2="46269" y2="30841"/>
                        <a14:foregroundMark x1="25942" y1="55997" x2="25942" y2="55997"/>
                        <a14:foregroundMark x1="48685" y1="52882" x2="48685" y2="52882"/>
                        <a14:foregroundMark x1="51599" y1="58255" x2="51599" y2="58255"/>
                        <a14:foregroundMark x1="48756" y1="64252" x2="48756" y2="64252"/>
                        <a14:foregroundMark x1="40085" y1="35358" x2="40085" y2="35358"/>
                        <a14:foregroundMark x1="38877" y1="35358" x2="38877" y2="35358"/>
                        <a14:foregroundMark x1="43639" y1="53894" x2="43639" y2="53894"/>
                        <a14:foregroundMark x1="44279" y1="51869" x2="44279" y2="51869"/>
                        <a14:foregroundMark x1="40299" y1="49221" x2="40299" y2="49221"/>
                        <a14:foregroundMark x1="42146" y1="41589" x2="42146" y2="41589"/>
                        <a14:foregroundMark x1="16560" y1="51324" x2="16560" y2="51324"/>
                        <a14:foregroundMark x1="46695" y1="64097" x2="46695" y2="64097"/>
                        <a14:foregroundMark x1="42928" y1="63162" x2="42928" y2="63162"/>
                        <a14:foregroundMark x1="58422" y1="65888" x2="57996" y2="65810"/>
                        <a14:foregroundMark x1="59062" y1="63629" x2="59062" y2="63629"/>
                        <a14:foregroundMark x1="62473" y1="65888" x2="62473" y2="65888"/>
                        <a14:foregroundMark x1="36034" y1="43146" x2="36034" y2="43146"/>
                        <a14:foregroundMark x1="34613" y1="43380" x2="34613" y2="43380"/>
                        <a14:foregroundMark x1="31343" y1="55997" x2="31343" y2="55997"/>
                        <a14:foregroundMark x1="46127" y1="48832" x2="46127" y2="48832"/>
                        <a14:foregroundMark x1="50746" y1="60670" x2="50746" y2="60670"/>
                        <a14:foregroundMark x1="58351" y1="67445" x2="58351" y2="67445"/>
                        <a14:foregroundMark x1="54016" y1="65498" x2="54016" y2="65498"/>
                        <a14:foregroundMark x1="47050" y1="67212" x2="47050" y2="67212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4257" t="13517" r="11793" b="13519"/>
          <a:stretch/>
        </p:blipFill>
        <p:spPr>
          <a:xfrm>
            <a:off x="7506188" y="49886"/>
            <a:ext cx="3231720" cy="2908549"/>
          </a:xfrm>
          <a:prstGeom prst="rect">
            <a:avLst/>
          </a:prstGeom>
        </p:spPr>
      </p:pic>
      <p:sp>
        <p:nvSpPr>
          <p:cNvPr id="2" name="Rectangle 21">
            <a:extLst>
              <a:ext uri="{FF2B5EF4-FFF2-40B4-BE49-F238E27FC236}">
                <a16:creationId xmlns:a16="http://schemas.microsoft.com/office/drawing/2014/main" id="{D19115D1-1D31-50A7-2BDB-928972DBE7E9}"/>
              </a:ext>
            </a:extLst>
          </p:cNvPr>
          <p:cNvSpPr>
            <a:spLocks noChangeArrowheads="1"/>
          </p:cNvSpPr>
          <p:nvPr/>
        </p:nvSpPr>
        <p:spPr bwMode="auto">
          <a:xfrm>
            <a:off x="1782913" y="3605398"/>
            <a:ext cx="2687470" cy="7386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1166575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az-Latn-AZ" altLang="ru-RU" sz="2400" b="1" i="0" u="none" strike="noStrike" kern="1200" cap="none" spc="0" normalizeH="0" baseline="0" noProof="0" dirty="0">
                <a:ln>
                  <a:noFill/>
                </a:ln>
                <a:solidFill>
                  <a:srgbClr val="FEFEF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M</a:t>
            </a:r>
            <a:r>
              <a:rPr kumimoji="0" lang="en-US" altLang="ru-RU" sz="2400" b="1" i="0" u="none" strike="noStrike" kern="1200" cap="none" spc="0" normalizeH="0" baseline="0" noProof="0" dirty="0">
                <a:ln>
                  <a:noFill/>
                </a:ln>
                <a:solidFill>
                  <a:srgbClr val="FEFEF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aye </a:t>
            </a:r>
            <a:r>
              <a:rPr kumimoji="0" lang="en-US" altLang="ru-RU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FEFEF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və</a:t>
            </a:r>
            <a:r>
              <a:rPr kumimoji="0" lang="en-US" altLang="ru-RU" sz="2400" b="1" i="0" u="none" strike="noStrike" kern="1200" cap="none" spc="0" normalizeH="0" baseline="0" noProof="0" dirty="0">
                <a:ln>
                  <a:noFill/>
                </a:ln>
                <a:solidFill>
                  <a:srgbClr val="FEFEF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</a:t>
            </a:r>
            <a:r>
              <a:rPr kumimoji="0" lang="en-US" altLang="ru-RU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FEFEF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elektrolit</a:t>
            </a:r>
            <a:r>
              <a:rPr kumimoji="0" lang="en-US" altLang="ru-RU" sz="2400" b="1" i="0" u="none" strike="noStrike" kern="1200" cap="none" spc="0" normalizeH="0" baseline="0" noProof="0" dirty="0">
                <a:ln>
                  <a:noFill/>
                </a:ln>
                <a:solidFill>
                  <a:srgbClr val="FEFEF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</a:t>
            </a:r>
            <a:r>
              <a:rPr kumimoji="0" lang="en-US" altLang="ru-RU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FEFEF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itkilərinin</a:t>
            </a:r>
            <a:r>
              <a:rPr kumimoji="0" lang="en-US" altLang="ru-RU" sz="2400" b="1" i="0" u="none" strike="noStrike" kern="1200" cap="none" spc="0" normalizeH="0" baseline="0" noProof="0" dirty="0">
                <a:ln>
                  <a:noFill/>
                </a:ln>
                <a:solidFill>
                  <a:srgbClr val="FEFEF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</a:t>
            </a:r>
            <a:r>
              <a:rPr kumimoji="0" lang="az-Latn-AZ" altLang="ru-RU" sz="2400" b="1" i="0" u="none" strike="noStrike" kern="1200" cap="none" spc="0" normalizeH="0" baseline="0" noProof="0" dirty="0">
                <a:ln>
                  <a:noFill/>
                </a:ln>
                <a:solidFill>
                  <a:srgbClr val="FEFEF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bərpası</a:t>
            </a:r>
            <a:endParaRPr kumimoji="0" lang="ru-RU" altLang="ru-RU" sz="2400" b="1" i="0" u="none" strike="noStrike" kern="1200" cap="none" spc="0" normalizeH="0" baseline="0" noProof="0" dirty="0">
              <a:ln>
                <a:noFill/>
              </a:ln>
              <a:solidFill>
                <a:srgbClr val="FEFEF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AACB89CD-EE0F-EB8B-DAA3-AE31BB4E84F8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22413" t="17440" r="22073" b="13138"/>
          <a:stretch/>
        </p:blipFill>
        <p:spPr>
          <a:xfrm>
            <a:off x="9383451" y="3046313"/>
            <a:ext cx="2369064" cy="2094098"/>
          </a:xfrm>
          <a:prstGeom prst="rect">
            <a:avLst/>
          </a:prstGeom>
        </p:spPr>
      </p:pic>
      <p:pic>
        <p:nvPicPr>
          <p:cNvPr id="24" name="Рисунок 23">
            <a:extLst>
              <a:ext uri="{FF2B5EF4-FFF2-40B4-BE49-F238E27FC236}">
                <a16:creationId xmlns:a16="http://schemas.microsoft.com/office/drawing/2014/main" id="{A2EA1447-84A9-450A-B786-57F8E7C79503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06506" y="6484269"/>
            <a:ext cx="1779427" cy="2392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715401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" name="Прямоугольник 67">
            <a:extLst>
              <a:ext uri="{FF2B5EF4-FFF2-40B4-BE49-F238E27FC236}">
                <a16:creationId xmlns:a16="http://schemas.microsoft.com/office/drawing/2014/main" id="{6C634229-BB42-344D-A47E-57116CF13394}"/>
              </a:ext>
            </a:extLst>
          </p:cNvPr>
          <p:cNvSpPr/>
          <p:nvPr/>
        </p:nvSpPr>
        <p:spPr>
          <a:xfrm>
            <a:off x="0" y="1"/>
            <a:ext cx="12192000" cy="1185775"/>
          </a:xfrm>
          <a:prstGeom prst="rect">
            <a:avLst/>
          </a:prstGeom>
          <a:gradFill flip="none" rotWithShape="1">
            <a:gsLst>
              <a:gs pos="0">
                <a:srgbClr val="14447A">
                  <a:shade val="30000"/>
                  <a:satMod val="115000"/>
                </a:srgbClr>
              </a:gs>
              <a:gs pos="50000">
                <a:srgbClr val="14447A">
                  <a:shade val="67500"/>
                  <a:satMod val="115000"/>
                </a:srgbClr>
              </a:gs>
              <a:gs pos="100000">
                <a:srgbClr val="14447A">
                  <a:shade val="100000"/>
                  <a:satMod val="115000"/>
                </a:srgb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256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Овал 9">
            <a:extLst>
              <a:ext uri="{FF2B5EF4-FFF2-40B4-BE49-F238E27FC236}">
                <a16:creationId xmlns:a16="http://schemas.microsoft.com/office/drawing/2014/main" id="{3ABCB9F6-B2C4-9C46-BB64-77028513A4CB}"/>
              </a:ext>
            </a:extLst>
          </p:cNvPr>
          <p:cNvSpPr/>
          <p:nvPr/>
        </p:nvSpPr>
        <p:spPr>
          <a:xfrm>
            <a:off x="1689759" y="270425"/>
            <a:ext cx="2144952" cy="2144952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256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3" name="Group 4"/>
          <p:cNvGrpSpPr>
            <a:grpSpLocks noChangeAspect="1"/>
          </p:cNvGrpSpPr>
          <p:nvPr/>
        </p:nvGrpSpPr>
        <p:grpSpPr bwMode="auto">
          <a:xfrm>
            <a:off x="1930257" y="410333"/>
            <a:ext cx="8076589" cy="4824082"/>
            <a:chOff x="308" y="218"/>
            <a:chExt cx="3988" cy="2382"/>
          </a:xfrm>
        </p:grpSpPr>
        <p:sp>
          <p:nvSpPr>
            <p:cNvPr id="13" name="Rectangle 14"/>
            <p:cNvSpPr>
              <a:spLocks noChangeArrowheads="1"/>
            </p:cNvSpPr>
            <p:nvPr/>
          </p:nvSpPr>
          <p:spPr bwMode="auto">
            <a:xfrm>
              <a:off x="317" y="404"/>
              <a:ext cx="38" cy="16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1166567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altLang="ru-RU" sz="2168" b="1" i="0" u="none" strike="noStrike" kern="1200" cap="none" spc="0" normalizeH="0" baseline="0" noProof="0">
                  <a:ln>
                    <a:noFill/>
                  </a:ln>
                  <a:solidFill>
                    <a:srgbClr val="FEFEFE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rPr>
                <a:t> </a:t>
              </a:r>
              <a:endParaRPr kumimoji="0" lang="ru-RU" altLang="ru-RU" sz="2297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sp>
          <p:nvSpPr>
            <p:cNvPr id="14" name="Freeform 15"/>
            <p:cNvSpPr>
              <a:spLocks/>
            </p:cNvSpPr>
            <p:nvPr/>
          </p:nvSpPr>
          <p:spPr bwMode="auto">
            <a:xfrm>
              <a:off x="1304" y="1813"/>
              <a:ext cx="470" cy="397"/>
            </a:xfrm>
            <a:custGeom>
              <a:avLst/>
              <a:gdLst>
                <a:gd name="T0" fmla="*/ 629 w 1881"/>
                <a:gd name="T1" fmla="*/ 1581 h 1591"/>
                <a:gd name="T2" fmla="*/ 1647 w 1881"/>
                <a:gd name="T3" fmla="*/ 556 h 1591"/>
                <a:gd name="T4" fmla="*/ 1772 w 1881"/>
                <a:gd name="T5" fmla="*/ 681 h 1591"/>
                <a:gd name="T6" fmla="*/ 1881 w 1881"/>
                <a:gd name="T7" fmla="*/ 89 h 1591"/>
                <a:gd name="T8" fmla="*/ 1881 w 1881"/>
                <a:gd name="T9" fmla="*/ 78 h 1591"/>
                <a:gd name="T10" fmla="*/ 1881 w 1881"/>
                <a:gd name="T11" fmla="*/ 68 h 1591"/>
                <a:gd name="T12" fmla="*/ 1879 w 1881"/>
                <a:gd name="T13" fmla="*/ 58 h 1591"/>
                <a:gd name="T14" fmla="*/ 1877 w 1881"/>
                <a:gd name="T15" fmla="*/ 50 h 1591"/>
                <a:gd name="T16" fmla="*/ 1875 w 1881"/>
                <a:gd name="T17" fmla="*/ 40 h 1591"/>
                <a:gd name="T18" fmla="*/ 1871 w 1881"/>
                <a:gd name="T19" fmla="*/ 33 h 1591"/>
                <a:gd name="T20" fmla="*/ 1866 w 1881"/>
                <a:gd name="T21" fmla="*/ 26 h 1591"/>
                <a:gd name="T22" fmla="*/ 1862 w 1881"/>
                <a:gd name="T23" fmla="*/ 20 h 1591"/>
                <a:gd name="T24" fmla="*/ 1856 w 1881"/>
                <a:gd name="T25" fmla="*/ 14 h 1591"/>
                <a:gd name="T26" fmla="*/ 1849 w 1881"/>
                <a:gd name="T27" fmla="*/ 10 h 1591"/>
                <a:gd name="T28" fmla="*/ 1840 w 1881"/>
                <a:gd name="T29" fmla="*/ 6 h 1591"/>
                <a:gd name="T30" fmla="*/ 1831 w 1881"/>
                <a:gd name="T31" fmla="*/ 4 h 1591"/>
                <a:gd name="T32" fmla="*/ 1820 w 1881"/>
                <a:gd name="T33" fmla="*/ 1 h 1591"/>
                <a:gd name="T34" fmla="*/ 1809 w 1881"/>
                <a:gd name="T35" fmla="*/ 0 h 1591"/>
                <a:gd name="T36" fmla="*/ 1797 w 1881"/>
                <a:gd name="T37" fmla="*/ 0 h 1591"/>
                <a:gd name="T38" fmla="*/ 1783 w 1881"/>
                <a:gd name="T39" fmla="*/ 1 h 1591"/>
                <a:gd name="T40" fmla="*/ 1172 w 1881"/>
                <a:gd name="T41" fmla="*/ 143 h 1591"/>
                <a:gd name="T42" fmla="*/ 1298 w 1881"/>
                <a:gd name="T43" fmla="*/ 269 h 1591"/>
                <a:gd name="T44" fmla="*/ 0 w 1881"/>
                <a:gd name="T45" fmla="*/ 1591 h 1591"/>
                <a:gd name="T46" fmla="*/ 629 w 1881"/>
                <a:gd name="T47" fmla="*/ 1581 h 15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881" h="1591">
                  <a:moveTo>
                    <a:pt x="629" y="1581"/>
                  </a:moveTo>
                  <a:lnTo>
                    <a:pt x="1647" y="556"/>
                  </a:lnTo>
                  <a:lnTo>
                    <a:pt x="1772" y="681"/>
                  </a:lnTo>
                  <a:lnTo>
                    <a:pt x="1881" y="89"/>
                  </a:lnTo>
                  <a:lnTo>
                    <a:pt x="1881" y="78"/>
                  </a:lnTo>
                  <a:lnTo>
                    <a:pt x="1881" y="68"/>
                  </a:lnTo>
                  <a:lnTo>
                    <a:pt x="1879" y="58"/>
                  </a:lnTo>
                  <a:lnTo>
                    <a:pt x="1877" y="50"/>
                  </a:lnTo>
                  <a:lnTo>
                    <a:pt x="1875" y="40"/>
                  </a:lnTo>
                  <a:lnTo>
                    <a:pt x="1871" y="33"/>
                  </a:lnTo>
                  <a:lnTo>
                    <a:pt x="1866" y="26"/>
                  </a:lnTo>
                  <a:lnTo>
                    <a:pt x="1862" y="20"/>
                  </a:lnTo>
                  <a:lnTo>
                    <a:pt x="1856" y="14"/>
                  </a:lnTo>
                  <a:lnTo>
                    <a:pt x="1849" y="10"/>
                  </a:lnTo>
                  <a:lnTo>
                    <a:pt x="1840" y="6"/>
                  </a:lnTo>
                  <a:lnTo>
                    <a:pt x="1831" y="4"/>
                  </a:lnTo>
                  <a:lnTo>
                    <a:pt x="1820" y="1"/>
                  </a:lnTo>
                  <a:lnTo>
                    <a:pt x="1809" y="0"/>
                  </a:lnTo>
                  <a:lnTo>
                    <a:pt x="1797" y="0"/>
                  </a:lnTo>
                  <a:lnTo>
                    <a:pt x="1783" y="1"/>
                  </a:lnTo>
                  <a:lnTo>
                    <a:pt x="1172" y="143"/>
                  </a:lnTo>
                  <a:lnTo>
                    <a:pt x="1298" y="269"/>
                  </a:lnTo>
                  <a:lnTo>
                    <a:pt x="0" y="1591"/>
                  </a:lnTo>
                  <a:lnTo>
                    <a:pt x="629" y="1581"/>
                  </a:lnTo>
                  <a:close/>
                </a:path>
              </a:pathLst>
            </a:custGeom>
            <a:solidFill>
              <a:srgbClr val="699F3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6653" tIns="58327" rIns="116653" bIns="58327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56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" name="Freeform 16"/>
            <p:cNvSpPr>
              <a:spLocks/>
            </p:cNvSpPr>
            <p:nvPr/>
          </p:nvSpPr>
          <p:spPr bwMode="auto">
            <a:xfrm>
              <a:off x="3618" y="1811"/>
              <a:ext cx="471" cy="397"/>
            </a:xfrm>
            <a:custGeom>
              <a:avLst/>
              <a:gdLst>
                <a:gd name="T0" fmla="*/ 1252 w 1881"/>
                <a:gd name="T1" fmla="*/ 1582 h 1591"/>
                <a:gd name="T2" fmla="*/ 234 w 1881"/>
                <a:gd name="T3" fmla="*/ 556 h 1591"/>
                <a:gd name="T4" fmla="*/ 108 w 1881"/>
                <a:gd name="T5" fmla="*/ 681 h 1591"/>
                <a:gd name="T6" fmla="*/ 0 w 1881"/>
                <a:gd name="T7" fmla="*/ 89 h 1591"/>
                <a:gd name="T8" fmla="*/ 0 w 1881"/>
                <a:gd name="T9" fmla="*/ 78 h 1591"/>
                <a:gd name="T10" fmla="*/ 0 w 1881"/>
                <a:gd name="T11" fmla="*/ 68 h 1591"/>
                <a:gd name="T12" fmla="*/ 1 w 1881"/>
                <a:gd name="T13" fmla="*/ 58 h 1591"/>
                <a:gd name="T14" fmla="*/ 3 w 1881"/>
                <a:gd name="T15" fmla="*/ 50 h 1591"/>
                <a:gd name="T16" fmla="*/ 6 w 1881"/>
                <a:gd name="T17" fmla="*/ 42 h 1591"/>
                <a:gd name="T18" fmla="*/ 9 w 1881"/>
                <a:gd name="T19" fmla="*/ 33 h 1591"/>
                <a:gd name="T20" fmla="*/ 13 w 1881"/>
                <a:gd name="T21" fmla="*/ 26 h 1591"/>
                <a:gd name="T22" fmla="*/ 19 w 1881"/>
                <a:gd name="T23" fmla="*/ 20 h 1591"/>
                <a:gd name="T24" fmla="*/ 25 w 1881"/>
                <a:gd name="T25" fmla="*/ 16 h 1591"/>
                <a:gd name="T26" fmla="*/ 32 w 1881"/>
                <a:gd name="T27" fmla="*/ 11 h 1591"/>
                <a:gd name="T28" fmla="*/ 40 w 1881"/>
                <a:gd name="T29" fmla="*/ 6 h 1591"/>
                <a:gd name="T30" fmla="*/ 49 w 1881"/>
                <a:gd name="T31" fmla="*/ 4 h 1591"/>
                <a:gd name="T32" fmla="*/ 60 w 1881"/>
                <a:gd name="T33" fmla="*/ 1 h 1591"/>
                <a:gd name="T34" fmla="*/ 71 w 1881"/>
                <a:gd name="T35" fmla="*/ 0 h 1591"/>
                <a:gd name="T36" fmla="*/ 84 w 1881"/>
                <a:gd name="T37" fmla="*/ 0 h 1591"/>
                <a:gd name="T38" fmla="*/ 98 w 1881"/>
                <a:gd name="T39" fmla="*/ 1 h 1591"/>
                <a:gd name="T40" fmla="*/ 708 w 1881"/>
                <a:gd name="T41" fmla="*/ 143 h 1591"/>
                <a:gd name="T42" fmla="*/ 583 w 1881"/>
                <a:gd name="T43" fmla="*/ 269 h 1591"/>
                <a:gd name="T44" fmla="*/ 1881 w 1881"/>
                <a:gd name="T45" fmla="*/ 1591 h 1591"/>
                <a:gd name="T46" fmla="*/ 1252 w 1881"/>
                <a:gd name="T47" fmla="*/ 1582 h 15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881" h="1591">
                  <a:moveTo>
                    <a:pt x="1252" y="1582"/>
                  </a:moveTo>
                  <a:lnTo>
                    <a:pt x="234" y="556"/>
                  </a:lnTo>
                  <a:lnTo>
                    <a:pt x="108" y="681"/>
                  </a:lnTo>
                  <a:lnTo>
                    <a:pt x="0" y="89"/>
                  </a:lnTo>
                  <a:lnTo>
                    <a:pt x="0" y="78"/>
                  </a:lnTo>
                  <a:lnTo>
                    <a:pt x="0" y="68"/>
                  </a:lnTo>
                  <a:lnTo>
                    <a:pt x="1" y="58"/>
                  </a:lnTo>
                  <a:lnTo>
                    <a:pt x="3" y="50"/>
                  </a:lnTo>
                  <a:lnTo>
                    <a:pt x="6" y="42"/>
                  </a:lnTo>
                  <a:lnTo>
                    <a:pt x="9" y="33"/>
                  </a:lnTo>
                  <a:lnTo>
                    <a:pt x="13" y="26"/>
                  </a:lnTo>
                  <a:lnTo>
                    <a:pt x="19" y="20"/>
                  </a:lnTo>
                  <a:lnTo>
                    <a:pt x="25" y="16"/>
                  </a:lnTo>
                  <a:lnTo>
                    <a:pt x="32" y="11"/>
                  </a:lnTo>
                  <a:lnTo>
                    <a:pt x="40" y="6"/>
                  </a:lnTo>
                  <a:lnTo>
                    <a:pt x="49" y="4"/>
                  </a:lnTo>
                  <a:lnTo>
                    <a:pt x="60" y="1"/>
                  </a:lnTo>
                  <a:lnTo>
                    <a:pt x="71" y="0"/>
                  </a:lnTo>
                  <a:lnTo>
                    <a:pt x="84" y="0"/>
                  </a:lnTo>
                  <a:lnTo>
                    <a:pt x="98" y="1"/>
                  </a:lnTo>
                  <a:lnTo>
                    <a:pt x="708" y="143"/>
                  </a:lnTo>
                  <a:lnTo>
                    <a:pt x="583" y="269"/>
                  </a:lnTo>
                  <a:lnTo>
                    <a:pt x="1881" y="1591"/>
                  </a:lnTo>
                  <a:lnTo>
                    <a:pt x="1252" y="1582"/>
                  </a:lnTo>
                  <a:close/>
                </a:path>
              </a:pathLst>
            </a:custGeom>
            <a:solidFill>
              <a:srgbClr val="699F3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6653" tIns="58327" rIns="116653" bIns="58327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56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" name="Rectangle 17"/>
            <p:cNvSpPr>
              <a:spLocks noChangeArrowheads="1"/>
            </p:cNvSpPr>
            <p:nvPr/>
          </p:nvSpPr>
          <p:spPr bwMode="auto">
            <a:xfrm>
              <a:off x="1950" y="1498"/>
              <a:ext cx="1425" cy="29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ctr" defTabSz="1166567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az-Latn-AZ" altLang="ru-RU" sz="1914" b="1" i="0" u="none" strike="noStrike" kern="1200" cap="none" spc="0" normalizeH="0" baseline="0" noProof="0" dirty="0">
                  <a:ln>
                    <a:noFill/>
                  </a:ln>
                  <a:solidFill>
                    <a:srgbClr val="075183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rPr>
                <a:t>Probiotik qəbulu bu həlqəni sındırır</a:t>
              </a:r>
              <a:r>
                <a:rPr kumimoji="0" lang="ru-RU" altLang="ru-RU" sz="1914" b="1" i="0" u="none" strike="noStrike" kern="1200" cap="none" spc="0" normalizeH="0" baseline="30000" noProof="0" dirty="0">
                  <a:ln>
                    <a:noFill/>
                  </a:ln>
                  <a:solidFill>
                    <a:srgbClr val="075183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rPr>
                <a:t>2</a:t>
              </a:r>
              <a:endParaRPr kumimoji="0" lang="ru-RU" altLang="ru-RU" sz="2297" b="0" i="0" u="none" strike="noStrike" kern="1200" cap="none" spc="0" normalizeH="0" baseline="30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sp>
          <p:nvSpPr>
            <p:cNvPr id="21" name="Freeform 22"/>
            <p:cNvSpPr>
              <a:spLocks/>
            </p:cNvSpPr>
            <p:nvPr/>
          </p:nvSpPr>
          <p:spPr bwMode="auto">
            <a:xfrm>
              <a:off x="1787" y="806"/>
              <a:ext cx="310" cy="482"/>
            </a:xfrm>
            <a:custGeom>
              <a:avLst/>
              <a:gdLst>
                <a:gd name="T0" fmla="*/ 995 w 1236"/>
                <a:gd name="T1" fmla="*/ 25 h 1927"/>
                <a:gd name="T2" fmla="*/ 1037 w 1236"/>
                <a:gd name="T3" fmla="*/ 6 h 1927"/>
                <a:gd name="T4" fmla="*/ 1080 w 1236"/>
                <a:gd name="T5" fmla="*/ 0 h 1927"/>
                <a:gd name="T6" fmla="*/ 1125 w 1236"/>
                <a:gd name="T7" fmla="*/ 6 h 1927"/>
                <a:gd name="T8" fmla="*/ 1167 w 1236"/>
                <a:gd name="T9" fmla="*/ 25 h 1927"/>
                <a:gd name="T10" fmla="*/ 1201 w 1236"/>
                <a:gd name="T11" fmla="*/ 57 h 1927"/>
                <a:gd name="T12" fmla="*/ 1224 w 1236"/>
                <a:gd name="T13" fmla="*/ 96 h 1927"/>
                <a:gd name="T14" fmla="*/ 1236 w 1236"/>
                <a:gd name="T15" fmla="*/ 139 h 1927"/>
                <a:gd name="T16" fmla="*/ 1234 w 1236"/>
                <a:gd name="T17" fmla="*/ 184 h 1927"/>
                <a:gd name="T18" fmla="*/ 1219 w 1236"/>
                <a:gd name="T19" fmla="*/ 227 h 1927"/>
                <a:gd name="T20" fmla="*/ 1191 w 1236"/>
                <a:gd name="T21" fmla="*/ 265 h 1927"/>
                <a:gd name="T22" fmla="*/ 1074 w 1236"/>
                <a:gd name="T23" fmla="*/ 388 h 1927"/>
                <a:gd name="T24" fmla="*/ 964 w 1236"/>
                <a:gd name="T25" fmla="*/ 515 h 1927"/>
                <a:gd name="T26" fmla="*/ 862 w 1236"/>
                <a:gd name="T27" fmla="*/ 649 h 1927"/>
                <a:gd name="T28" fmla="*/ 765 w 1236"/>
                <a:gd name="T29" fmla="*/ 787 h 1927"/>
                <a:gd name="T30" fmla="*/ 675 w 1236"/>
                <a:gd name="T31" fmla="*/ 931 h 1927"/>
                <a:gd name="T32" fmla="*/ 592 w 1236"/>
                <a:gd name="T33" fmla="*/ 1078 h 1927"/>
                <a:gd name="T34" fmla="*/ 518 w 1236"/>
                <a:gd name="T35" fmla="*/ 1230 h 1927"/>
                <a:gd name="T36" fmla="*/ 449 w 1236"/>
                <a:gd name="T37" fmla="*/ 1383 h 1927"/>
                <a:gd name="T38" fmla="*/ 389 w 1236"/>
                <a:gd name="T39" fmla="*/ 1542 h 1927"/>
                <a:gd name="T40" fmla="*/ 337 w 1236"/>
                <a:gd name="T41" fmla="*/ 1703 h 1927"/>
                <a:gd name="T42" fmla="*/ 301 w 1236"/>
                <a:gd name="T43" fmla="*/ 1827 h 1927"/>
                <a:gd name="T44" fmla="*/ 279 w 1236"/>
                <a:gd name="T45" fmla="*/ 1867 h 1927"/>
                <a:gd name="T46" fmla="*/ 246 w 1236"/>
                <a:gd name="T47" fmla="*/ 1898 h 1927"/>
                <a:gd name="T48" fmla="*/ 207 w 1236"/>
                <a:gd name="T49" fmla="*/ 1919 h 1927"/>
                <a:gd name="T50" fmla="*/ 162 w 1236"/>
                <a:gd name="T51" fmla="*/ 1927 h 1927"/>
                <a:gd name="T52" fmla="*/ 116 w 1236"/>
                <a:gd name="T53" fmla="*/ 1923 h 1927"/>
                <a:gd name="T54" fmla="*/ 73 w 1236"/>
                <a:gd name="T55" fmla="*/ 1904 h 1927"/>
                <a:gd name="T56" fmla="*/ 39 w 1236"/>
                <a:gd name="T57" fmla="*/ 1874 h 1927"/>
                <a:gd name="T58" fmla="*/ 14 w 1236"/>
                <a:gd name="T59" fmla="*/ 1836 h 1927"/>
                <a:gd name="T60" fmla="*/ 1 w 1236"/>
                <a:gd name="T61" fmla="*/ 1794 h 1927"/>
                <a:gd name="T62" fmla="*/ 1 w 1236"/>
                <a:gd name="T63" fmla="*/ 1748 h 1927"/>
                <a:gd name="T64" fmla="*/ 39 w 1236"/>
                <a:gd name="T65" fmla="*/ 1613 h 1927"/>
                <a:gd name="T66" fmla="*/ 95 w 1236"/>
                <a:gd name="T67" fmla="*/ 1437 h 1927"/>
                <a:gd name="T68" fmla="*/ 162 w 1236"/>
                <a:gd name="T69" fmla="*/ 1265 h 1927"/>
                <a:gd name="T70" fmla="*/ 235 w 1236"/>
                <a:gd name="T71" fmla="*/ 1096 h 1927"/>
                <a:gd name="T72" fmla="*/ 318 w 1236"/>
                <a:gd name="T73" fmla="*/ 932 h 1927"/>
                <a:gd name="T74" fmla="*/ 408 w 1236"/>
                <a:gd name="T75" fmla="*/ 772 h 1927"/>
                <a:gd name="T76" fmla="*/ 504 w 1236"/>
                <a:gd name="T77" fmla="*/ 616 h 1927"/>
                <a:gd name="T78" fmla="*/ 610 w 1236"/>
                <a:gd name="T79" fmla="*/ 466 h 1927"/>
                <a:gd name="T80" fmla="*/ 723 w 1236"/>
                <a:gd name="T81" fmla="*/ 320 h 1927"/>
                <a:gd name="T82" fmla="*/ 844 w 1236"/>
                <a:gd name="T83" fmla="*/ 180 h 1927"/>
                <a:gd name="T84" fmla="*/ 970 w 1236"/>
                <a:gd name="T85" fmla="*/ 45 h 19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236" h="1927">
                  <a:moveTo>
                    <a:pt x="970" y="45"/>
                  </a:moveTo>
                  <a:lnTo>
                    <a:pt x="982" y="34"/>
                  </a:lnTo>
                  <a:lnTo>
                    <a:pt x="995" y="25"/>
                  </a:lnTo>
                  <a:lnTo>
                    <a:pt x="1008" y="18"/>
                  </a:lnTo>
                  <a:lnTo>
                    <a:pt x="1022" y="10"/>
                  </a:lnTo>
                  <a:lnTo>
                    <a:pt x="1037" y="6"/>
                  </a:lnTo>
                  <a:lnTo>
                    <a:pt x="1051" y="2"/>
                  </a:lnTo>
                  <a:lnTo>
                    <a:pt x="1066" y="0"/>
                  </a:lnTo>
                  <a:lnTo>
                    <a:pt x="1080" y="0"/>
                  </a:lnTo>
                  <a:lnTo>
                    <a:pt x="1096" y="0"/>
                  </a:lnTo>
                  <a:lnTo>
                    <a:pt x="1110" y="2"/>
                  </a:lnTo>
                  <a:lnTo>
                    <a:pt x="1125" y="6"/>
                  </a:lnTo>
                  <a:lnTo>
                    <a:pt x="1139" y="10"/>
                  </a:lnTo>
                  <a:lnTo>
                    <a:pt x="1154" y="16"/>
                  </a:lnTo>
                  <a:lnTo>
                    <a:pt x="1167" y="25"/>
                  </a:lnTo>
                  <a:lnTo>
                    <a:pt x="1178" y="34"/>
                  </a:lnTo>
                  <a:lnTo>
                    <a:pt x="1190" y="45"/>
                  </a:lnTo>
                  <a:lnTo>
                    <a:pt x="1201" y="57"/>
                  </a:lnTo>
                  <a:lnTo>
                    <a:pt x="1210" y="68"/>
                  </a:lnTo>
                  <a:lnTo>
                    <a:pt x="1219" y="83"/>
                  </a:lnTo>
                  <a:lnTo>
                    <a:pt x="1224" y="96"/>
                  </a:lnTo>
                  <a:lnTo>
                    <a:pt x="1230" y="110"/>
                  </a:lnTo>
                  <a:lnTo>
                    <a:pt x="1234" y="125"/>
                  </a:lnTo>
                  <a:lnTo>
                    <a:pt x="1236" y="139"/>
                  </a:lnTo>
                  <a:lnTo>
                    <a:pt x="1236" y="155"/>
                  </a:lnTo>
                  <a:lnTo>
                    <a:pt x="1236" y="169"/>
                  </a:lnTo>
                  <a:lnTo>
                    <a:pt x="1234" y="184"/>
                  </a:lnTo>
                  <a:lnTo>
                    <a:pt x="1230" y="199"/>
                  </a:lnTo>
                  <a:lnTo>
                    <a:pt x="1226" y="213"/>
                  </a:lnTo>
                  <a:lnTo>
                    <a:pt x="1219" y="227"/>
                  </a:lnTo>
                  <a:lnTo>
                    <a:pt x="1211" y="240"/>
                  </a:lnTo>
                  <a:lnTo>
                    <a:pt x="1202" y="253"/>
                  </a:lnTo>
                  <a:lnTo>
                    <a:pt x="1191" y="265"/>
                  </a:lnTo>
                  <a:lnTo>
                    <a:pt x="1152" y="305"/>
                  </a:lnTo>
                  <a:lnTo>
                    <a:pt x="1113" y="346"/>
                  </a:lnTo>
                  <a:lnTo>
                    <a:pt x="1074" y="388"/>
                  </a:lnTo>
                  <a:lnTo>
                    <a:pt x="1038" y="430"/>
                  </a:lnTo>
                  <a:lnTo>
                    <a:pt x="1001" y="473"/>
                  </a:lnTo>
                  <a:lnTo>
                    <a:pt x="964" y="515"/>
                  </a:lnTo>
                  <a:lnTo>
                    <a:pt x="930" y="560"/>
                  </a:lnTo>
                  <a:lnTo>
                    <a:pt x="896" y="604"/>
                  </a:lnTo>
                  <a:lnTo>
                    <a:pt x="862" y="649"/>
                  </a:lnTo>
                  <a:lnTo>
                    <a:pt x="828" y="695"/>
                  </a:lnTo>
                  <a:lnTo>
                    <a:pt x="797" y="741"/>
                  </a:lnTo>
                  <a:lnTo>
                    <a:pt x="765" y="787"/>
                  </a:lnTo>
                  <a:lnTo>
                    <a:pt x="734" y="835"/>
                  </a:lnTo>
                  <a:lnTo>
                    <a:pt x="704" y="883"/>
                  </a:lnTo>
                  <a:lnTo>
                    <a:pt x="675" y="931"/>
                  </a:lnTo>
                  <a:lnTo>
                    <a:pt x="646" y="979"/>
                  </a:lnTo>
                  <a:lnTo>
                    <a:pt x="619" y="1029"/>
                  </a:lnTo>
                  <a:lnTo>
                    <a:pt x="592" y="1078"/>
                  </a:lnTo>
                  <a:lnTo>
                    <a:pt x="566" y="1128"/>
                  </a:lnTo>
                  <a:lnTo>
                    <a:pt x="541" y="1179"/>
                  </a:lnTo>
                  <a:lnTo>
                    <a:pt x="518" y="1230"/>
                  </a:lnTo>
                  <a:lnTo>
                    <a:pt x="494" y="1281"/>
                  </a:lnTo>
                  <a:lnTo>
                    <a:pt x="471" y="1331"/>
                  </a:lnTo>
                  <a:lnTo>
                    <a:pt x="449" y="1383"/>
                  </a:lnTo>
                  <a:lnTo>
                    <a:pt x="428" y="1435"/>
                  </a:lnTo>
                  <a:lnTo>
                    <a:pt x="408" y="1489"/>
                  </a:lnTo>
                  <a:lnTo>
                    <a:pt x="389" y="1542"/>
                  </a:lnTo>
                  <a:lnTo>
                    <a:pt x="371" y="1595"/>
                  </a:lnTo>
                  <a:lnTo>
                    <a:pt x="353" y="1648"/>
                  </a:lnTo>
                  <a:lnTo>
                    <a:pt x="337" y="1703"/>
                  </a:lnTo>
                  <a:lnTo>
                    <a:pt x="320" y="1757"/>
                  </a:lnTo>
                  <a:lnTo>
                    <a:pt x="306" y="1812"/>
                  </a:lnTo>
                  <a:lnTo>
                    <a:pt x="301" y="1827"/>
                  </a:lnTo>
                  <a:lnTo>
                    <a:pt x="294" y="1841"/>
                  </a:lnTo>
                  <a:lnTo>
                    <a:pt x="287" y="1854"/>
                  </a:lnTo>
                  <a:lnTo>
                    <a:pt x="279" y="1867"/>
                  </a:lnTo>
                  <a:lnTo>
                    <a:pt x="268" y="1878"/>
                  </a:lnTo>
                  <a:lnTo>
                    <a:pt x="257" y="1888"/>
                  </a:lnTo>
                  <a:lnTo>
                    <a:pt x="246" y="1898"/>
                  </a:lnTo>
                  <a:lnTo>
                    <a:pt x="234" y="1906"/>
                  </a:lnTo>
                  <a:lnTo>
                    <a:pt x="221" y="1913"/>
                  </a:lnTo>
                  <a:lnTo>
                    <a:pt x="207" y="1919"/>
                  </a:lnTo>
                  <a:lnTo>
                    <a:pt x="192" y="1923"/>
                  </a:lnTo>
                  <a:lnTo>
                    <a:pt x="177" y="1926"/>
                  </a:lnTo>
                  <a:lnTo>
                    <a:pt x="162" y="1927"/>
                  </a:lnTo>
                  <a:lnTo>
                    <a:pt x="146" y="1927"/>
                  </a:lnTo>
                  <a:lnTo>
                    <a:pt x="131" y="1925"/>
                  </a:lnTo>
                  <a:lnTo>
                    <a:pt x="116" y="1923"/>
                  </a:lnTo>
                  <a:lnTo>
                    <a:pt x="100" y="1917"/>
                  </a:lnTo>
                  <a:lnTo>
                    <a:pt x="86" y="1911"/>
                  </a:lnTo>
                  <a:lnTo>
                    <a:pt x="73" y="1904"/>
                  </a:lnTo>
                  <a:lnTo>
                    <a:pt x="60" y="1895"/>
                  </a:lnTo>
                  <a:lnTo>
                    <a:pt x="48" y="1885"/>
                  </a:lnTo>
                  <a:lnTo>
                    <a:pt x="39" y="1874"/>
                  </a:lnTo>
                  <a:lnTo>
                    <a:pt x="29" y="1862"/>
                  </a:lnTo>
                  <a:lnTo>
                    <a:pt x="21" y="1851"/>
                  </a:lnTo>
                  <a:lnTo>
                    <a:pt x="14" y="1836"/>
                  </a:lnTo>
                  <a:lnTo>
                    <a:pt x="8" y="1823"/>
                  </a:lnTo>
                  <a:lnTo>
                    <a:pt x="4" y="1808"/>
                  </a:lnTo>
                  <a:lnTo>
                    <a:pt x="1" y="1794"/>
                  </a:lnTo>
                  <a:lnTo>
                    <a:pt x="0" y="1778"/>
                  </a:lnTo>
                  <a:lnTo>
                    <a:pt x="0" y="1763"/>
                  </a:lnTo>
                  <a:lnTo>
                    <a:pt x="1" y="1748"/>
                  </a:lnTo>
                  <a:lnTo>
                    <a:pt x="4" y="1732"/>
                  </a:lnTo>
                  <a:lnTo>
                    <a:pt x="21" y="1672"/>
                  </a:lnTo>
                  <a:lnTo>
                    <a:pt x="39" y="1613"/>
                  </a:lnTo>
                  <a:lnTo>
                    <a:pt x="56" y="1554"/>
                  </a:lnTo>
                  <a:lnTo>
                    <a:pt x="75" y="1496"/>
                  </a:lnTo>
                  <a:lnTo>
                    <a:pt x="95" y="1437"/>
                  </a:lnTo>
                  <a:lnTo>
                    <a:pt x="117" y="1379"/>
                  </a:lnTo>
                  <a:lnTo>
                    <a:pt x="138" y="1322"/>
                  </a:lnTo>
                  <a:lnTo>
                    <a:pt x="162" y="1265"/>
                  </a:lnTo>
                  <a:lnTo>
                    <a:pt x="185" y="1208"/>
                  </a:lnTo>
                  <a:lnTo>
                    <a:pt x="210" y="1152"/>
                  </a:lnTo>
                  <a:lnTo>
                    <a:pt x="235" y="1096"/>
                  </a:lnTo>
                  <a:lnTo>
                    <a:pt x="262" y="1041"/>
                  </a:lnTo>
                  <a:lnTo>
                    <a:pt x="289" y="986"/>
                  </a:lnTo>
                  <a:lnTo>
                    <a:pt x="318" y="932"/>
                  </a:lnTo>
                  <a:lnTo>
                    <a:pt x="346" y="878"/>
                  </a:lnTo>
                  <a:lnTo>
                    <a:pt x="376" y="825"/>
                  </a:lnTo>
                  <a:lnTo>
                    <a:pt x="408" y="772"/>
                  </a:lnTo>
                  <a:lnTo>
                    <a:pt x="438" y="720"/>
                  </a:lnTo>
                  <a:lnTo>
                    <a:pt x="471" y="668"/>
                  </a:lnTo>
                  <a:lnTo>
                    <a:pt x="504" y="616"/>
                  </a:lnTo>
                  <a:lnTo>
                    <a:pt x="539" y="566"/>
                  </a:lnTo>
                  <a:lnTo>
                    <a:pt x="574" y="515"/>
                  </a:lnTo>
                  <a:lnTo>
                    <a:pt x="610" y="466"/>
                  </a:lnTo>
                  <a:lnTo>
                    <a:pt x="646" y="416"/>
                  </a:lnTo>
                  <a:lnTo>
                    <a:pt x="684" y="368"/>
                  </a:lnTo>
                  <a:lnTo>
                    <a:pt x="723" y="320"/>
                  </a:lnTo>
                  <a:lnTo>
                    <a:pt x="762" y="273"/>
                  </a:lnTo>
                  <a:lnTo>
                    <a:pt x="802" y="226"/>
                  </a:lnTo>
                  <a:lnTo>
                    <a:pt x="844" y="180"/>
                  </a:lnTo>
                  <a:lnTo>
                    <a:pt x="885" y="135"/>
                  </a:lnTo>
                  <a:lnTo>
                    <a:pt x="928" y="90"/>
                  </a:lnTo>
                  <a:lnTo>
                    <a:pt x="970" y="45"/>
                  </a:lnTo>
                  <a:close/>
                </a:path>
              </a:pathLst>
            </a:custGeom>
            <a:solidFill>
              <a:srgbClr val="CC6F3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6653" tIns="58327" rIns="116653" bIns="58327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56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2" name="Freeform 23"/>
            <p:cNvSpPr>
              <a:spLocks/>
            </p:cNvSpPr>
            <p:nvPr/>
          </p:nvSpPr>
          <p:spPr bwMode="auto">
            <a:xfrm>
              <a:off x="3400" y="749"/>
              <a:ext cx="351" cy="413"/>
            </a:xfrm>
            <a:custGeom>
              <a:avLst/>
              <a:gdLst>
                <a:gd name="T0" fmla="*/ 1398 w 1403"/>
                <a:gd name="T1" fmla="*/ 1456 h 1648"/>
                <a:gd name="T2" fmla="*/ 1403 w 1403"/>
                <a:gd name="T3" fmla="*/ 1502 h 1648"/>
                <a:gd name="T4" fmla="*/ 1394 w 1403"/>
                <a:gd name="T5" fmla="*/ 1546 h 1648"/>
                <a:gd name="T6" fmla="*/ 1372 w 1403"/>
                <a:gd name="T7" fmla="*/ 1585 h 1648"/>
                <a:gd name="T8" fmla="*/ 1340 w 1403"/>
                <a:gd name="T9" fmla="*/ 1618 h 1648"/>
                <a:gd name="T10" fmla="*/ 1299 w 1403"/>
                <a:gd name="T11" fmla="*/ 1640 h 1648"/>
                <a:gd name="T12" fmla="*/ 1254 w 1403"/>
                <a:gd name="T13" fmla="*/ 1648 h 1648"/>
                <a:gd name="T14" fmla="*/ 1209 w 1403"/>
                <a:gd name="T15" fmla="*/ 1644 h 1648"/>
                <a:gd name="T16" fmla="*/ 1168 w 1403"/>
                <a:gd name="T17" fmla="*/ 1627 h 1648"/>
                <a:gd name="T18" fmla="*/ 1132 w 1403"/>
                <a:gd name="T19" fmla="*/ 1598 h 1648"/>
                <a:gd name="T20" fmla="*/ 1106 w 1403"/>
                <a:gd name="T21" fmla="*/ 1560 h 1648"/>
                <a:gd name="T22" fmla="*/ 1036 w 1403"/>
                <a:gd name="T23" fmla="*/ 1419 h 1648"/>
                <a:gd name="T24" fmla="*/ 960 w 1403"/>
                <a:gd name="T25" fmla="*/ 1283 h 1648"/>
                <a:gd name="T26" fmla="*/ 877 w 1403"/>
                <a:gd name="T27" fmla="*/ 1151 h 1648"/>
                <a:gd name="T28" fmla="*/ 788 w 1403"/>
                <a:gd name="T29" fmla="*/ 1022 h 1648"/>
                <a:gd name="T30" fmla="*/ 695 w 1403"/>
                <a:gd name="T31" fmla="*/ 896 h 1648"/>
                <a:gd name="T32" fmla="*/ 594 w 1403"/>
                <a:gd name="T33" fmla="*/ 777 h 1648"/>
                <a:gd name="T34" fmla="*/ 489 w 1403"/>
                <a:gd name="T35" fmla="*/ 661 h 1648"/>
                <a:gd name="T36" fmla="*/ 379 w 1403"/>
                <a:gd name="T37" fmla="*/ 550 h 1648"/>
                <a:gd name="T38" fmla="*/ 263 w 1403"/>
                <a:gd name="T39" fmla="*/ 443 h 1648"/>
                <a:gd name="T40" fmla="*/ 144 w 1403"/>
                <a:gd name="T41" fmla="*/ 344 h 1648"/>
                <a:gd name="T42" fmla="*/ 49 w 1403"/>
                <a:gd name="T43" fmla="*/ 270 h 1648"/>
                <a:gd name="T44" fmla="*/ 20 w 1403"/>
                <a:gd name="T45" fmla="*/ 234 h 1648"/>
                <a:gd name="T46" fmla="*/ 3 w 1403"/>
                <a:gd name="T47" fmla="*/ 193 h 1648"/>
                <a:gd name="T48" fmla="*/ 0 w 1403"/>
                <a:gd name="T49" fmla="*/ 148 h 1648"/>
                <a:gd name="T50" fmla="*/ 8 w 1403"/>
                <a:gd name="T51" fmla="*/ 104 h 1648"/>
                <a:gd name="T52" fmla="*/ 30 w 1403"/>
                <a:gd name="T53" fmla="*/ 63 h 1648"/>
                <a:gd name="T54" fmla="*/ 63 w 1403"/>
                <a:gd name="T55" fmla="*/ 29 h 1648"/>
                <a:gd name="T56" fmla="*/ 104 w 1403"/>
                <a:gd name="T57" fmla="*/ 8 h 1648"/>
                <a:gd name="T58" fmla="*/ 147 w 1403"/>
                <a:gd name="T59" fmla="*/ 0 h 1648"/>
                <a:gd name="T60" fmla="*/ 192 w 1403"/>
                <a:gd name="T61" fmla="*/ 5 h 1648"/>
                <a:gd name="T62" fmla="*/ 235 w 1403"/>
                <a:gd name="T63" fmla="*/ 22 h 1648"/>
                <a:gd name="T64" fmla="*/ 338 w 1403"/>
                <a:gd name="T65" fmla="*/ 102 h 1648"/>
                <a:gd name="T66" fmla="*/ 470 w 1403"/>
                <a:gd name="T67" fmla="*/ 212 h 1648"/>
                <a:gd name="T68" fmla="*/ 595 w 1403"/>
                <a:gd name="T69" fmla="*/ 326 h 1648"/>
                <a:gd name="T70" fmla="*/ 716 w 1403"/>
                <a:gd name="T71" fmla="*/ 447 h 1648"/>
                <a:gd name="T72" fmla="*/ 831 w 1403"/>
                <a:gd name="T73" fmla="*/ 572 h 1648"/>
                <a:gd name="T74" fmla="*/ 938 w 1403"/>
                <a:gd name="T75" fmla="*/ 702 h 1648"/>
                <a:gd name="T76" fmla="*/ 1041 w 1403"/>
                <a:gd name="T77" fmla="*/ 838 h 1648"/>
                <a:gd name="T78" fmla="*/ 1137 w 1403"/>
                <a:gd name="T79" fmla="*/ 979 h 1648"/>
                <a:gd name="T80" fmla="*/ 1227 w 1403"/>
                <a:gd name="T81" fmla="*/ 1123 h 1648"/>
                <a:gd name="T82" fmla="*/ 1311 w 1403"/>
                <a:gd name="T83" fmla="*/ 1274 h 1648"/>
                <a:gd name="T84" fmla="*/ 1388 w 1403"/>
                <a:gd name="T85" fmla="*/ 1426 h 16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403" h="1648">
                  <a:moveTo>
                    <a:pt x="1388" y="1426"/>
                  </a:moveTo>
                  <a:lnTo>
                    <a:pt x="1394" y="1441"/>
                  </a:lnTo>
                  <a:lnTo>
                    <a:pt x="1398" y="1456"/>
                  </a:lnTo>
                  <a:lnTo>
                    <a:pt x="1402" y="1471"/>
                  </a:lnTo>
                  <a:lnTo>
                    <a:pt x="1403" y="1486"/>
                  </a:lnTo>
                  <a:lnTo>
                    <a:pt x="1403" y="1502"/>
                  </a:lnTo>
                  <a:lnTo>
                    <a:pt x="1401" y="1516"/>
                  </a:lnTo>
                  <a:lnTo>
                    <a:pt x="1398" y="1531"/>
                  </a:lnTo>
                  <a:lnTo>
                    <a:pt x="1394" y="1546"/>
                  </a:lnTo>
                  <a:lnTo>
                    <a:pt x="1388" y="1560"/>
                  </a:lnTo>
                  <a:lnTo>
                    <a:pt x="1381" y="1573"/>
                  </a:lnTo>
                  <a:lnTo>
                    <a:pt x="1372" y="1585"/>
                  </a:lnTo>
                  <a:lnTo>
                    <a:pt x="1363" y="1596"/>
                  </a:lnTo>
                  <a:lnTo>
                    <a:pt x="1352" y="1607"/>
                  </a:lnTo>
                  <a:lnTo>
                    <a:pt x="1340" y="1618"/>
                  </a:lnTo>
                  <a:lnTo>
                    <a:pt x="1327" y="1626"/>
                  </a:lnTo>
                  <a:lnTo>
                    <a:pt x="1313" y="1633"/>
                  </a:lnTo>
                  <a:lnTo>
                    <a:pt x="1299" y="1640"/>
                  </a:lnTo>
                  <a:lnTo>
                    <a:pt x="1284" y="1644"/>
                  </a:lnTo>
                  <a:lnTo>
                    <a:pt x="1268" y="1647"/>
                  </a:lnTo>
                  <a:lnTo>
                    <a:pt x="1254" y="1648"/>
                  </a:lnTo>
                  <a:lnTo>
                    <a:pt x="1239" y="1648"/>
                  </a:lnTo>
                  <a:lnTo>
                    <a:pt x="1223" y="1647"/>
                  </a:lnTo>
                  <a:lnTo>
                    <a:pt x="1209" y="1644"/>
                  </a:lnTo>
                  <a:lnTo>
                    <a:pt x="1195" y="1639"/>
                  </a:lnTo>
                  <a:lnTo>
                    <a:pt x="1181" y="1633"/>
                  </a:lnTo>
                  <a:lnTo>
                    <a:pt x="1168" y="1627"/>
                  </a:lnTo>
                  <a:lnTo>
                    <a:pt x="1155" y="1619"/>
                  </a:lnTo>
                  <a:lnTo>
                    <a:pt x="1143" y="1609"/>
                  </a:lnTo>
                  <a:lnTo>
                    <a:pt x="1132" y="1598"/>
                  </a:lnTo>
                  <a:lnTo>
                    <a:pt x="1123" y="1586"/>
                  </a:lnTo>
                  <a:lnTo>
                    <a:pt x="1115" y="1573"/>
                  </a:lnTo>
                  <a:lnTo>
                    <a:pt x="1106" y="1560"/>
                  </a:lnTo>
                  <a:lnTo>
                    <a:pt x="1084" y="1512"/>
                  </a:lnTo>
                  <a:lnTo>
                    <a:pt x="1060" y="1465"/>
                  </a:lnTo>
                  <a:lnTo>
                    <a:pt x="1036" y="1419"/>
                  </a:lnTo>
                  <a:lnTo>
                    <a:pt x="1012" y="1373"/>
                  </a:lnTo>
                  <a:lnTo>
                    <a:pt x="986" y="1328"/>
                  </a:lnTo>
                  <a:lnTo>
                    <a:pt x="960" y="1283"/>
                  </a:lnTo>
                  <a:lnTo>
                    <a:pt x="932" y="1238"/>
                  </a:lnTo>
                  <a:lnTo>
                    <a:pt x="905" y="1194"/>
                  </a:lnTo>
                  <a:lnTo>
                    <a:pt x="877" y="1151"/>
                  </a:lnTo>
                  <a:lnTo>
                    <a:pt x="848" y="1107"/>
                  </a:lnTo>
                  <a:lnTo>
                    <a:pt x="819" y="1064"/>
                  </a:lnTo>
                  <a:lnTo>
                    <a:pt x="788" y="1022"/>
                  </a:lnTo>
                  <a:lnTo>
                    <a:pt x="757" y="979"/>
                  </a:lnTo>
                  <a:lnTo>
                    <a:pt x="727" y="938"/>
                  </a:lnTo>
                  <a:lnTo>
                    <a:pt x="695" y="896"/>
                  </a:lnTo>
                  <a:lnTo>
                    <a:pt x="662" y="856"/>
                  </a:lnTo>
                  <a:lnTo>
                    <a:pt x="629" y="816"/>
                  </a:lnTo>
                  <a:lnTo>
                    <a:pt x="594" y="777"/>
                  </a:lnTo>
                  <a:lnTo>
                    <a:pt x="560" y="737"/>
                  </a:lnTo>
                  <a:lnTo>
                    <a:pt x="525" y="699"/>
                  </a:lnTo>
                  <a:lnTo>
                    <a:pt x="489" y="661"/>
                  </a:lnTo>
                  <a:lnTo>
                    <a:pt x="452" y="623"/>
                  </a:lnTo>
                  <a:lnTo>
                    <a:pt x="416" y="586"/>
                  </a:lnTo>
                  <a:lnTo>
                    <a:pt x="379" y="550"/>
                  </a:lnTo>
                  <a:lnTo>
                    <a:pt x="341" y="514"/>
                  </a:lnTo>
                  <a:lnTo>
                    <a:pt x="302" y="479"/>
                  </a:lnTo>
                  <a:lnTo>
                    <a:pt x="263" y="443"/>
                  </a:lnTo>
                  <a:lnTo>
                    <a:pt x="224" y="410"/>
                  </a:lnTo>
                  <a:lnTo>
                    <a:pt x="184" y="376"/>
                  </a:lnTo>
                  <a:lnTo>
                    <a:pt x="144" y="344"/>
                  </a:lnTo>
                  <a:lnTo>
                    <a:pt x="102" y="311"/>
                  </a:lnTo>
                  <a:lnTo>
                    <a:pt x="61" y="280"/>
                  </a:lnTo>
                  <a:lnTo>
                    <a:pt x="49" y="270"/>
                  </a:lnTo>
                  <a:lnTo>
                    <a:pt x="39" y="259"/>
                  </a:lnTo>
                  <a:lnTo>
                    <a:pt x="28" y="247"/>
                  </a:lnTo>
                  <a:lnTo>
                    <a:pt x="20" y="234"/>
                  </a:lnTo>
                  <a:lnTo>
                    <a:pt x="14" y="220"/>
                  </a:lnTo>
                  <a:lnTo>
                    <a:pt x="8" y="207"/>
                  </a:lnTo>
                  <a:lnTo>
                    <a:pt x="3" y="193"/>
                  </a:lnTo>
                  <a:lnTo>
                    <a:pt x="1" y="177"/>
                  </a:lnTo>
                  <a:lnTo>
                    <a:pt x="0" y="163"/>
                  </a:lnTo>
                  <a:lnTo>
                    <a:pt x="0" y="148"/>
                  </a:lnTo>
                  <a:lnTo>
                    <a:pt x="1" y="132"/>
                  </a:lnTo>
                  <a:lnTo>
                    <a:pt x="3" y="118"/>
                  </a:lnTo>
                  <a:lnTo>
                    <a:pt x="8" y="104"/>
                  </a:lnTo>
                  <a:lnTo>
                    <a:pt x="14" y="90"/>
                  </a:lnTo>
                  <a:lnTo>
                    <a:pt x="21" y="76"/>
                  </a:lnTo>
                  <a:lnTo>
                    <a:pt x="30" y="63"/>
                  </a:lnTo>
                  <a:lnTo>
                    <a:pt x="40" y="50"/>
                  </a:lnTo>
                  <a:lnTo>
                    <a:pt x="52" y="39"/>
                  </a:lnTo>
                  <a:lnTo>
                    <a:pt x="63" y="29"/>
                  </a:lnTo>
                  <a:lnTo>
                    <a:pt x="76" y="21"/>
                  </a:lnTo>
                  <a:lnTo>
                    <a:pt x="89" y="14"/>
                  </a:lnTo>
                  <a:lnTo>
                    <a:pt x="104" y="8"/>
                  </a:lnTo>
                  <a:lnTo>
                    <a:pt x="118" y="5"/>
                  </a:lnTo>
                  <a:lnTo>
                    <a:pt x="132" y="1"/>
                  </a:lnTo>
                  <a:lnTo>
                    <a:pt x="147" y="0"/>
                  </a:lnTo>
                  <a:lnTo>
                    <a:pt x="163" y="0"/>
                  </a:lnTo>
                  <a:lnTo>
                    <a:pt x="177" y="2"/>
                  </a:lnTo>
                  <a:lnTo>
                    <a:pt x="192" y="5"/>
                  </a:lnTo>
                  <a:lnTo>
                    <a:pt x="207" y="9"/>
                  </a:lnTo>
                  <a:lnTo>
                    <a:pt x="221" y="15"/>
                  </a:lnTo>
                  <a:lnTo>
                    <a:pt x="235" y="22"/>
                  </a:lnTo>
                  <a:lnTo>
                    <a:pt x="248" y="31"/>
                  </a:lnTo>
                  <a:lnTo>
                    <a:pt x="293" y="66"/>
                  </a:lnTo>
                  <a:lnTo>
                    <a:pt x="338" y="102"/>
                  </a:lnTo>
                  <a:lnTo>
                    <a:pt x="383" y="137"/>
                  </a:lnTo>
                  <a:lnTo>
                    <a:pt x="426" y="174"/>
                  </a:lnTo>
                  <a:lnTo>
                    <a:pt x="470" y="212"/>
                  </a:lnTo>
                  <a:lnTo>
                    <a:pt x="513" y="249"/>
                  </a:lnTo>
                  <a:lnTo>
                    <a:pt x="554" y="287"/>
                  </a:lnTo>
                  <a:lnTo>
                    <a:pt x="595" y="326"/>
                  </a:lnTo>
                  <a:lnTo>
                    <a:pt x="637" y="366"/>
                  </a:lnTo>
                  <a:lnTo>
                    <a:pt x="677" y="406"/>
                  </a:lnTo>
                  <a:lnTo>
                    <a:pt x="716" y="447"/>
                  </a:lnTo>
                  <a:lnTo>
                    <a:pt x="755" y="488"/>
                  </a:lnTo>
                  <a:lnTo>
                    <a:pt x="793" y="530"/>
                  </a:lnTo>
                  <a:lnTo>
                    <a:pt x="831" y="572"/>
                  </a:lnTo>
                  <a:lnTo>
                    <a:pt x="867" y="615"/>
                  </a:lnTo>
                  <a:lnTo>
                    <a:pt x="903" y="659"/>
                  </a:lnTo>
                  <a:lnTo>
                    <a:pt x="938" y="702"/>
                  </a:lnTo>
                  <a:lnTo>
                    <a:pt x="974" y="747"/>
                  </a:lnTo>
                  <a:lnTo>
                    <a:pt x="1007" y="792"/>
                  </a:lnTo>
                  <a:lnTo>
                    <a:pt x="1041" y="838"/>
                  </a:lnTo>
                  <a:lnTo>
                    <a:pt x="1074" y="884"/>
                  </a:lnTo>
                  <a:lnTo>
                    <a:pt x="1106" y="932"/>
                  </a:lnTo>
                  <a:lnTo>
                    <a:pt x="1137" y="979"/>
                  </a:lnTo>
                  <a:lnTo>
                    <a:pt x="1168" y="1026"/>
                  </a:lnTo>
                  <a:lnTo>
                    <a:pt x="1198" y="1075"/>
                  </a:lnTo>
                  <a:lnTo>
                    <a:pt x="1227" y="1123"/>
                  </a:lnTo>
                  <a:lnTo>
                    <a:pt x="1256" y="1173"/>
                  </a:lnTo>
                  <a:lnTo>
                    <a:pt x="1284" y="1223"/>
                  </a:lnTo>
                  <a:lnTo>
                    <a:pt x="1311" y="1274"/>
                  </a:lnTo>
                  <a:lnTo>
                    <a:pt x="1337" y="1323"/>
                  </a:lnTo>
                  <a:lnTo>
                    <a:pt x="1363" y="1375"/>
                  </a:lnTo>
                  <a:lnTo>
                    <a:pt x="1388" y="1426"/>
                  </a:lnTo>
                  <a:close/>
                </a:path>
              </a:pathLst>
            </a:custGeom>
            <a:solidFill>
              <a:srgbClr val="B723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6653" tIns="58327" rIns="116653" bIns="58327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56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3" name="Freeform 24"/>
            <p:cNvSpPr>
              <a:spLocks/>
            </p:cNvSpPr>
            <p:nvPr/>
          </p:nvSpPr>
          <p:spPr bwMode="auto">
            <a:xfrm>
              <a:off x="3298" y="1496"/>
              <a:ext cx="292" cy="718"/>
            </a:xfrm>
            <a:custGeom>
              <a:avLst/>
              <a:gdLst>
                <a:gd name="T0" fmla="*/ 251 w 1168"/>
                <a:gd name="T1" fmla="*/ 2841 h 2874"/>
                <a:gd name="T2" fmla="*/ 211 w 1168"/>
                <a:gd name="T3" fmla="*/ 2864 h 2874"/>
                <a:gd name="T4" fmla="*/ 167 w 1168"/>
                <a:gd name="T5" fmla="*/ 2873 h 2874"/>
                <a:gd name="T6" fmla="*/ 123 w 1168"/>
                <a:gd name="T7" fmla="*/ 2871 h 2874"/>
                <a:gd name="T8" fmla="*/ 79 w 1168"/>
                <a:gd name="T9" fmla="*/ 2854 h 2874"/>
                <a:gd name="T10" fmla="*/ 43 w 1168"/>
                <a:gd name="T11" fmla="*/ 2826 h 2874"/>
                <a:gd name="T12" fmla="*/ 15 w 1168"/>
                <a:gd name="T13" fmla="*/ 2788 h 2874"/>
                <a:gd name="T14" fmla="*/ 1 w 1168"/>
                <a:gd name="T15" fmla="*/ 2745 h 2874"/>
                <a:gd name="T16" fmla="*/ 0 w 1168"/>
                <a:gd name="T17" fmla="*/ 2701 h 2874"/>
                <a:gd name="T18" fmla="*/ 12 w 1168"/>
                <a:gd name="T19" fmla="*/ 2657 h 2874"/>
                <a:gd name="T20" fmla="*/ 37 w 1168"/>
                <a:gd name="T21" fmla="*/ 2618 h 2874"/>
                <a:gd name="T22" fmla="*/ 180 w 1168"/>
                <a:gd name="T23" fmla="*/ 2438 h 2874"/>
                <a:gd name="T24" fmla="*/ 309 w 1168"/>
                <a:gd name="T25" fmla="*/ 2251 h 2874"/>
                <a:gd name="T26" fmla="*/ 426 w 1168"/>
                <a:gd name="T27" fmla="*/ 2056 h 2874"/>
                <a:gd name="T28" fmla="*/ 529 w 1168"/>
                <a:gd name="T29" fmla="*/ 1855 h 2874"/>
                <a:gd name="T30" fmla="*/ 618 w 1168"/>
                <a:gd name="T31" fmla="*/ 1647 h 2874"/>
                <a:gd name="T32" fmla="*/ 694 w 1168"/>
                <a:gd name="T33" fmla="*/ 1434 h 2874"/>
                <a:gd name="T34" fmla="*/ 756 w 1168"/>
                <a:gd name="T35" fmla="*/ 1216 h 2874"/>
                <a:gd name="T36" fmla="*/ 803 w 1168"/>
                <a:gd name="T37" fmla="*/ 995 h 2874"/>
                <a:gd name="T38" fmla="*/ 836 w 1168"/>
                <a:gd name="T39" fmla="*/ 769 h 2874"/>
                <a:gd name="T40" fmla="*/ 854 w 1168"/>
                <a:gd name="T41" fmla="*/ 542 h 2874"/>
                <a:gd name="T42" fmla="*/ 857 w 1168"/>
                <a:gd name="T43" fmla="*/ 356 h 2874"/>
                <a:gd name="T44" fmla="*/ 856 w 1168"/>
                <a:gd name="T45" fmla="*/ 277 h 2874"/>
                <a:gd name="T46" fmla="*/ 851 w 1168"/>
                <a:gd name="T47" fmla="*/ 196 h 2874"/>
                <a:gd name="T48" fmla="*/ 851 w 1168"/>
                <a:gd name="T49" fmla="*/ 134 h 2874"/>
                <a:gd name="T50" fmla="*/ 864 w 1168"/>
                <a:gd name="T51" fmla="*/ 91 h 2874"/>
                <a:gd name="T52" fmla="*/ 888 w 1168"/>
                <a:gd name="T53" fmla="*/ 53 h 2874"/>
                <a:gd name="T54" fmla="*/ 922 w 1168"/>
                <a:gd name="T55" fmla="*/ 23 h 2874"/>
                <a:gd name="T56" fmla="*/ 965 w 1168"/>
                <a:gd name="T57" fmla="*/ 5 h 2874"/>
                <a:gd name="T58" fmla="*/ 1011 w 1168"/>
                <a:gd name="T59" fmla="*/ 0 h 2874"/>
                <a:gd name="T60" fmla="*/ 1057 w 1168"/>
                <a:gd name="T61" fmla="*/ 9 h 2874"/>
                <a:gd name="T62" fmla="*/ 1096 w 1168"/>
                <a:gd name="T63" fmla="*/ 29 h 2874"/>
                <a:gd name="T64" fmla="*/ 1128 w 1168"/>
                <a:gd name="T65" fmla="*/ 61 h 2874"/>
                <a:gd name="T66" fmla="*/ 1150 w 1168"/>
                <a:gd name="T67" fmla="*/ 100 h 2874"/>
                <a:gd name="T68" fmla="*/ 1161 w 1168"/>
                <a:gd name="T69" fmla="*/ 146 h 2874"/>
                <a:gd name="T70" fmla="*/ 1165 w 1168"/>
                <a:gd name="T71" fmla="*/ 234 h 2874"/>
                <a:gd name="T72" fmla="*/ 1168 w 1168"/>
                <a:gd name="T73" fmla="*/ 337 h 2874"/>
                <a:gd name="T74" fmla="*/ 1168 w 1168"/>
                <a:gd name="T75" fmla="*/ 473 h 2874"/>
                <a:gd name="T76" fmla="*/ 1154 w 1168"/>
                <a:gd name="T77" fmla="*/ 721 h 2874"/>
                <a:gd name="T78" fmla="*/ 1123 w 1168"/>
                <a:gd name="T79" fmla="*/ 968 h 2874"/>
                <a:gd name="T80" fmla="*/ 1077 w 1168"/>
                <a:gd name="T81" fmla="*/ 1211 h 2874"/>
                <a:gd name="T82" fmla="*/ 1016 w 1168"/>
                <a:gd name="T83" fmla="*/ 1449 h 2874"/>
                <a:gd name="T84" fmla="*/ 938 w 1168"/>
                <a:gd name="T85" fmla="*/ 1684 h 2874"/>
                <a:gd name="T86" fmla="*/ 845 w 1168"/>
                <a:gd name="T87" fmla="*/ 1912 h 2874"/>
                <a:gd name="T88" fmla="*/ 737 w 1168"/>
                <a:gd name="T89" fmla="*/ 2134 h 2874"/>
                <a:gd name="T90" fmla="*/ 615 w 1168"/>
                <a:gd name="T91" fmla="*/ 2349 h 2874"/>
                <a:gd name="T92" fmla="*/ 478 w 1168"/>
                <a:gd name="T93" fmla="*/ 2556 h 2874"/>
                <a:gd name="T94" fmla="*/ 326 w 1168"/>
                <a:gd name="T95" fmla="*/ 2755 h 28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168" h="2874">
                  <a:moveTo>
                    <a:pt x="273" y="2820"/>
                  </a:moveTo>
                  <a:lnTo>
                    <a:pt x="263" y="2831"/>
                  </a:lnTo>
                  <a:lnTo>
                    <a:pt x="251" y="2841"/>
                  </a:lnTo>
                  <a:lnTo>
                    <a:pt x="238" y="2851"/>
                  </a:lnTo>
                  <a:lnTo>
                    <a:pt x="225" y="2858"/>
                  </a:lnTo>
                  <a:lnTo>
                    <a:pt x="211" y="2864"/>
                  </a:lnTo>
                  <a:lnTo>
                    <a:pt x="196" y="2868"/>
                  </a:lnTo>
                  <a:lnTo>
                    <a:pt x="182" y="2872"/>
                  </a:lnTo>
                  <a:lnTo>
                    <a:pt x="167" y="2873"/>
                  </a:lnTo>
                  <a:lnTo>
                    <a:pt x="153" y="2874"/>
                  </a:lnTo>
                  <a:lnTo>
                    <a:pt x="137" y="2873"/>
                  </a:lnTo>
                  <a:lnTo>
                    <a:pt x="123" y="2871"/>
                  </a:lnTo>
                  <a:lnTo>
                    <a:pt x="108" y="2867"/>
                  </a:lnTo>
                  <a:lnTo>
                    <a:pt x="94" y="2861"/>
                  </a:lnTo>
                  <a:lnTo>
                    <a:pt x="79" y="2854"/>
                  </a:lnTo>
                  <a:lnTo>
                    <a:pt x="66" y="2846"/>
                  </a:lnTo>
                  <a:lnTo>
                    <a:pt x="55" y="2837"/>
                  </a:lnTo>
                  <a:lnTo>
                    <a:pt x="43" y="2826"/>
                  </a:lnTo>
                  <a:lnTo>
                    <a:pt x="32" y="2814"/>
                  </a:lnTo>
                  <a:lnTo>
                    <a:pt x="24" y="2801"/>
                  </a:lnTo>
                  <a:lnTo>
                    <a:pt x="15" y="2788"/>
                  </a:lnTo>
                  <a:lnTo>
                    <a:pt x="10" y="2774"/>
                  </a:lnTo>
                  <a:lnTo>
                    <a:pt x="5" y="2760"/>
                  </a:lnTo>
                  <a:lnTo>
                    <a:pt x="1" y="2745"/>
                  </a:lnTo>
                  <a:lnTo>
                    <a:pt x="0" y="2730"/>
                  </a:lnTo>
                  <a:lnTo>
                    <a:pt x="0" y="2716"/>
                  </a:lnTo>
                  <a:lnTo>
                    <a:pt x="0" y="2701"/>
                  </a:lnTo>
                  <a:lnTo>
                    <a:pt x="2" y="2686"/>
                  </a:lnTo>
                  <a:lnTo>
                    <a:pt x="7" y="2671"/>
                  </a:lnTo>
                  <a:lnTo>
                    <a:pt x="12" y="2657"/>
                  </a:lnTo>
                  <a:lnTo>
                    <a:pt x="19" y="2643"/>
                  </a:lnTo>
                  <a:lnTo>
                    <a:pt x="27" y="2630"/>
                  </a:lnTo>
                  <a:lnTo>
                    <a:pt x="37" y="2618"/>
                  </a:lnTo>
                  <a:lnTo>
                    <a:pt x="85" y="2559"/>
                  </a:lnTo>
                  <a:lnTo>
                    <a:pt x="134" y="2498"/>
                  </a:lnTo>
                  <a:lnTo>
                    <a:pt x="180" y="2438"/>
                  </a:lnTo>
                  <a:lnTo>
                    <a:pt x="224" y="2377"/>
                  </a:lnTo>
                  <a:lnTo>
                    <a:pt x="267" y="2314"/>
                  </a:lnTo>
                  <a:lnTo>
                    <a:pt x="309" y="2251"/>
                  </a:lnTo>
                  <a:lnTo>
                    <a:pt x="349" y="2187"/>
                  </a:lnTo>
                  <a:lnTo>
                    <a:pt x="388" y="2122"/>
                  </a:lnTo>
                  <a:lnTo>
                    <a:pt x="426" y="2056"/>
                  </a:lnTo>
                  <a:lnTo>
                    <a:pt x="461" y="1990"/>
                  </a:lnTo>
                  <a:lnTo>
                    <a:pt x="495" y="1922"/>
                  </a:lnTo>
                  <a:lnTo>
                    <a:pt x="529" y="1855"/>
                  </a:lnTo>
                  <a:lnTo>
                    <a:pt x="561" y="1786"/>
                  </a:lnTo>
                  <a:lnTo>
                    <a:pt x="590" y="1717"/>
                  </a:lnTo>
                  <a:lnTo>
                    <a:pt x="618" y="1647"/>
                  </a:lnTo>
                  <a:lnTo>
                    <a:pt x="646" y="1577"/>
                  </a:lnTo>
                  <a:lnTo>
                    <a:pt x="670" y="1506"/>
                  </a:lnTo>
                  <a:lnTo>
                    <a:pt x="694" y="1434"/>
                  </a:lnTo>
                  <a:lnTo>
                    <a:pt x="717" y="1362"/>
                  </a:lnTo>
                  <a:lnTo>
                    <a:pt x="737" y="1290"/>
                  </a:lnTo>
                  <a:lnTo>
                    <a:pt x="756" y="1216"/>
                  </a:lnTo>
                  <a:lnTo>
                    <a:pt x="773" y="1143"/>
                  </a:lnTo>
                  <a:lnTo>
                    <a:pt x="789" y="1069"/>
                  </a:lnTo>
                  <a:lnTo>
                    <a:pt x="803" y="995"/>
                  </a:lnTo>
                  <a:lnTo>
                    <a:pt x="816" y="920"/>
                  </a:lnTo>
                  <a:lnTo>
                    <a:pt x="827" y="845"/>
                  </a:lnTo>
                  <a:lnTo>
                    <a:pt x="836" y="769"/>
                  </a:lnTo>
                  <a:lnTo>
                    <a:pt x="843" y="694"/>
                  </a:lnTo>
                  <a:lnTo>
                    <a:pt x="849" y="618"/>
                  </a:lnTo>
                  <a:lnTo>
                    <a:pt x="854" y="542"/>
                  </a:lnTo>
                  <a:lnTo>
                    <a:pt x="856" y="465"/>
                  </a:lnTo>
                  <a:lnTo>
                    <a:pt x="857" y="389"/>
                  </a:lnTo>
                  <a:lnTo>
                    <a:pt x="857" y="356"/>
                  </a:lnTo>
                  <a:lnTo>
                    <a:pt x="856" y="325"/>
                  </a:lnTo>
                  <a:lnTo>
                    <a:pt x="856" y="299"/>
                  </a:lnTo>
                  <a:lnTo>
                    <a:pt x="856" y="277"/>
                  </a:lnTo>
                  <a:lnTo>
                    <a:pt x="855" y="251"/>
                  </a:lnTo>
                  <a:lnTo>
                    <a:pt x="854" y="225"/>
                  </a:lnTo>
                  <a:lnTo>
                    <a:pt x="851" y="196"/>
                  </a:lnTo>
                  <a:lnTo>
                    <a:pt x="850" y="165"/>
                  </a:lnTo>
                  <a:lnTo>
                    <a:pt x="850" y="150"/>
                  </a:lnTo>
                  <a:lnTo>
                    <a:pt x="851" y="134"/>
                  </a:lnTo>
                  <a:lnTo>
                    <a:pt x="854" y="119"/>
                  </a:lnTo>
                  <a:lnTo>
                    <a:pt x="858" y="104"/>
                  </a:lnTo>
                  <a:lnTo>
                    <a:pt x="864" y="91"/>
                  </a:lnTo>
                  <a:lnTo>
                    <a:pt x="871" y="76"/>
                  </a:lnTo>
                  <a:lnTo>
                    <a:pt x="879" y="65"/>
                  </a:lnTo>
                  <a:lnTo>
                    <a:pt x="888" y="53"/>
                  </a:lnTo>
                  <a:lnTo>
                    <a:pt x="899" y="42"/>
                  </a:lnTo>
                  <a:lnTo>
                    <a:pt x="910" y="33"/>
                  </a:lnTo>
                  <a:lnTo>
                    <a:pt x="922" y="23"/>
                  </a:lnTo>
                  <a:lnTo>
                    <a:pt x="935" y="16"/>
                  </a:lnTo>
                  <a:lnTo>
                    <a:pt x="949" y="10"/>
                  </a:lnTo>
                  <a:lnTo>
                    <a:pt x="965" y="5"/>
                  </a:lnTo>
                  <a:lnTo>
                    <a:pt x="979" y="2"/>
                  </a:lnTo>
                  <a:lnTo>
                    <a:pt x="996" y="1"/>
                  </a:lnTo>
                  <a:lnTo>
                    <a:pt x="1011" y="0"/>
                  </a:lnTo>
                  <a:lnTo>
                    <a:pt x="1028" y="2"/>
                  </a:lnTo>
                  <a:lnTo>
                    <a:pt x="1042" y="4"/>
                  </a:lnTo>
                  <a:lnTo>
                    <a:pt x="1057" y="9"/>
                  </a:lnTo>
                  <a:lnTo>
                    <a:pt x="1070" y="15"/>
                  </a:lnTo>
                  <a:lnTo>
                    <a:pt x="1084" y="21"/>
                  </a:lnTo>
                  <a:lnTo>
                    <a:pt x="1096" y="29"/>
                  </a:lnTo>
                  <a:lnTo>
                    <a:pt x="1108" y="39"/>
                  </a:lnTo>
                  <a:lnTo>
                    <a:pt x="1119" y="49"/>
                  </a:lnTo>
                  <a:lnTo>
                    <a:pt x="1128" y="61"/>
                  </a:lnTo>
                  <a:lnTo>
                    <a:pt x="1137" y="73"/>
                  </a:lnTo>
                  <a:lnTo>
                    <a:pt x="1145" y="86"/>
                  </a:lnTo>
                  <a:lnTo>
                    <a:pt x="1150" y="100"/>
                  </a:lnTo>
                  <a:lnTo>
                    <a:pt x="1155" y="114"/>
                  </a:lnTo>
                  <a:lnTo>
                    <a:pt x="1159" y="130"/>
                  </a:lnTo>
                  <a:lnTo>
                    <a:pt x="1161" y="146"/>
                  </a:lnTo>
                  <a:lnTo>
                    <a:pt x="1162" y="173"/>
                  </a:lnTo>
                  <a:lnTo>
                    <a:pt x="1163" y="203"/>
                  </a:lnTo>
                  <a:lnTo>
                    <a:pt x="1165" y="234"/>
                  </a:lnTo>
                  <a:lnTo>
                    <a:pt x="1166" y="267"/>
                  </a:lnTo>
                  <a:lnTo>
                    <a:pt x="1167" y="303"/>
                  </a:lnTo>
                  <a:lnTo>
                    <a:pt x="1168" y="337"/>
                  </a:lnTo>
                  <a:lnTo>
                    <a:pt x="1168" y="365"/>
                  </a:lnTo>
                  <a:lnTo>
                    <a:pt x="1168" y="389"/>
                  </a:lnTo>
                  <a:lnTo>
                    <a:pt x="1168" y="473"/>
                  </a:lnTo>
                  <a:lnTo>
                    <a:pt x="1165" y="555"/>
                  </a:lnTo>
                  <a:lnTo>
                    <a:pt x="1160" y="638"/>
                  </a:lnTo>
                  <a:lnTo>
                    <a:pt x="1154" y="721"/>
                  </a:lnTo>
                  <a:lnTo>
                    <a:pt x="1146" y="804"/>
                  </a:lnTo>
                  <a:lnTo>
                    <a:pt x="1135" y="885"/>
                  </a:lnTo>
                  <a:lnTo>
                    <a:pt x="1123" y="968"/>
                  </a:lnTo>
                  <a:lnTo>
                    <a:pt x="1110" y="1049"/>
                  </a:lnTo>
                  <a:lnTo>
                    <a:pt x="1095" y="1130"/>
                  </a:lnTo>
                  <a:lnTo>
                    <a:pt x="1077" y="1211"/>
                  </a:lnTo>
                  <a:lnTo>
                    <a:pt x="1058" y="1291"/>
                  </a:lnTo>
                  <a:lnTo>
                    <a:pt x="1038" y="1370"/>
                  </a:lnTo>
                  <a:lnTo>
                    <a:pt x="1016" y="1449"/>
                  </a:lnTo>
                  <a:lnTo>
                    <a:pt x="991" y="1529"/>
                  </a:lnTo>
                  <a:lnTo>
                    <a:pt x="965" y="1607"/>
                  </a:lnTo>
                  <a:lnTo>
                    <a:pt x="938" y="1684"/>
                  </a:lnTo>
                  <a:lnTo>
                    <a:pt x="908" y="1760"/>
                  </a:lnTo>
                  <a:lnTo>
                    <a:pt x="877" y="1837"/>
                  </a:lnTo>
                  <a:lnTo>
                    <a:pt x="845" y="1912"/>
                  </a:lnTo>
                  <a:lnTo>
                    <a:pt x="811" y="1987"/>
                  </a:lnTo>
                  <a:lnTo>
                    <a:pt x="774" y="2061"/>
                  </a:lnTo>
                  <a:lnTo>
                    <a:pt x="737" y="2134"/>
                  </a:lnTo>
                  <a:lnTo>
                    <a:pt x="698" y="2207"/>
                  </a:lnTo>
                  <a:lnTo>
                    <a:pt x="657" y="2278"/>
                  </a:lnTo>
                  <a:lnTo>
                    <a:pt x="615" y="2349"/>
                  </a:lnTo>
                  <a:lnTo>
                    <a:pt x="571" y="2419"/>
                  </a:lnTo>
                  <a:lnTo>
                    <a:pt x="525" y="2489"/>
                  </a:lnTo>
                  <a:lnTo>
                    <a:pt x="478" y="2556"/>
                  </a:lnTo>
                  <a:lnTo>
                    <a:pt x="429" y="2624"/>
                  </a:lnTo>
                  <a:lnTo>
                    <a:pt x="378" y="2690"/>
                  </a:lnTo>
                  <a:lnTo>
                    <a:pt x="326" y="2755"/>
                  </a:lnTo>
                  <a:lnTo>
                    <a:pt x="273" y="2820"/>
                  </a:lnTo>
                  <a:close/>
                </a:path>
              </a:pathLst>
            </a:custGeom>
            <a:solidFill>
              <a:srgbClr val="834E9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6653" tIns="58327" rIns="116653" bIns="58327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56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4" name="Freeform 25"/>
            <p:cNvSpPr>
              <a:spLocks/>
            </p:cNvSpPr>
            <p:nvPr/>
          </p:nvSpPr>
          <p:spPr bwMode="auto">
            <a:xfrm>
              <a:off x="1763" y="1535"/>
              <a:ext cx="492" cy="742"/>
            </a:xfrm>
            <a:custGeom>
              <a:avLst/>
              <a:gdLst>
                <a:gd name="T0" fmla="*/ 3 w 1968"/>
                <a:gd name="T1" fmla="*/ 125 h 2966"/>
                <a:gd name="T2" fmla="*/ 26 w 1968"/>
                <a:gd name="T3" fmla="*/ 70 h 2966"/>
                <a:gd name="T4" fmla="*/ 67 w 1968"/>
                <a:gd name="T5" fmla="*/ 27 h 2966"/>
                <a:gd name="T6" fmla="*/ 123 w 1968"/>
                <a:gd name="T7" fmla="*/ 4 h 2966"/>
                <a:gd name="T8" fmla="*/ 185 w 1968"/>
                <a:gd name="T9" fmla="*/ 4 h 2966"/>
                <a:gd name="T10" fmla="*/ 241 w 1968"/>
                <a:gd name="T11" fmla="*/ 26 h 2966"/>
                <a:gd name="T12" fmla="*/ 283 w 1968"/>
                <a:gd name="T13" fmla="*/ 67 h 2966"/>
                <a:gd name="T14" fmla="*/ 307 w 1968"/>
                <a:gd name="T15" fmla="*/ 124 h 2966"/>
                <a:gd name="T16" fmla="*/ 329 w 1968"/>
                <a:gd name="T17" fmla="*/ 285 h 2966"/>
                <a:gd name="T18" fmla="*/ 364 w 1968"/>
                <a:gd name="T19" fmla="*/ 478 h 2966"/>
                <a:gd name="T20" fmla="*/ 409 w 1968"/>
                <a:gd name="T21" fmla="*/ 667 h 2966"/>
                <a:gd name="T22" fmla="*/ 464 w 1968"/>
                <a:gd name="T23" fmla="*/ 853 h 2966"/>
                <a:gd name="T24" fmla="*/ 530 w 1968"/>
                <a:gd name="T25" fmla="*/ 1034 h 2966"/>
                <a:gd name="T26" fmla="*/ 606 w 1968"/>
                <a:gd name="T27" fmla="*/ 1211 h 2966"/>
                <a:gd name="T28" fmla="*/ 692 w 1968"/>
                <a:gd name="T29" fmla="*/ 1382 h 2966"/>
                <a:gd name="T30" fmla="*/ 787 w 1968"/>
                <a:gd name="T31" fmla="*/ 1550 h 2966"/>
                <a:gd name="T32" fmla="*/ 891 w 1968"/>
                <a:gd name="T33" fmla="*/ 1711 h 2966"/>
                <a:gd name="T34" fmla="*/ 1003 w 1968"/>
                <a:gd name="T35" fmla="*/ 1867 h 2966"/>
                <a:gd name="T36" fmla="*/ 1125 w 1968"/>
                <a:gd name="T37" fmla="*/ 2016 h 2966"/>
                <a:gd name="T38" fmla="*/ 1255 w 1968"/>
                <a:gd name="T39" fmla="*/ 2158 h 2966"/>
                <a:gd name="T40" fmla="*/ 1393 w 1968"/>
                <a:gd name="T41" fmla="*/ 2294 h 2966"/>
                <a:gd name="T42" fmla="*/ 1539 w 1968"/>
                <a:gd name="T43" fmla="*/ 2421 h 2966"/>
                <a:gd name="T44" fmla="*/ 1693 w 1968"/>
                <a:gd name="T45" fmla="*/ 2541 h 2966"/>
                <a:gd name="T46" fmla="*/ 1855 w 1968"/>
                <a:gd name="T47" fmla="*/ 2653 h 2966"/>
                <a:gd name="T48" fmla="*/ 1931 w 1968"/>
                <a:gd name="T49" fmla="*/ 2709 h 2966"/>
                <a:gd name="T50" fmla="*/ 1960 w 1968"/>
                <a:gd name="T51" fmla="*/ 2761 h 2966"/>
                <a:gd name="T52" fmla="*/ 1968 w 1968"/>
                <a:gd name="T53" fmla="*/ 2820 h 2966"/>
                <a:gd name="T54" fmla="*/ 1951 w 1968"/>
                <a:gd name="T55" fmla="*/ 2880 h 2966"/>
                <a:gd name="T56" fmla="*/ 1914 w 1968"/>
                <a:gd name="T57" fmla="*/ 2929 h 2966"/>
                <a:gd name="T58" fmla="*/ 1862 w 1968"/>
                <a:gd name="T59" fmla="*/ 2958 h 2966"/>
                <a:gd name="T60" fmla="*/ 1802 w 1968"/>
                <a:gd name="T61" fmla="*/ 2966 h 2966"/>
                <a:gd name="T62" fmla="*/ 1743 w 1968"/>
                <a:gd name="T63" fmla="*/ 2949 h 2966"/>
                <a:gd name="T64" fmla="*/ 1596 w 1968"/>
                <a:gd name="T65" fmla="*/ 2854 h 2966"/>
                <a:gd name="T66" fmla="*/ 1424 w 1968"/>
                <a:gd name="T67" fmla="*/ 2727 h 2966"/>
                <a:gd name="T68" fmla="*/ 1260 w 1968"/>
                <a:gd name="T69" fmla="*/ 2592 h 2966"/>
                <a:gd name="T70" fmla="*/ 1105 w 1968"/>
                <a:gd name="T71" fmla="*/ 2449 h 2966"/>
                <a:gd name="T72" fmla="*/ 958 w 1968"/>
                <a:gd name="T73" fmla="*/ 2298 h 2966"/>
                <a:gd name="T74" fmla="*/ 821 w 1968"/>
                <a:gd name="T75" fmla="*/ 2139 h 2966"/>
                <a:gd name="T76" fmla="*/ 694 w 1968"/>
                <a:gd name="T77" fmla="*/ 1973 h 2966"/>
                <a:gd name="T78" fmla="*/ 575 w 1968"/>
                <a:gd name="T79" fmla="*/ 1800 h 2966"/>
                <a:gd name="T80" fmla="*/ 467 w 1968"/>
                <a:gd name="T81" fmla="*/ 1620 h 2966"/>
                <a:gd name="T82" fmla="*/ 368 w 1968"/>
                <a:gd name="T83" fmla="*/ 1436 h 2966"/>
                <a:gd name="T84" fmla="*/ 281 w 1968"/>
                <a:gd name="T85" fmla="*/ 1245 h 2966"/>
                <a:gd name="T86" fmla="*/ 204 w 1968"/>
                <a:gd name="T87" fmla="*/ 1050 h 2966"/>
                <a:gd name="T88" fmla="*/ 138 w 1968"/>
                <a:gd name="T89" fmla="*/ 849 h 2966"/>
                <a:gd name="T90" fmla="*/ 82 w 1968"/>
                <a:gd name="T91" fmla="*/ 646 h 2966"/>
                <a:gd name="T92" fmla="*/ 39 w 1968"/>
                <a:gd name="T93" fmla="*/ 438 h 2966"/>
                <a:gd name="T94" fmla="*/ 7 w 1968"/>
                <a:gd name="T95" fmla="*/ 226 h 29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968" h="2966">
                  <a:moveTo>
                    <a:pt x="1" y="173"/>
                  </a:moveTo>
                  <a:lnTo>
                    <a:pt x="0" y="156"/>
                  </a:lnTo>
                  <a:lnTo>
                    <a:pt x="1" y="141"/>
                  </a:lnTo>
                  <a:lnTo>
                    <a:pt x="3" y="125"/>
                  </a:lnTo>
                  <a:lnTo>
                    <a:pt x="7" y="111"/>
                  </a:lnTo>
                  <a:lnTo>
                    <a:pt x="11" y="97"/>
                  </a:lnTo>
                  <a:lnTo>
                    <a:pt x="17" y="83"/>
                  </a:lnTo>
                  <a:lnTo>
                    <a:pt x="26" y="70"/>
                  </a:lnTo>
                  <a:lnTo>
                    <a:pt x="34" y="58"/>
                  </a:lnTo>
                  <a:lnTo>
                    <a:pt x="44" y="47"/>
                  </a:lnTo>
                  <a:lnTo>
                    <a:pt x="55" y="37"/>
                  </a:lnTo>
                  <a:lnTo>
                    <a:pt x="67" y="27"/>
                  </a:lnTo>
                  <a:lnTo>
                    <a:pt x="80" y="20"/>
                  </a:lnTo>
                  <a:lnTo>
                    <a:pt x="93" y="13"/>
                  </a:lnTo>
                  <a:lnTo>
                    <a:pt x="108" y="7"/>
                  </a:lnTo>
                  <a:lnTo>
                    <a:pt x="123" y="4"/>
                  </a:lnTo>
                  <a:lnTo>
                    <a:pt x="139" y="1"/>
                  </a:lnTo>
                  <a:lnTo>
                    <a:pt x="154" y="0"/>
                  </a:lnTo>
                  <a:lnTo>
                    <a:pt x="170" y="1"/>
                  </a:lnTo>
                  <a:lnTo>
                    <a:pt x="185" y="4"/>
                  </a:lnTo>
                  <a:lnTo>
                    <a:pt x="201" y="7"/>
                  </a:lnTo>
                  <a:lnTo>
                    <a:pt x="215" y="12"/>
                  </a:lnTo>
                  <a:lnTo>
                    <a:pt x="228" y="18"/>
                  </a:lnTo>
                  <a:lnTo>
                    <a:pt x="241" y="26"/>
                  </a:lnTo>
                  <a:lnTo>
                    <a:pt x="253" y="34"/>
                  </a:lnTo>
                  <a:lnTo>
                    <a:pt x="264" y="45"/>
                  </a:lnTo>
                  <a:lnTo>
                    <a:pt x="274" y="56"/>
                  </a:lnTo>
                  <a:lnTo>
                    <a:pt x="283" y="67"/>
                  </a:lnTo>
                  <a:lnTo>
                    <a:pt x="292" y="80"/>
                  </a:lnTo>
                  <a:lnTo>
                    <a:pt x="299" y="95"/>
                  </a:lnTo>
                  <a:lnTo>
                    <a:pt x="303" y="109"/>
                  </a:lnTo>
                  <a:lnTo>
                    <a:pt x="307" y="124"/>
                  </a:lnTo>
                  <a:lnTo>
                    <a:pt x="310" y="140"/>
                  </a:lnTo>
                  <a:lnTo>
                    <a:pt x="315" y="188"/>
                  </a:lnTo>
                  <a:lnTo>
                    <a:pt x="322" y="237"/>
                  </a:lnTo>
                  <a:lnTo>
                    <a:pt x="329" y="285"/>
                  </a:lnTo>
                  <a:lnTo>
                    <a:pt x="336" y="334"/>
                  </a:lnTo>
                  <a:lnTo>
                    <a:pt x="345" y="382"/>
                  </a:lnTo>
                  <a:lnTo>
                    <a:pt x="354" y="431"/>
                  </a:lnTo>
                  <a:lnTo>
                    <a:pt x="364" y="478"/>
                  </a:lnTo>
                  <a:lnTo>
                    <a:pt x="374" y="525"/>
                  </a:lnTo>
                  <a:lnTo>
                    <a:pt x="385" y="572"/>
                  </a:lnTo>
                  <a:lnTo>
                    <a:pt x="397" y="620"/>
                  </a:lnTo>
                  <a:lnTo>
                    <a:pt x="409" y="667"/>
                  </a:lnTo>
                  <a:lnTo>
                    <a:pt x="422" y="713"/>
                  </a:lnTo>
                  <a:lnTo>
                    <a:pt x="436" y="760"/>
                  </a:lnTo>
                  <a:lnTo>
                    <a:pt x="450" y="807"/>
                  </a:lnTo>
                  <a:lnTo>
                    <a:pt x="464" y="853"/>
                  </a:lnTo>
                  <a:lnTo>
                    <a:pt x="481" y="898"/>
                  </a:lnTo>
                  <a:lnTo>
                    <a:pt x="496" y="944"/>
                  </a:lnTo>
                  <a:lnTo>
                    <a:pt x="513" y="989"/>
                  </a:lnTo>
                  <a:lnTo>
                    <a:pt x="530" y="1034"/>
                  </a:lnTo>
                  <a:lnTo>
                    <a:pt x="548" y="1079"/>
                  </a:lnTo>
                  <a:lnTo>
                    <a:pt x="567" y="1122"/>
                  </a:lnTo>
                  <a:lnTo>
                    <a:pt x="586" y="1167"/>
                  </a:lnTo>
                  <a:lnTo>
                    <a:pt x="606" y="1211"/>
                  </a:lnTo>
                  <a:lnTo>
                    <a:pt x="627" y="1255"/>
                  </a:lnTo>
                  <a:lnTo>
                    <a:pt x="647" y="1297"/>
                  </a:lnTo>
                  <a:lnTo>
                    <a:pt x="670" y="1340"/>
                  </a:lnTo>
                  <a:lnTo>
                    <a:pt x="692" y="1382"/>
                  </a:lnTo>
                  <a:lnTo>
                    <a:pt x="715" y="1425"/>
                  </a:lnTo>
                  <a:lnTo>
                    <a:pt x="738" y="1468"/>
                  </a:lnTo>
                  <a:lnTo>
                    <a:pt x="762" y="1509"/>
                  </a:lnTo>
                  <a:lnTo>
                    <a:pt x="787" y="1550"/>
                  </a:lnTo>
                  <a:lnTo>
                    <a:pt x="812" y="1591"/>
                  </a:lnTo>
                  <a:lnTo>
                    <a:pt x="838" y="1632"/>
                  </a:lnTo>
                  <a:lnTo>
                    <a:pt x="864" y="1672"/>
                  </a:lnTo>
                  <a:lnTo>
                    <a:pt x="891" y="1711"/>
                  </a:lnTo>
                  <a:lnTo>
                    <a:pt x="918" y="1751"/>
                  </a:lnTo>
                  <a:lnTo>
                    <a:pt x="947" y="1790"/>
                  </a:lnTo>
                  <a:lnTo>
                    <a:pt x="975" y="1828"/>
                  </a:lnTo>
                  <a:lnTo>
                    <a:pt x="1003" y="1867"/>
                  </a:lnTo>
                  <a:lnTo>
                    <a:pt x="1033" y="1905"/>
                  </a:lnTo>
                  <a:lnTo>
                    <a:pt x="1064" y="1943"/>
                  </a:lnTo>
                  <a:lnTo>
                    <a:pt x="1094" y="1980"/>
                  </a:lnTo>
                  <a:lnTo>
                    <a:pt x="1125" y="2016"/>
                  </a:lnTo>
                  <a:lnTo>
                    <a:pt x="1157" y="2053"/>
                  </a:lnTo>
                  <a:lnTo>
                    <a:pt x="1189" y="2088"/>
                  </a:lnTo>
                  <a:lnTo>
                    <a:pt x="1222" y="2124"/>
                  </a:lnTo>
                  <a:lnTo>
                    <a:pt x="1255" y="2158"/>
                  </a:lnTo>
                  <a:lnTo>
                    <a:pt x="1288" y="2193"/>
                  </a:lnTo>
                  <a:lnTo>
                    <a:pt x="1322" y="2227"/>
                  </a:lnTo>
                  <a:lnTo>
                    <a:pt x="1358" y="2261"/>
                  </a:lnTo>
                  <a:lnTo>
                    <a:pt x="1393" y="2294"/>
                  </a:lnTo>
                  <a:lnTo>
                    <a:pt x="1429" y="2326"/>
                  </a:lnTo>
                  <a:lnTo>
                    <a:pt x="1466" y="2358"/>
                  </a:lnTo>
                  <a:lnTo>
                    <a:pt x="1502" y="2390"/>
                  </a:lnTo>
                  <a:lnTo>
                    <a:pt x="1539" y="2421"/>
                  </a:lnTo>
                  <a:lnTo>
                    <a:pt x="1577" y="2452"/>
                  </a:lnTo>
                  <a:lnTo>
                    <a:pt x="1615" y="2482"/>
                  </a:lnTo>
                  <a:lnTo>
                    <a:pt x="1654" y="2512"/>
                  </a:lnTo>
                  <a:lnTo>
                    <a:pt x="1693" y="2541"/>
                  </a:lnTo>
                  <a:lnTo>
                    <a:pt x="1733" y="2570"/>
                  </a:lnTo>
                  <a:lnTo>
                    <a:pt x="1773" y="2598"/>
                  </a:lnTo>
                  <a:lnTo>
                    <a:pt x="1813" y="2625"/>
                  </a:lnTo>
                  <a:lnTo>
                    <a:pt x="1855" y="2653"/>
                  </a:lnTo>
                  <a:lnTo>
                    <a:pt x="1896" y="2679"/>
                  </a:lnTo>
                  <a:lnTo>
                    <a:pt x="1909" y="2688"/>
                  </a:lnTo>
                  <a:lnTo>
                    <a:pt x="1921" y="2699"/>
                  </a:lnTo>
                  <a:lnTo>
                    <a:pt x="1931" y="2709"/>
                  </a:lnTo>
                  <a:lnTo>
                    <a:pt x="1940" y="2721"/>
                  </a:lnTo>
                  <a:lnTo>
                    <a:pt x="1948" y="2734"/>
                  </a:lnTo>
                  <a:lnTo>
                    <a:pt x="1955" y="2747"/>
                  </a:lnTo>
                  <a:lnTo>
                    <a:pt x="1960" y="2761"/>
                  </a:lnTo>
                  <a:lnTo>
                    <a:pt x="1964" y="2776"/>
                  </a:lnTo>
                  <a:lnTo>
                    <a:pt x="1967" y="2791"/>
                  </a:lnTo>
                  <a:lnTo>
                    <a:pt x="1968" y="2805"/>
                  </a:lnTo>
                  <a:lnTo>
                    <a:pt x="1968" y="2820"/>
                  </a:lnTo>
                  <a:lnTo>
                    <a:pt x="1966" y="2836"/>
                  </a:lnTo>
                  <a:lnTo>
                    <a:pt x="1963" y="2850"/>
                  </a:lnTo>
                  <a:lnTo>
                    <a:pt x="1959" y="2865"/>
                  </a:lnTo>
                  <a:lnTo>
                    <a:pt x="1951" y="2880"/>
                  </a:lnTo>
                  <a:lnTo>
                    <a:pt x="1944" y="2894"/>
                  </a:lnTo>
                  <a:lnTo>
                    <a:pt x="1935" y="2907"/>
                  </a:lnTo>
                  <a:lnTo>
                    <a:pt x="1924" y="2919"/>
                  </a:lnTo>
                  <a:lnTo>
                    <a:pt x="1914" y="2929"/>
                  </a:lnTo>
                  <a:lnTo>
                    <a:pt x="1902" y="2938"/>
                  </a:lnTo>
                  <a:lnTo>
                    <a:pt x="1889" y="2946"/>
                  </a:lnTo>
                  <a:lnTo>
                    <a:pt x="1876" y="2953"/>
                  </a:lnTo>
                  <a:lnTo>
                    <a:pt x="1862" y="2958"/>
                  </a:lnTo>
                  <a:lnTo>
                    <a:pt x="1847" y="2962"/>
                  </a:lnTo>
                  <a:lnTo>
                    <a:pt x="1832" y="2965"/>
                  </a:lnTo>
                  <a:lnTo>
                    <a:pt x="1818" y="2966"/>
                  </a:lnTo>
                  <a:lnTo>
                    <a:pt x="1802" y="2966"/>
                  </a:lnTo>
                  <a:lnTo>
                    <a:pt x="1787" y="2964"/>
                  </a:lnTo>
                  <a:lnTo>
                    <a:pt x="1773" y="2961"/>
                  </a:lnTo>
                  <a:lnTo>
                    <a:pt x="1758" y="2956"/>
                  </a:lnTo>
                  <a:lnTo>
                    <a:pt x="1743" y="2949"/>
                  </a:lnTo>
                  <a:lnTo>
                    <a:pt x="1729" y="2942"/>
                  </a:lnTo>
                  <a:lnTo>
                    <a:pt x="1684" y="2913"/>
                  </a:lnTo>
                  <a:lnTo>
                    <a:pt x="1639" y="2883"/>
                  </a:lnTo>
                  <a:lnTo>
                    <a:pt x="1596" y="2854"/>
                  </a:lnTo>
                  <a:lnTo>
                    <a:pt x="1552" y="2823"/>
                  </a:lnTo>
                  <a:lnTo>
                    <a:pt x="1508" y="2792"/>
                  </a:lnTo>
                  <a:lnTo>
                    <a:pt x="1466" y="2760"/>
                  </a:lnTo>
                  <a:lnTo>
                    <a:pt x="1424" y="2727"/>
                  </a:lnTo>
                  <a:lnTo>
                    <a:pt x="1382" y="2695"/>
                  </a:lnTo>
                  <a:lnTo>
                    <a:pt x="1340" y="2661"/>
                  </a:lnTo>
                  <a:lnTo>
                    <a:pt x="1300" y="2627"/>
                  </a:lnTo>
                  <a:lnTo>
                    <a:pt x="1260" y="2592"/>
                  </a:lnTo>
                  <a:lnTo>
                    <a:pt x="1221" y="2558"/>
                  </a:lnTo>
                  <a:lnTo>
                    <a:pt x="1182" y="2521"/>
                  </a:lnTo>
                  <a:lnTo>
                    <a:pt x="1143" y="2486"/>
                  </a:lnTo>
                  <a:lnTo>
                    <a:pt x="1105" y="2449"/>
                  </a:lnTo>
                  <a:lnTo>
                    <a:pt x="1067" y="2412"/>
                  </a:lnTo>
                  <a:lnTo>
                    <a:pt x="1030" y="2375"/>
                  </a:lnTo>
                  <a:lnTo>
                    <a:pt x="995" y="2337"/>
                  </a:lnTo>
                  <a:lnTo>
                    <a:pt x="958" y="2298"/>
                  </a:lnTo>
                  <a:lnTo>
                    <a:pt x="924" y="2259"/>
                  </a:lnTo>
                  <a:lnTo>
                    <a:pt x="889" y="2220"/>
                  </a:lnTo>
                  <a:lnTo>
                    <a:pt x="855" y="2180"/>
                  </a:lnTo>
                  <a:lnTo>
                    <a:pt x="821" y="2139"/>
                  </a:lnTo>
                  <a:lnTo>
                    <a:pt x="788" y="2098"/>
                  </a:lnTo>
                  <a:lnTo>
                    <a:pt x="756" y="2057"/>
                  </a:lnTo>
                  <a:lnTo>
                    <a:pt x="724" y="2015"/>
                  </a:lnTo>
                  <a:lnTo>
                    <a:pt x="694" y="1973"/>
                  </a:lnTo>
                  <a:lnTo>
                    <a:pt x="663" y="1930"/>
                  </a:lnTo>
                  <a:lnTo>
                    <a:pt x="633" y="1887"/>
                  </a:lnTo>
                  <a:lnTo>
                    <a:pt x="604" y="1844"/>
                  </a:lnTo>
                  <a:lnTo>
                    <a:pt x="575" y="1800"/>
                  </a:lnTo>
                  <a:lnTo>
                    <a:pt x="547" y="1755"/>
                  </a:lnTo>
                  <a:lnTo>
                    <a:pt x="520" y="1711"/>
                  </a:lnTo>
                  <a:lnTo>
                    <a:pt x="494" y="1666"/>
                  </a:lnTo>
                  <a:lnTo>
                    <a:pt x="467" y="1620"/>
                  </a:lnTo>
                  <a:lnTo>
                    <a:pt x="442" y="1575"/>
                  </a:lnTo>
                  <a:lnTo>
                    <a:pt x="417" y="1529"/>
                  </a:lnTo>
                  <a:lnTo>
                    <a:pt x="392" y="1483"/>
                  </a:lnTo>
                  <a:lnTo>
                    <a:pt x="368" y="1436"/>
                  </a:lnTo>
                  <a:lnTo>
                    <a:pt x="346" y="1388"/>
                  </a:lnTo>
                  <a:lnTo>
                    <a:pt x="323" y="1341"/>
                  </a:lnTo>
                  <a:lnTo>
                    <a:pt x="302" y="1294"/>
                  </a:lnTo>
                  <a:lnTo>
                    <a:pt x="281" y="1245"/>
                  </a:lnTo>
                  <a:lnTo>
                    <a:pt x="261" y="1197"/>
                  </a:lnTo>
                  <a:lnTo>
                    <a:pt x="241" y="1148"/>
                  </a:lnTo>
                  <a:lnTo>
                    <a:pt x="222" y="1099"/>
                  </a:lnTo>
                  <a:lnTo>
                    <a:pt x="204" y="1050"/>
                  </a:lnTo>
                  <a:lnTo>
                    <a:pt x="186" y="1000"/>
                  </a:lnTo>
                  <a:lnTo>
                    <a:pt x="169" y="950"/>
                  </a:lnTo>
                  <a:lnTo>
                    <a:pt x="153" y="900"/>
                  </a:lnTo>
                  <a:lnTo>
                    <a:pt x="138" y="849"/>
                  </a:lnTo>
                  <a:lnTo>
                    <a:pt x="123" y="798"/>
                  </a:lnTo>
                  <a:lnTo>
                    <a:pt x="108" y="747"/>
                  </a:lnTo>
                  <a:lnTo>
                    <a:pt x="95" y="697"/>
                  </a:lnTo>
                  <a:lnTo>
                    <a:pt x="82" y="646"/>
                  </a:lnTo>
                  <a:lnTo>
                    <a:pt x="70" y="594"/>
                  </a:lnTo>
                  <a:lnTo>
                    <a:pt x="59" y="542"/>
                  </a:lnTo>
                  <a:lnTo>
                    <a:pt x="48" y="490"/>
                  </a:lnTo>
                  <a:lnTo>
                    <a:pt x="39" y="438"/>
                  </a:lnTo>
                  <a:lnTo>
                    <a:pt x="29" y="384"/>
                  </a:lnTo>
                  <a:lnTo>
                    <a:pt x="21" y="332"/>
                  </a:lnTo>
                  <a:lnTo>
                    <a:pt x="14" y="279"/>
                  </a:lnTo>
                  <a:lnTo>
                    <a:pt x="7" y="226"/>
                  </a:lnTo>
                  <a:lnTo>
                    <a:pt x="1" y="173"/>
                  </a:lnTo>
                  <a:close/>
                </a:path>
              </a:pathLst>
            </a:custGeom>
            <a:solidFill>
              <a:srgbClr val="8675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6653" tIns="58327" rIns="116653" bIns="58327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56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5" name="Freeform 26"/>
            <p:cNvSpPr>
              <a:spLocks noEditPoints="1"/>
            </p:cNvSpPr>
            <p:nvPr/>
          </p:nvSpPr>
          <p:spPr bwMode="auto">
            <a:xfrm>
              <a:off x="1686" y="1628"/>
              <a:ext cx="339" cy="300"/>
            </a:xfrm>
            <a:custGeom>
              <a:avLst/>
              <a:gdLst>
                <a:gd name="T0" fmla="*/ 38 w 1356"/>
                <a:gd name="T1" fmla="*/ 648 h 1200"/>
                <a:gd name="T2" fmla="*/ 7 w 1356"/>
                <a:gd name="T3" fmla="*/ 606 h 1200"/>
                <a:gd name="T4" fmla="*/ 2 w 1356"/>
                <a:gd name="T5" fmla="*/ 593 h 1200"/>
                <a:gd name="T6" fmla="*/ 39 w 1356"/>
                <a:gd name="T7" fmla="*/ 496 h 1200"/>
                <a:gd name="T8" fmla="*/ 100 w 1356"/>
                <a:gd name="T9" fmla="*/ 509 h 1200"/>
                <a:gd name="T10" fmla="*/ 82 w 1356"/>
                <a:gd name="T11" fmla="*/ 485 h 1200"/>
                <a:gd name="T12" fmla="*/ 158 w 1356"/>
                <a:gd name="T13" fmla="*/ 463 h 1200"/>
                <a:gd name="T14" fmla="*/ 422 w 1356"/>
                <a:gd name="T15" fmla="*/ 463 h 1200"/>
                <a:gd name="T16" fmla="*/ 537 w 1356"/>
                <a:gd name="T17" fmla="*/ 536 h 1200"/>
                <a:gd name="T18" fmla="*/ 640 w 1356"/>
                <a:gd name="T19" fmla="*/ 521 h 1200"/>
                <a:gd name="T20" fmla="*/ 747 w 1356"/>
                <a:gd name="T21" fmla="*/ 283 h 1200"/>
                <a:gd name="T22" fmla="*/ 828 w 1356"/>
                <a:gd name="T23" fmla="*/ 142 h 1200"/>
                <a:gd name="T24" fmla="*/ 869 w 1356"/>
                <a:gd name="T25" fmla="*/ 83 h 1200"/>
                <a:gd name="T26" fmla="*/ 867 w 1356"/>
                <a:gd name="T27" fmla="*/ 33 h 1200"/>
                <a:gd name="T28" fmla="*/ 895 w 1356"/>
                <a:gd name="T29" fmla="*/ 64 h 1200"/>
                <a:gd name="T30" fmla="*/ 895 w 1356"/>
                <a:gd name="T31" fmla="*/ 64 h 1200"/>
                <a:gd name="T32" fmla="*/ 920 w 1356"/>
                <a:gd name="T33" fmla="*/ 69 h 1200"/>
                <a:gd name="T34" fmla="*/ 949 w 1356"/>
                <a:gd name="T35" fmla="*/ 71 h 1200"/>
                <a:gd name="T36" fmla="*/ 925 w 1356"/>
                <a:gd name="T37" fmla="*/ 72 h 1200"/>
                <a:gd name="T38" fmla="*/ 982 w 1356"/>
                <a:gd name="T39" fmla="*/ 146 h 1200"/>
                <a:gd name="T40" fmla="*/ 982 w 1356"/>
                <a:gd name="T41" fmla="*/ 146 h 1200"/>
                <a:gd name="T42" fmla="*/ 925 w 1356"/>
                <a:gd name="T43" fmla="*/ 124 h 1200"/>
                <a:gd name="T44" fmla="*/ 920 w 1356"/>
                <a:gd name="T45" fmla="*/ 172 h 1200"/>
                <a:gd name="T46" fmla="*/ 953 w 1356"/>
                <a:gd name="T47" fmla="*/ 183 h 1200"/>
                <a:gd name="T48" fmla="*/ 910 w 1356"/>
                <a:gd name="T49" fmla="*/ 139 h 1200"/>
                <a:gd name="T50" fmla="*/ 903 w 1356"/>
                <a:gd name="T51" fmla="*/ 149 h 1200"/>
                <a:gd name="T52" fmla="*/ 877 w 1356"/>
                <a:gd name="T53" fmla="*/ 305 h 1200"/>
                <a:gd name="T54" fmla="*/ 739 w 1356"/>
                <a:gd name="T55" fmla="*/ 528 h 1200"/>
                <a:gd name="T56" fmla="*/ 744 w 1356"/>
                <a:gd name="T57" fmla="*/ 496 h 1200"/>
                <a:gd name="T58" fmla="*/ 987 w 1356"/>
                <a:gd name="T59" fmla="*/ 538 h 1200"/>
                <a:gd name="T60" fmla="*/ 1163 w 1356"/>
                <a:gd name="T61" fmla="*/ 587 h 1200"/>
                <a:gd name="T62" fmla="*/ 1179 w 1356"/>
                <a:gd name="T63" fmla="*/ 589 h 1200"/>
                <a:gd name="T64" fmla="*/ 1218 w 1356"/>
                <a:gd name="T65" fmla="*/ 641 h 1200"/>
                <a:gd name="T66" fmla="*/ 1237 w 1356"/>
                <a:gd name="T67" fmla="*/ 599 h 1200"/>
                <a:gd name="T68" fmla="*/ 1266 w 1356"/>
                <a:gd name="T69" fmla="*/ 666 h 1200"/>
                <a:gd name="T70" fmla="*/ 1356 w 1356"/>
                <a:gd name="T71" fmla="*/ 706 h 1200"/>
                <a:gd name="T72" fmla="*/ 1289 w 1356"/>
                <a:gd name="T73" fmla="*/ 788 h 1200"/>
                <a:gd name="T74" fmla="*/ 1219 w 1356"/>
                <a:gd name="T75" fmla="*/ 788 h 1200"/>
                <a:gd name="T76" fmla="*/ 1163 w 1356"/>
                <a:gd name="T77" fmla="*/ 716 h 1200"/>
                <a:gd name="T78" fmla="*/ 1122 w 1356"/>
                <a:gd name="T79" fmla="*/ 707 h 1200"/>
                <a:gd name="T80" fmla="*/ 1057 w 1356"/>
                <a:gd name="T81" fmla="*/ 730 h 1200"/>
                <a:gd name="T82" fmla="*/ 1033 w 1356"/>
                <a:gd name="T83" fmla="*/ 679 h 1200"/>
                <a:gd name="T84" fmla="*/ 884 w 1356"/>
                <a:gd name="T85" fmla="*/ 647 h 1200"/>
                <a:gd name="T86" fmla="*/ 682 w 1356"/>
                <a:gd name="T87" fmla="*/ 617 h 1200"/>
                <a:gd name="T88" fmla="*/ 634 w 1356"/>
                <a:gd name="T89" fmla="*/ 711 h 1200"/>
                <a:gd name="T90" fmla="*/ 566 w 1356"/>
                <a:gd name="T91" fmla="*/ 919 h 1200"/>
                <a:gd name="T92" fmla="*/ 534 w 1356"/>
                <a:gd name="T93" fmla="*/ 1105 h 1200"/>
                <a:gd name="T94" fmla="*/ 547 w 1356"/>
                <a:gd name="T95" fmla="*/ 1130 h 1200"/>
                <a:gd name="T96" fmla="*/ 533 w 1356"/>
                <a:gd name="T97" fmla="*/ 1111 h 1200"/>
                <a:gd name="T98" fmla="*/ 505 w 1356"/>
                <a:gd name="T99" fmla="*/ 1199 h 1200"/>
                <a:gd name="T100" fmla="*/ 504 w 1356"/>
                <a:gd name="T101" fmla="*/ 1200 h 1200"/>
                <a:gd name="T102" fmla="*/ 491 w 1356"/>
                <a:gd name="T103" fmla="*/ 1139 h 1200"/>
                <a:gd name="T104" fmla="*/ 436 w 1356"/>
                <a:gd name="T105" fmla="*/ 1173 h 1200"/>
                <a:gd name="T106" fmla="*/ 414 w 1356"/>
                <a:gd name="T107" fmla="*/ 1021 h 1200"/>
                <a:gd name="T108" fmla="*/ 479 w 1356"/>
                <a:gd name="T109" fmla="*/ 771 h 1200"/>
                <a:gd name="T110" fmla="*/ 543 w 1356"/>
                <a:gd name="T111" fmla="*/ 607 h 1200"/>
                <a:gd name="T112" fmla="*/ 558 w 1356"/>
                <a:gd name="T113" fmla="*/ 665 h 1200"/>
                <a:gd name="T114" fmla="*/ 544 w 1356"/>
                <a:gd name="T115" fmla="*/ 632 h 1200"/>
                <a:gd name="T116" fmla="*/ 507 w 1356"/>
                <a:gd name="T117" fmla="*/ 604 h 1200"/>
                <a:gd name="T118" fmla="*/ 388 w 1356"/>
                <a:gd name="T119" fmla="*/ 587 h 1200"/>
                <a:gd name="T120" fmla="*/ 214 w 1356"/>
                <a:gd name="T121" fmla="*/ 583 h 1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356" h="1200">
                  <a:moveTo>
                    <a:pt x="135" y="660"/>
                  </a:moveTo>
                  <a:lnTo>
                    <a:pt x="126" y="664"/>
                  </a:lnTo>
                  <a:lnTo>
                    <a:pt x="117" y="666"/>
                  </a:lnTo>
                  <a:lnTo>
                    <a:pt x="108" y="667"/>
                  </a:lnTo>
                  <a:lnTo>
                    <a:pt x="98" y="668"/>
                  </a:lnTo>
                  <a:lnTo>
                    <a:pt x="89" y="667"/>
                  </a:lnTo>
                  <a:lnTo>
                    <a:pt x="80" y="666"/>
                  </a:lnTo>
                  <a:lnTo>
                    <a:pt x="71" y="665"/>
                  </a:lnTo>
                  <a:lnTo>
                    <a:pt x="63" y="661"/>
                  </a:lnTo>
                  <a:lnTo>
                    <a:pt x="85" y="602"/>
                  </a:lnTo>
                  <a:lnTo>
                    <a:pt x="91" y="603"/>
                  </a:lnTo>
                  <a:lnTo>
                    <a:pt x="97" y="604"/>
                  </a:lnTo>
                  <a:lnTo>
                    <a:pt x="103" y="603"/>
                  </a:lnTo>
                  <a:lnTo>
                    <a:pt x="109" y="601"/>
                  </a:lnTo>
                  <a:lnTo>
                    <a:pt x="135" y="660"/>
                  </a:lnTo>
                  <a:close/>
                  <a:moveTo>
                    <a:pt x="63" y="661"/>
                  </a:moveTo>
                  <a:lnTo>
                    <a:pt x="54" y="658"/>
                  </a:lnTo>
                  <a:lnTo>
                    <a:pt x="46" y="654"/>
                  </a:lnTo>
                  <a:lnTo>
                    <a:pt x="38" y="648"/>
                  </a:lnTo>
                  <a:lnTo>
                    <a:pt x="31" y="642"/>
                  </a:lnTo>
                  <a:lnTo>
                    <a:pt x="25" y="636"/>
                  </a:lnTo>
                  <a:lnTo>
                    <a:pt x="19" y="628"/>
                  </a:lnTo>
                  <a:lnTo>
                    <a:pt x="13" y="621"/>
                  </a:lnTo>
                  <a:lnTo>
                    <a:pt x="9" y="612"/>
                  </a:lnTo>
                  <a:lnTo>
                    <a:pt x="67" y="586"/>
                  </a:lnTo>
                  <a:lnTo>
                    <a:pt x="70" y="591"/>
                  </a:lnTo>
                  <a:lnTo>
                    <a:pt x="74" y="596"/>
                  </a:lnTo>
                  <a:lnTo>
                    <a:pt x="79" y="600"/>
                  </a:lnTo>
                  <a:lnTo>
                    <a:pt x="85" y="602"/>
                  </a:lnTo>
                  <a:lnTo>
                    <a:pt x="63" y="661"/>
                  </a:lnTo>
                  <a:close/>
                  <a:moveTo>
                    <a:pt x="9" y="612"/>
                  </a:moveTo>
                  <a:lnTo>
                    <a:pt x="8" y="612"/>
                  </a:lnTo>
                  <a:lnTo>
                    <a:pt x="66" y="586"/>
                  </a:lnTo>
                  <a:lnTo>
                    <a:pt x="67" y="586"/>
                  </a:lnTo>
                  <a:lnTo>
                    <a:pt x="9" y="612"/>
                  </a:lnTo>
                  <a:close/>
                  <a:moveTo>
                    <a:pt x="38" y="599"/>
                  </a:moveTo>
                  <a:lnTo>
                    <a:pt x="8" y="612"/>
                  </a:lnTo>
                  <a:lnTo>
                    <a:pt x="7" y="606"/>
                  </a:lnTo>
                  <a:lnTo>
                    <a:pt x="6" y="600"/>
                  </a:lnTo>
                  <a:lnTo>
                    <a:pt x="6" y="593"/>
                  </a:lnTo>
                  <a:lnTo>
                    <a:pt x="8" y="587"/>
                  </a:lnTo>
                  <a:lnTo>
                    <a:pt x="11" y="582"/>
                  </a:lnTo>
                  <a:lnTo>
                    <a:pt x="14" y="577"/>
                  </a:lnTo>
                  <a:lnTo>
                    <a:pt x="19" y="573"/>
                  </a:lnTo>
                  <a:lnTo>
                    <a:pt x="25" y="569"/>
                  </a:lnTo>
                  <a:lnTo>
                    <a:pt x="31" y="568"/>
                  </a:lnTo>
                  <a:lnTo>
                    <a:pt x="37" y="567"/>
                  </a:lnTo>
                  <a:lnTo>
                    <a:pt x="43" y="567"/>
                  </a:lnTo>
                  <a:lnTo>
                    <a:pt x="48" y="569"/>
                  </a:lnTo>
                  <a:lnTo>
                    <a:pt x="54" y="571"/>
                  </a:lnTo>
                  <a:lnTo>
                    <a:pt x="59" y="575"/>
                  </a:lnTo>
                  <a:lnTo>
                    <a:pt x="64" y="580"/>
                  </a:lnTo>
                  <a:lnTo>
                    <a:pt x="66" y="586"/>
                  </a:lnTo>
                  <a:lnTo>
                    <a:pt x="38" y="599"/>
                  </a:lnTo>
                  <a:close/>
                  <a:moveTo>
                    <a:pt x="8" y="612"/>
                  </a:moveTo>
                  <a:lnTo>
                    <a:pt x="5" y="602"/>
                  </a:lnTo>
                  <a:lnTo>
                    <a:pt x="2" y="593"/>
                  </a:lnTo>
                  <a:lnTo>
                    <a:pt x="1" y="584"/>
                  </a:lnTo>
                  <a:lnTo>
                    <a:pt x="0" y="575"/>
                  </a:lnTo>
                  <a:lnTo>
                    <a:pt x="0" y="565"/>
                  </a:lnTo>
                  <a:lnTo>
                    <a:pt x="1" y="556"/>
                  </a:lnTo>
                  <a:lnTo>
                    <a:pt x="4" y="548"/>
                  </a:lnTo>
                  <a:lnTo>
                    <a:pt x="7" y="539"/>
                  </a:lnTo>
                  <a:lnTo>
                    <a:pt x="66" y="562"/>
                  </a:lnTo>
                  <a:lnTo>
                    <a:pt x="65" y="568"/>
                  </a:lnTo>
                  <a:lnTo>
                    <a:pt x="64" y="574"/>
                  </a:lnTo>
                  <a:lnTo>
                    <a:pt x="65" y="580"/>
                  </a:lnTo>
                  <a:lnTo>
                    <a:pt x="66" y="586"/>
                  </a:lnTo>
                  <a:lnTo>
                    <a:pt x="8" y="612"/>
                  </a:lnTo>
                  <a:close/>
                  <a:moveTo>
                    <a:pt x="7" y="539"/>
                  </a:moveTo>
                  <a:lnTo>
                    <a:pt x="11" y="531"/>
                  </a:lnTo>
                  <a:lnTo>
                    <a:pt x="14" y="523"/>
                  </a:lnTo>
                  <a:lnTo>
                    <a:pt x="20" y="516"/>
                  </a:lnTo>
                  <a:lnTo>
                    <a:pt x="26" y="509"/>
                  </a:lnTo>
                  <a:lnTo>
                    <a:pt x="32" y="502"/>
                  </a:lnTo>
                  <a:lnTo>
                    <a:pt x="39" y="496"/>
                  </a:lnTo>
                  <a:lnTo>
                    <a:pt x="47" y="491"/>
                  </a:lnTo>
                  <a:lnTo>
                    <a:pt x="56" y="486"/>
                  </a:lnTo>
                  <a:lnTo>
                    <a:pt x="83" y="544"/>
                  </a:lnTo>
                  <a:lnTo>
                    <a:pt x="77" y="548"/>
                  </a:lnTo>
                  <a:lnTo>
                    <a:pt x="72" y="551"/>
                  </a:lnTo>
                  <a:lnTo>
                    <a:pt x="69" y="556"/>
                  </a:lnTo>
                  <a:lnTo>
                    <a:pt x="66" y="562"/>
                  </a:lnTo>
                  <a:lnTo>
                    <a:pt x="7" y="539"/>
                  </a:lnTo>
                  <a:close/>
                  <a:moveTo>
                    <a:pt x="70" y="516"/>
                  </a:moveTo>
                  <a:lnTo>
                    <a:pt x="56" y="486"/>
                  </a:lnTo>
                  <a:lnTo>
                    <a:pt x="63" y="484"/>
                  </a:lnTo>
                  <a:lnTo>
                    <a:pt x="69" y="484"/>
                  </a:lnTo>
                  <a:lnTo>
                    <a:pt x="74" y="484"/>
                  </a:lnTo>
                  <a:lnTo>
                    <a:pt x="80" y="485"/>
                  </a:lnTo>
                  <a:lnTo>
                    <a:pt x="86" y="489"/>
                  </a:lnTo>
                  <a:lnTo>
                    <a:pt x="91" y="492"/>
                  </a:lnTo>
                  <a:lnTo>
                    <a:pt x="95" y="497"/>
                  </a:lnTo>
                  <a:lnTo>
                    <a:pt x="98" y="502"/>
                  </a:lnTo>
                  <a:lnTo>
                    <a:pt x="100" y="509"/>
                  </a:lnTo>
                  <a:lnTo>
                    <a:pt x="102" y="515"/>
                  </a:lnTo>
                  <a:lnTo>
                    <a:pt x="100" y="521"/>
                  </a:lnTo>
                  <a:lnTo>
                    <a:pt x="99" y="526"/>
                  </a:lnTo>
                  <a:lnTo>
                    <a:pt x="97" y="532"/>
                  </a:lnTo>
                  <a:lnTo>
                    <a:pt x="93" y="537"/>
                  </a:lnTo>
                  <a:lnTo>
                    <a:pt x="89" y="541"/>
                  </a:lnTo>
                  <a:lnTo>
                    <a:pt x="83" y="544"/>
                  </a:lnTo>
                  <a:lnTo>
                    <a:pt x="70" y="516"/>
                  </a:lnTo>
                  <a:close/>
                  <a:moveTo>
                    <a:pt x="57" y="486"/>
                  </a:moveTo>
                  <a:lnTo>
                    <a:pt x="57" y="486"/>
                  </a:lnTo>
                  <a:lnTo>
                    <a:pt x="83" y="544"/>
                  </a:lnTo>
                  <a:lnTo>
                    <a:pt x="83" y="544"/>
                  </a:lnTo>
                  <a:lnTo>
                    <a:pt x="57" y="486"/>
                  </a:lnTo>
                  <a:close/>
                  <a:moveTo>
                    <a:pt x="70" y="515"/>
                  </a:moveTo>
                  <a:lnTo>
                    <a:pt x="57" y="486"/>
                  </a:lnTo>
                  <a:lnTo>
                    <a:pt x="63" y="484"/>
                  </a:lnTo>
                  <a:lnTo>
                    <a:pt x="69" y="483"/>
                  </a:lnTo>
                  <a:lnTo>
                    <a:pt x="76" y="484"/>
                  </a:lnTo>
                  <a:lnTo>
                    <a:pt x="82" y="485"/>
                  </a:lnTo>
                  <a:lnTo>
                    <a:pt x="86" y="489"/>
                  </a:lnTo>
                  <a:lnTo>
                    <a:pt x="91" y="492"/>
                  </a:lnTo>
                  <a:lnTo>
                    <a:pt x="96" y="497"/>
                  </a:lnTo>
                  <a:lnTo>
                    <a:pt x="99" y="502"/>
                  </a:lnTo>
                  <a:lnTo>
                    <a:pt x="100" y="509"/>
                  </a:lnTo>
                  <a:lnTo>
                    <a:pt x="102" y="515"/>
                  </a:lnTo>
                  <a:lnTo>
                    <a:pt x="102" y="521"/>
                  </a:lnTo>
                  <a:lnTo>
                    <a:pt x="99" y="526"/>
                  </a:lnTo>
                  <a:lnTo>
                    <a:pt x="97" y="532"/>
                  </a:lnTo>
                  <a:lnTo>
                    <a:pt x="93" y="537"/>
                  </a:lnTo>
                  <a:lnTo>
                    <a:pt x="89" y="541"/>
                  </a:lnTo>
                  <a:lnTo>
                    <a:pt x="83" y="544"/>
                  </a:lnTo>
                  <a:lnTo>
                    <a:pt x="70" y="515"/>
                  </a:lnTo>
                  <a:close/>
                  <a:moveTo>
                    <a:pt x="57" y="486"/>
                  </a:moveTo>
                  <a:lnTo>
                    <a:pt x="73" y="480"/>
                  </a:lnTo>
                  <a:lnTo>
                    <a:pt x="91" y="474"/>
                  </a:lnTo>
                  <a:lnTo>
                    <a:pt x="111" y="470"/>
                  </a:lnTo>
                  <a:lnTo>
                    <a:pt x="134" y="466"/>
                  </a:lnTo>
                  <a:lnTo>
                    <a:pt x="158" y="463"/>
                  </a:lnTo>
                  <a:lnTo>
                    <a:pt x="184" y="460"/>
                  </a:lnTo>
                  <a:lnTo>
                    <a:pt x="212" y="459"/>
                  </a:lnTo>
                  <a:lnTo>
                    <a:pt x="241" y="458"/>
                  </a:lnTo>
                  <a:lnTo>
                    <a:pt x="242" y="522"/>
                  </a:lnTo>
                  <a:lnTo>
                    <a:pt x="216" y="523"/>
                  </a:lnTo>
                  <a:lnTo>
                    <a:pt x="192" y="524"/>
                  </a:lnTo>
                  <a:lnTo>
                    <a:pt x="169" y="526"/>
                  </a:lnTo>
                  <a:lnTo>
                    <a:pt x="148" y="529"/>
                  </a:lnTo>
                  <a:lnTo>
                    <a:pt x="128" y="531"/>
                  </a:lnTo>
                  <a:lnTo>
                    <a:pt x="111" y="535"/>
                  </a:lnTo>
                  <a:lnTo>
                    <a:pt x="96" y="539"/>
                  </a:lnTo>
                  <a:lnTo>
                    <a:pt x="83" y="544"/>
                  </a:lnTo>
                  <a:lnTo>
                    <a:pt x="57" y="486"/>
                  </a:lnTo>
                  <a:close/>
                  <a:moveTo>
                    <a:pt x="241" y="458"/>
                  </a:moveTo>
                  <a:lnTo>
                    <a:pt x="274" y="458"/>
                  </a:lnTo>
                  <a:lnTo>
                    <a:pt x="310" y="458"/>
                  </a:lnTo>
                  <a:lnTo>
                    <a:pt x="346" y="459"/>
                  </a:lnTo>
                  <a:lnTo>
                    <a:pt x="383" y="460"/>
                  </a:lnTo>
                  <a:lnTo>
                    <a:pt x="422" y="463"/>
                  </a:lnTo>
                  <a:lnTo>
                    <a:pt x="462" y="465"/>
                  </a:lnTo>
                  <a:lnTo>
                    <a:pt x="502" y="468"/>
                  </a:lnTo>
                  <a:lnTo>
                    <a:pt x="543" y="472"/>
                  </a:lnTo>
                  <a:lnTo>
                    <a:pt x="537" y="536"/>
                  </a:lnTo>
                  <a:lnTo>
                    <a:pt x="497" y="532"/>
                  </a:lnTo>
                  <a:lnTo>
                    <a:pt x="458" y="529"/>
                  </a:lnTo>
                  <a:lnTo>
                    <a:pt x="419" y="526"/>
                  </a:lnTo>
                  <a:lnTo>
                    <a:pt x="381" y="524"/>
                  </a:lnTo>
                  <a:lnTo>
                    <a:pt x="344" y="523"/>
                  </a:lnTo>
                  <a:lnTo>
                    <a:pt x="309" y="522"/>
                  </a:lnTo>
                  <a:lnTo>
                    <a:pt x="274" y="522"/>
                  </a:lnTo>
                  <a:lnTo>
                    <a:pt x="242" y="522"/>
                  </a:lnTo>
                  <a:lnTo>
                    <a:pt x="241" y="458"/>
                  </a:lnTo>
                  <a:close/>
                  <a:moveTo>
                    <a:pt x="543" y="472"/>
                  </a:moveTo>
                  <a:lnTo>
                    <a:pt x="562" y="474"/>
                  </a:lnTo>
                  <a:lnTo>
                    <a:pt x="577" y="476"/>
                  </a:lnTo>
                  <a:lnTo>
                    <a:pt x="571" y="539"/>
                  </a:lnTo>
                  <a:lnTo>
                    <a:pt x="552" y="537"/>
                  </a:lnTo>
                  <a:lnTo>
                    <a:pt x="537" y="536"/>
                  </a:lnTo>
                  <a:lnTo>
                    <a:pt x="543" y="472"/>
                  </a:lnTo>
                  <a:close/>
                  <a:moveTo>
                    <a:pt x="577" y="476"/>
                  </a:moveTo>
                  <a:lnTo>
                    <a:pt x="597" y="478"/>
                  </a:lnTo>
                  <a:lnTo>
                    <a:pt x="612" y="479"/>
                  </a:lnTo>
                  <a:lnTo>
                    <a:pt x="605" y="543"/>
                  </a:lnTo>
                  <a:lnTo>
                    <a:pt x="586" y="541"/>
                  </a:lnTo>
                  <a:lnTo>
                    <a:pt x="571" y="539"/>
                  </a:lnTo>
                  <a:lnTo>
                    <a:pt x="577" y="476"/>
                  </a:lnTo>
                  <a:close/>
                  <a:moveTo>
                    <a:pt x="609" y="511"/>
                  </a:moveTo>
                  <a:lnTo>
                    <a:pt x="612" y="479"/>
                  </a:lnTo>
                  <a:lnTo>
                    <a:pt x="618" y="480"/>
                  </a:lnTo>
                  <a:lnTo>
                    <a:pt x="624" y="483"/>
                  </a:lnTo>
                  <a:lnTo>
                    <a:pt x="629" y="486"/>
                  </a:lnTo>
                  <a:lnTo>
                    <a:pt x="634" y="491"/>
                  </a:lnTo>
                  <a:lnTo>
                    <a:pt x="637" y="496"/>
                  </a:lnTo>
                  <a:lnTo>
                    <a:pt x="640" y="502"/>
                  </a:lnTo>
                  <a:lnTo>
                    <a:pt x="641" y="508"/>
                  </a:lnTo>
                  <a:lnTo>
                    <a:pt x="641" y="515"/>
                  </a:lnTo>
                  <a:lnTo>
                    <a:pt x="640" y="521"/>
                  </a:lnTo>
                  <a:lnTo>
                    <a:pt x="636" y="526"/>
                  </a:lnTo>
                  <a:lnTo>
                    <a:pt x="632" y="531"/>
                  </a:lnTo>
                  <a:lnTo>
                    <a:pt x="629" y="536"/>
                  </a:lnTo>
                  <a:lnTo>
                    <a:pt x="623" y="539"/>
                  </a:lnTo>
                  <a:lnTo>
                    <a:pt x="618" y="542"/>
                  </a:lnTo>
                  <a:lnTo>
                    <a:pt x="611" y="543"/>
                  </a:lnTo>
                  <a:lnTo>
                    <a:pt x="605" y="543"/>
                  </a:lnTo>
                  <a:lnTo>
                    <a:pt x="609" y="511"/>
                  </a:lnTo>
                  <a:close/>
                  <a:moveTo>
                    <a:pt x="579" y="499"/>
                  </a:moveTo>
                  <a:lnTo>
                    <a:pt x="595" y="461"/>
                  </a:lnTo>
                  <a:lnTo>
                    <a:pt x="610" y="425"/>
                  </a:lnTo>
                  <a:lnTo>
                    <a:pt x="627" y="388"/>
                  </a:lnTo>
                  <a:lnTo>
                    <a:pt x="643" y="353"/>
                  </a:lnTo>
                  <a:lnTo>
                    <a:pt x="658" y="318"/>
                  </a:lnTo>
                  <a:lnTo>
                    <a:pt x="675" y="285"/>
                  </a:lnTo>
                  <a:lnTo>
                    <a:pt x="690" y="253"/>
                  </a:lnTo>
                  <a:lnTo>
                    <a:pt x="706" y="224"/>
                  </a:lnTo>
                  <a:lnTo>
                    <a:pt x="763" y="253"/>
                  </a:lnTo>
                  <a:lnTo>
                    <a:pt x="747" y="283"/>
                  </a:lnTo>
                  <a:lnTo>
                    <a:pt x="732" y="314"/>
                  </a:lnTo>
                  <a:lnTo>
                    <a:pt x="716" y="347"/>
                  </a:lnTo>
                  <a:lnTo>
                    <a:pt x="700" y="380"/>
                  </a:lnTo>
                  <a:lnTo>
                    <a:pt x="685" y="415"/>
                  </a:lnTo>
                  <a:lnTo>
                    <a:pt x="669" y="451"/>
                  </a:lnTo>
                  <a:lnTo>
                    <a:pt x="654" y="486"/>
                  </a:lnTo>
                  <a:lnTo>
                    <a:pt x="638" y="523"/>
                  </a:lnTo>
                  <a:lnTo>
                    <a:pt x="579" y="499"/>
                  </a:lnTo>
                  <a:close/>
                  <a:moveTo>
                    <a:pt x="706" y="224"/>
                  </a:moveTo>
                  <a:lnTo>
                    <a:pt x="735" y="170"/>
                  </a:lnTo>
                  <a:lnTo>
                    <a:pt x="764" y="124"/>
                  </a:lnTo>
                  <a:lnTo>
                    <a:pt x="777" y="104"/>
                  </a:lnTo>
                  <a:lnTo>
                    <a:pt x="790" y="85"/>
                  </a:lnTo>
                  <a:lnTo>
                    <a:pt x="802" y="70"/>
                  </a:lnTo>
                  <a:lnTo>
                    <a:pt x="813" y="56"/>
                  </a:lnTo>
                  <a:lnTo>
                    <a:pt x="861" y="100"/>
                  </a:lnTo>
                  <a:lnTo>
                    <a:pt x="850" y="111"/>
                  </a:lnTo>
                  <a:lnTo>
                    <a:pt x="839" y="126"/>
                  </a:lnTo>
                  <a:lnTo>
                    <a:pt x="828" y="142"/>
                  </a:lnTo>
                  <a:lnTo>
                    <a:pt x="816" y="161"/>
                  </a:lnTo>
                  <a:lnTo>
                    <a:pt x="790" y="204"/>
                  </a:lnTo>
                  <a:lnTo>
                    <a:pt x="763" y="253"/>
                  </a:lnTo>
                  <a:lnTo>
                    <a:pt x="706" y="224"/>
                  </a:lnTo>
                  <a:close/>
                  <a:moveTo>
                    <a:pt x="837" y="77"/>
                  </a:moveTo>
                  <a:lnTo>
                    <a:pt x="813" y="56"/>
                  </a:lnTo>
                  <a:lnTo>
                    <a:pt x="819" y="51"/>
                  </a:lnTo>
                  <a:lnTo>
                    <a:pt x="824" y="49"/>
                  </a:lnTo>
                  <a:lnTo>
                    <a:pt x="830" y="46"/>
                  </a:lnTo>
                  <a:lnTo>
                    <a:pt x="836" y="45"/>
                  </a:lnTo>
                  <a:lnTo>
                    <a:pt x="842" y="46"/>
                  </a:lnTo>
                  <a:lnTo>
                    <a:pt x="848" y="47"/>
                  </a:lnTo>
                  <a:lnTo>
                    <a:pt x="854" y="50"/>
                  </a:lnTo>
                  <a:lnTo>
                    <a:pt x="859" y="55"/>
                  </a:lnTo>
                  <a:lnTo>
                    <a:pt x="863" y="59"/>
                  </a:lnTo>
                  <a:lnTo>
                    <a:pt x="867" y="64"/>
                  </a:lnTo>
                  <a:lnTo>
                    <a:pt x="868" y="70"/>
                  </a:lnTo>
                  <a:lnTo>
                    <a:pt x="869" y="76"/>
                  </a:lnTo>
                  <a:lnTo>
                    <a:pt x="869" y="83"/>
                  </a:lnTo>
                  <a:lnTo>
                    <a:pt x="868" y="89"/>
                  </a:lnTo>
                  <a:lnTo>
                    <a:pt x="864" y="94"/>
                  </a:lnTo>
                  <a:lnTo>
                    <a:pt x="861" y="100"/>
                  </a:lnTo>
                  <a:lnTo>
                    <a:pt x="837" y="77"/>
                  </a:lnTo>
                  <a:close/>
                  <a:moveTo>
                    <a:pt x="811" y="61"/>
                  </a:moveTo>
                  <a:lnTo>
                    <a:pt x="822" y="43"/>
                  </a:lnTo>
                  <a:lnTo>
                    <a:pt x="875" y="78"/>
                  </a:lnTo>
                  <a:lnTo>
                    <a:pt x="864" y="95"/>
                  </a:lnTo>
                  <a:lnTo>
                    <a:pt x="811" y="61"/>
                  </a:lnTo>
                  <a:close/>
                  <a:moveTo>
                    <a:pt x="849" y="61"/>
                  </a:moveTo>
                  <a:lnTo>
                    <a:pt x="822" y="43"/>
                  </a:lnTo>
                  <a:lnTo>
                    <a:pt x="826" y="38"/>
                  </a:lnTo>
                  <a:lnTo>
                    <a:pt x="831" y="33"/>
                  </a:lnTo>
                  <a:lnTo>
                    <a:pt x="836" y="31"/>
                  </a:lnTo>
                  <a:lnTo>
                    <a:pt x="842" y="29"/>
                  </a:lnTo>
                  <a:lnTo>
                    <a:pt x="848" y="29"/>
                  </a:lnTo>
                  <a:lnTo>
                    <a:pt x="855" y="29"/>
                  </a:lnTo>
                  <a:lnTo>
                    <a:pt x="861" y="31"/>
                  </a:lnTo>
                  <a:lnTo>
                    <a:pt x="867" y="33"/>
                  </a:lnTo>
                  <a:lnTo>
                    <a:pt x="871" y="38"/>
                  </a:lnTo>
                  <a:lnTo>
                    <a:pt x="875" y="43"/>
                  </a:lnTo>
                  <a:lnTo>
                    <a:pt x="878" y="47"/>
                  </a:lnTo>
                  <a:lnTo>
                    <a:pt x="880" y="53"/>
                  </a:lnTo>
                  <a:lnTo>
                    <a:pt x="881" y="61"/>
                  </a:lnTo>
                  <a:lnTo>
                    <a:pt x="880" y="66"/>
                  </a:lnTo>
                  <a:lnTo>
                    <a:pt x="878" y="72"/>
                  </a:lnTo>
                  <a:lnTo>
                    <a:pt x="875" y="78"/>
                  </a:lnTo>
                  <a:lnTo>
                    <a:pt x="849" y="61"/>
                  </a:lnTo>
                  <a:close/>
                  <a:moveTo>
                    <a:pt x="822" y="43"/>
                  </a:moveTo>
                  <a:lnTo>
                    <a:pt x="828" y="34"/>
                  </a:lnTo>
                  <a:lnTo>
                    <a:pt x="833" y="27"/>
                  </a:lnTo>
                  <a:lnTo>
                    <a:pt x="841" y="21"/>
                  </a:lnTo>
                  <a:lnTo>
                    <a:pt x="849" y="16"/>
                  </a:lnTo>
                  <a:lnTo>
                    <a:pt x="856" y="11"/>
                  </a:lnTo>
                  <a:lnTo>
                    <a:pt x="864" y="7"/>
                  </a:lnTo>
                  <a:lnTo>
                    <a:pt x="874" y="4"/>
                  </a:lnTo>
                  <a:lnTo>
                    <a:pt x="882" y="1"/>
                  </a:lnTo>
                  <a:lnTo>
                    <a:pt x="895" y="64"/>
                  </a:lnTo>
                  <a:lnTo>
                    <a:pt x="889" y="66"/>
                  </a:lnTo>
                  <a:lnTo>
                    <a:pt x="884" y="69"/>
                  </a:lnTo>
                  <a:lnTo>
                    <a:pt x="880" y="72"/>
                  </a:lnTo>
                  <a:lnTo>
                    <a:pt x="875" y="78"/>
                  </a:lnTo>
                  <a:lnTo>
                    <a:pt x="822" y="43"/>
                  </a:lnTo>
                  <a:close/>
                  <a:moveTo>
                    <a:pt x="882" y="1"/>
                  </a:moveTo>
                  <a:lnTo>
                    <a:pt x="891" y="0"/>
                  </a:lnTo>
                  <a:lnTo>
                    <a:pt x="901" y="0"/>
                  </a:lnTo>
                  <a:lnTo>
                    <a:pt x="909" y="0"/>
                  </a:lnTo>
                  <a:lnTo>
                    <a:pt x="919" y="1"/>
                  </a:lnTo>
                  <a:lnTo>
                    <a:pt x="928" y="4"/>
                  </a:lnTo>
                  <a:lnTo>
                    <a:pt x="936" y="6"/>
                  </a:lnTo>
                  <a:lnTo>
                    <a:pt x="946" y="10"/>
                  </a:lnTo>
                  <a:lnTo>
                    <a:pt x="954" y="14"/>
                  </a:lnTo>
                  <a:lnTo>
                    <a:pt x="920" y="69"/>
                  </a:lnTo>
                  <a:lnTo>
                    <a:pt x="914" y="65"/>
                  </a:lnTo>
                  <a:lnTo>
                    <a:pt x="908" y="64"/>
                  </a:lnTo>
                  <a:lnTo>
                    <a:pt x="901" y="64"/>
                  </a:lnTo>
                  <a:lnTo>
                    <a:pt x="895" y="64"/>
                  </a:lnTo>
                  <a:lnTo>
                    <a:pt x="882" y="1"/>
                  </a:lnTo>
                  <a:close/>
                  <a:moveTo>
                    <a:pt x="936" y="42"/>
                  </a:moveTo>
                  <a:lnTo>
                    <a:pt x="954" y="14"/>
                  </a:lnTo>
                  <a:lnTo>
                    <a:pt x="959" y="19"/>
                  </a:lnTo>
                  <a:lnTo>
                    <a:pt x="964" y="24"/>
                  </a:lnTo>
                  <a:lnTo>
                    <a:pt x="966" y="29"/>
                  </a:lnTo>
                  <a:lnTo>
                    <a:pt x="968" y="34"/>
                  </a:lnTo>
                  <a:lnTo>
                    <a:pt x="968" y="42"/>
                  </a:lnTo>
                  <a:lnTo>
                    <a:pt x="968" y="47"/>
                  </a:lnTo>
                  <a:lnTo>
                    <a:pt x="966" y="53"/>
                  </a:lnTo>
                  <a:lnTo>
                    <a:pt x="964" y="59"/>
                  </a:lnTo>
                  <a:lnTo>
                    <a:pt x="960" y="64"/>
                  </a:lnTo>
                  <a:lnTo>
                    <a:pt x="955" y="68"/>
                  </a:lnTo>
                  <a:lnTo>
                    <a:pt x="949" y="71"/>
                  </a:lnTo>
                  <a:lnTo>
                    <a:pt x="943" y="74"/>
                  </a:lnTo>
                  <a:lnTo>
                    <a:pt x="938" y="74"/>
                  </a:lnTo>
                  <a:lnTo>
                    <a:pt x="932" y="74"/>
                  </a:lnTo>
                  <a:lnTo>
                    <a:pt x="926" y="71"/>
                  </a:lnTo>
                  <a:lnTo>
                    <a:pt x="920" y="69"/>
                  </a:lnTo>
                  <a:lnTo>
                    <a:pt x="936" y="42"/>
                  </a:lnTo>
                  <a:close/>
                  <a:moveTo>
                    <a:pt x="954" y="16"/>
                  </a:moveTo>
                  <a:lnTo>
                    <a:pt x="955" y="16"/>
                  </a:lnTo>
                  <a:lnTo>
                    <a:pt x="920" y="69"/>
                  </a:lnTo>
                  <a:lnTo>
                    <a:pt x="919" y="69"/>
                  </a:lnTo>
                  <a:lnTo>
                    <a:pt x="954" y="16"/>
                  </a:lnTo>
                  <a:close/>
                  <a:moveTo>
                    <a:pt x="938" y="42"/>
                  </a:moveTo>
                  <a:lnTo>
                    <a:pt x="955" y="16"/>
                  </a:lnTo>
                  <a:lnTo>
                    <a:pt x="960" y="19"/>
                  </a:lnTo>
                  <a:lnTo>
                    <a:pt x="964" y="24"/>
                  </a:lnTo>
                  <a:lnTo>
                    <a:pt x="967" y="30"/>
                  </a:lnTo>
                  <a:lnTo>
                    <a:pt x="968" y="36"/>
                  </a:lnTo>
                  <a:lnTo>
                    <a:pt x="969" y="42"/>
                  </a:lnTo>
                  <a:lnTo>
                    <a:pt x="968" y="47"/>
                  </a:lnTo>
                  <a:lnTo>
                    <a:pt x="967" y="53"/>
                  </a:lnTo>
                  <a:lnTo>
                    <a:pt x="964" y="59"/>
                  </a:lnTo>
                  <a:lnTo>
                    <a:pt x="960" y="65"/>
                  </a:lnTo>
                  <a:lnTo>
                    <a:pt x="955" y="69"/>
                  </a:lnTo>
                  <a:lnTo>
                    <a:pt x="949" y="71"/>
                  </a:lnTo>
                  <a:lnTo>
                    <a:pt x="943" y="74"/>
                  </a:lnTo>
                  <a:lnTo>
                    <a:pt x="938" y="74"/>
                  </a:lnTo>
                  <a:lnTo>
                    <a:pt x="932" y="74"/>
                  </a:lnTo>
                  <a:lnTo>
                    <a:pt x="926" y="71"/>
                  </a:lnTo>
                  <a:lnTo>
                    <a:pt x="920" y="69"/>
                  </a:lnTo>
                  <a:lnTo>
                    <a:pt x="938" y="42"/>
                  </a:lnTo>
                  <a:close/>
                  <a:moveTo>
                    <a:pt x="955" y="16"/>
                  </a:moveTo>
                  <a:lnTo>
                    <a:pt x="962" y="21"/>
                  </a:lnTo>
                  <a:lnTo>
                    <a:pt x="969" y="27"/>
                  </a:lnTo>
                  <a:lnTo>
                    <a:pt x="975" y="34"/>
                  </a:lnTo>
                  <a:lnTo>
                    <a:pt x="981" y="42"/>
                  </a:lnTo>
                  <a:lnTo>
                    <a:pt x="986" y="50"/>
                  </a:lnTo>
                  <a:lnTo>
                    <a:pt x="990" y="58"/>
                  </a:lnTo>
                  <a:lnTo>
                    <a:pt x="993" y="66"/>
                  </a:lnTo>
                  <a:lnTo>
                    <a:pt x="995" y="75"/>
                  </a:lnTo>
                  <a:lnTo>
                    <a:pt x="933" y="88"/>
                  </a:lnTo>
                  <a:lnTo>
                    <a:pt x="932" y="83"/>
                  </a:lnTo>
                  <a:lnTo>
                    <a:pt x="928" y="77"/>
                  </a:lnTo>
                  <a:lnTo>
                    <a:pt x="925" y="72"/>
                  </a:lnTo>
                  <a:lnTo>
                    <a:pt x="920" y="69"/>
                  </a:lnTo>
                  <a:lnTo>
                    <a:pt x="955" y="16"/>
                  </a:lnTo>
                  <a:close/>
                  <a:moveTo>
                    <a:pt x="995" y="75"/>
                  </a:moveTo>
                  <a:lnTo>
                    <a:pt x="997" y="84"/>
                  </a:lnTo>
                  <a:lnTo>
                    <a:pt x="998" y="92"/>
                  </a:lnTo>
                  <a:lnTo>
                    <a:pt x="998" y="102"/>
                  </a:lnTo>
                  <a:lnTo>
                    <a:pt x="997" y="111"/>
                  </a:lnTo>
                  <a:lnTo>
                    <a:pt x="994" y="120"/>
                  </a:lnTo>
                  <a:lnTo>
                    <a:pt x="991" y="129"/>
                  </a:lnTo>
                  <a:lnTo>
                    <a:pt x="987" y="137"/>
                  </a:lnTo>
                  <a:lnTo>
                    <a:pt x="982" y="146"/>
                  </a:lnTo>
                  <a:lnTo>
                    <a:pt x="929" y="111"/>
                  </a:lnTo>
                  <a:lnTo>
                    <a:pt x="932" y="105"/>
                  </a:lnTo>
                  <a:lnTo>
                    <a:pt x="933" y="100"/>
                  </a:lnTo>
                  <a:lnTo>
                    <a:pt x="934" y="94"/>
                  </a:lnTo>
                  <a:lnTo>
                    <a:pt x="933" y="88"/>
                  </a:lnTo>
                  <a:lnTo>
                    <a:pt x="995" y="75"/>
                  </a:lnTo>
                  <a:close/>
                  <a:moveTo>
                    <a:pt x="955" y="129"/>
                  </a:moveTo>
                  <a:lnTo>
                    <a:pt x="982" y="146"/>
                  </a:lnTo>
                  <a:lnTo>
                    <a:pt x="979" y="150"/>
                  </a:lnTo>
                  <a:lnTo>
                    <a:pt x="974" y="155"/>
                  </a:lnTo>
                  <a:lnTo>
                    <a:pt x="968" y="157"/>
                  </a:lnTo>
                  <a:lnTo>
                    <a:pt x="962" y="160"/>
                  </a:lnTo>
                  <a:lnTo>
                    <a:pt x="956" y="161"/>
                  </a:lnTo>
                  <a:lnTo>
                    <a:pt x="951" y="160"/>
                  </a:lnTo>
                  <a:lnTo>
                    <a:pt x="945" y="159"/>
                  </a:lnTo>
                  <a:lnTo>
                    <a:pt x="939" y="155"/>
                  </a:lnTo>
                  <a:lnTo>
                    <a:pt x="934" y="152"/>
                  </a:lnTo>
                  <a:lnTo>
                    <a:pt x="929" y="147"/>
                  </a:lnTo>
                  <a:lnTo>
                    <a:pt x="927" y="141"/>
                  </a:lnTo>
                  <a:lnTo>
                    <a:pt x="925" y="135"/>
                  </a:lnTo>
                  <a:lnTo>
                    <a:pt x="923" y="129"/>
                  </a:lnTo>
                  <a:lnTo>
                    <a:pt x="925" y="123"/>
                  </a:lnTo>
                  <a:lnTo>
                    <a:pt x="926" y="117"/>
                  </a:lnTo>
                  <a:lnTo>
                    <a:pt x="929" y="111"/>
                  </a:lnTo>
                  <a:lnTo>
                    <a:pt x="955" y="129"/>
                  </a:lnTo>
                  <a:close/>
                  <a:moveTo>
                    <a:pt x="982" y="146"/>
                  </a:moveTo>
                  <a:lnTo>
                    <a:pt x="982" y="146"/>
                  </a:lnTo>
                  <a:lnTo>
                    <a:pt x="928" y="113"/>
                  </a:lnTo>
                  <a:lnTo>
                    <a:pt x="929" y="111"/>
                  </a:lnTo>
                  <a:lnTo>
                    <a:pt x="982" y="146"/>
                  </a:lnTo>
                  <a:close/>
                  <a:moveTo>
                    <a:pt x="955" y="129"/>
                  </a:moveTo>
                  <a:lnTo>
                    <a:pt x="982" y="146"/>
                  </a:lnTo>
                  <a:lnTo>
                    <a:pt x="978" y="152"/>
                  </a:lnTo>
                  <a:lnTo>
                    <a:pt x="973" y="155"/>
                  </a:lnTo>
                  <a:lnTo>
                    <a:pt x="968" y="159"/>
                  </a:lnTo>
                  <a:lnTo>
                    <a:pt x="962" y="160"/>
                  </a:lnTo>
                  <a:lnTo>
                    <a:pt x="956" y="161"/>
                  </a:lnTo>
                  <a:lnTo>
                    <a:pt x="951" y="161"/>
                  </a:lnTo>
                  <a:lnTo>
                    <a:pt x="945" y="159"/>
                  </a:lnTo>
                  <a:lnTo>
                    <a:pt x="939" y="156"/>
                  </a:lnTo>
                  <a:lnTo>
                    <a:pt x="933" y="152"/>
                  </a:lnTo>
                  <a:lnTo>
                    <a:pt x="929" y="147"/>
                  </a:lnTo>
                  <a:lnTo>
                    <a:pt x="926" y="142"/>
                  </a:lnTo>
                  <a:lnTo>
                    <a:pt x="925" y="136"/>
                  </a:lnTo>
                  <a:lnTo>
                    <a:pt x="923" y="130"/>
                  </a:lnTo>
                  <a:lnTo>
                    <a:pt x="925" y="124"/>
                  </a:lnTo>
                  <a:lnTo>
                    <a:pt x="926" y="117"/>
                  </a:lnTo>
                  <a:lnTo>
                    <a:pt x="928" y="113"/>
                  </a:lnTo>
                  <a:lnTo>
                    <a:pt x="955" y="129"/>
                  </a:lnTo>
                  <a:close/>
                  <a:moveTo>
                    <a:pt x="982" y="147"/>
                  </a:moveTo>
                  <a:lnTo>
                    <a:pt x="968" y="167"/>
                  </a:lnTo>
                  <a:lnTo>
                    <a:pt x="915" y="131"/>
                  </a:lnTo>
                  <a:lnTo>
                    <a:pt x="929" y="111"/>
                  </a:lnTo>
                  <a:lnTo>
                    <a:pt x="982" y="147"/>
                  </a:lnTo>
                  <a:close/>
                  <a:moveTo>
                    <a:pt x="942" y="149"/>
                  </a:moveTo>
                  <a:lnTo>
                    <a:pt x="968" y="167"/>
                  </a:lnTo>
                  <a:lnTo>
                    <a:pt x="965" y="172"/>
                  </a:lnTo>
                  <a:lnTo>
                    <a:pt x="960" y="176"/>
                  </a:lnTo>
                  <a:lnTo>
                    <a:pt x="954" y="179"/>
                  </a:lnTo>
                  <a:lnTo>
                    <a:pt x="948" y="181"/>
                  </a:lnTo>
                  <a:lnTo>
                    <a:pt x="942" y="181"/>
                  </a:lnTo>
                  <a:lnTo>
                    <a:pt x="936" y="181"/>
                  </a:lnTo>
                  <a:lnTo>
                    <a:pt x="930" y="179"/>
                  </a:lnTo>
                  <a:lnTo>
                    <a:pt x="925" y="176"/>
                  </a:lnTo>
                  <a:lnTo>
                    <a:pt x="920" y="172"/>
                  </a:lnTo>
                  <a:lnTo>
                    <a:pt x="915" y="167"/>
                  </a:lnTo>
                  <a:lnTo>
                    <a:pt x="913" y="162"/>
                  </a:lnTo>
                  <a:lnTo>
                    <a:pt x="910" y="156"/>
                  </a:lnTo>
                  <a:lnTo>
                    <a:pt x="910" y="150"/>
                  </a:lnTo>
                  <a:lnTo>
                    <a:pt x="910" y="143"/>
                  </a:lnTo>
                  <a:lnTo>
                    <a:pt x="913" y="137"/>
                  </a:lnTo>
                  <a:lnTo>
                    <a:pt x="915" y="131"/>
                  </a:lnTo>
                  <a:lnTo>
                    <a:pt x="942" y="149"/>
                  </a:lnTo>
                  <a:close/>
                  <a:moveTo>
                    <a:pt x="969" y="166"/>
                  </a:moveTo>
                  <a:lnTo>
                    <a:pt x="966" y="170"/>
                  </a:lnTo>
                  <a:lnTo>
                    <a:pt x="962" y="175"/>
                  </a:lnTo>
                  <a:lnTo>
                    <a:pt x="913" y="136"/>
                  </a:lnTo>
                  <a:lnTo>
                    <a:pt x="914" y="135"/>
                  </a:lnTo>
                  <a:lnTo>
                    <a:pt x="915" y="133"/>
                  </a:lnTo>
                  <a:lnTo>
                    <a:pt x="969" y="166"/>
                  </a:lnTo>
                  <a:close/>
                  <a:moveTo>
                    <a:pt x="938" y="155"/>
                  </a:moveTo>
                  <a:lnTo>
                    <a:pt x="962" y="175"/>
                  </a:lnTo>
                  <a:lnTo>
                    <a:pt x="958" y="180"/>
                  </a:lnTo>
                  <a:lnTo>
                    <a:pt x="953" y="183"/>
                  </a:lnTo>
                  <a:lnTo>
                    <a:pt x="947" y="186"/>
                  </a:lnTo>
                  <a:lnTo>
                    <a:pt x="941" y="187"/>
                  </a:lnTo>
                  <a:lnTo>
                    <a:pt x="935" y="187"/>
                  </a:lnTo>
                  <a:lnTo>
                    <a:pt x="929" y="186"/>
                  </a:lnTo>
                  <a:lnTo>
                    <a:pt x="923" y="185"/>
                  </a:lnTo>
                  <a:lnTo>
                    <a:pt x="917" y="181"/>
                  </a:lnTo>
                  <a:lnTo>
                    <a:pt x="913" y="176"/>
                  </a:lnTo>
                  <a:lnTo>
                    <a:pt x="909" y="170"/>
                  </a:lnTo>
                  <a:lnTo>
                    <a:pt x="907" y="166"/>
                  </a:lnTo>
                  <a:lnTo>
                    <a:pt x="906" y="160"/>
                  </a:lnTo>
                  <a:lnTo>
                    <a:pt x="906" y="153"/>
                  </a:lnTo>
                  <a:lnTo>
                    <a:pt x="907" y="147"/>
                  </a:lnTo>
                  <a:lnTo>
                    <a:pt x="909" y="141"/>
                  </a:lnTo>
                  <a:lnTo>
                    <a:pt x="913" y="136"/>
                  </a:lnTo>
                  <a:lnTo>
                    <a:pt x="938" y="155"/>
                  </a:lnTo>
                  <a:close/>
                  <a:moveTo>
                    <a:pt x="962" y="175"/>
                  </a:moveTo>
                  <a:lnTo>
                    <a:pt x="959" y="180"/>
                  </a:lnTo>
                  <a:lnTo>
                    <a:pt x="955" y="183"/>
                  </a:lnTo>
                  <a:lnTo>
                    <a:pt x="910" y="139"/>
                  </a:lnTo>
                  <a:lnTo>
                    <a:pt x="911" y="137"/>
                  </a:lnTo>
                  <a:lnTo>
                    <a:pt x="913" y="136"/>
                  </a:lnTo>
                  <a:lnTo>
                    <a:pt x="962" y="175"/>
                  </a:lnTo>
                  <a:close/>
                  <a:moveTo>
                    <a:pt x="933" y="161"/>
                  </a:moveTo>
                  <a:lnTo>
                    <a:pt x="955" y="183"/>
                  </a:lnTo>
                  <a:lnTo>
                    <a:pt x="951" y="188"/>
                  </a:lnTo>
                  <a:lnTo>
                    <a:pt x="945" y="191"/>
                  </a:lnTo>
                  <a:lnTo>
                    <a:pt x="939" y="193"/>
                  </a:lnTo>
                  <a:lnTo>
                    <a:pt x="933" y="193"/>
                  </a:lnTo>
                  <a:lnTo>
                    <a:pt x="927" y="193"/>
                  </a:lnTo>
                  <a:lnTo>
                    <a:pt x="921" y="191"/>
                  </a:lnTo>
                  <a:lnTo>
                    <a:pt x="915" y="188"/>
                  </a:lnTo>
                  <a:lnTo>
                    <a:pt x="910" y="183"/>
                  </a:lnTo>
                  <a:lnTo>
                    <a:pt x="906" y="179"/>
                  </a:lnTo>
                  <a:lnTo>
                    <a:pt x="903" y="173"/>
                  </a:lnTo>
                  <a:lnTo>
                    <a:pt x="901" y="167"/>
                  </a:lnTo>
                  <a:lnTo>
                    <a:pt x="901" y="161"/>
                  </a:lnTo>
                  <a:lnTo>
                    <a:pt x="901" y="155"/>
                  </a:lnTo>
                  <a:lnTo>
                    <a:pt x="903" y="149"/>
                  </a:lnTo>
                  <a:lnTo>
                    <a:pt x="906" y="143"/>
                  </a:lnTo>
                  <a:lnTo>
                    <a:pt x="910" y="139"/>
                  </a:lnTo>
                  <a:lnTo>
                    <a:pt x="933" y="161"/>
                  </a:lnTo>
                  <a:close/>
                  <a:moveTo>
                    <a:pt x="955" y="183"/>
                  </a:moveTo>
                  <a:lnTo>
                    <a:pt x="947" y="193"/>
                  </a:lnTo>
                  <a:lnTo>
                    <a:pt x="939" y="204"/>
                  </a:lnTo>
                  <a:lnTo>
                    <a:pt x="930" y="215"/>
                  </a:lnTo>
                  <a:lnTo>
                    <a:pt x="921" y="231"/>
                  </a:lnTo>
                  <a:lnTo>
                    <a:pt x="900" y="265"/>
                  </a:lnTo>
                  <a:lnTo>
                    <a:pt x="877" y="305"/>
                  </a:lnTo>
                  <a:lnTo>
                    <a:pt x="822" y="276"/>
                  </a:lnTo>
                  <a:lnTo>
                    <a:pt x="845" y="231"/>
                  </a:lnTo>
                  <a:lnTo>
                    <a:pt x="869" y="192"/>
                  </a:lnTo>
                  <a:lnTo>
                    <a:pt x="880" y="176"/>
                  </a:lnTo>
                  <a:lnTo>
                    <a:pt x="890" y="161"/>
                  </a:lnTo>
                  <a:lnTo>
                    <a:pt x="901" y="149"/>
                  </a:lnTo>
                  <a:lnTo>
                    <a:pt x="910" y="139"/>
                  </a:lnTo>
                  <a:lnTo>
                    <a:pt x="955" y="183"/>
                  </a:lnTo>
                  <a:close/>
                  <a:moveTo>
                    <a:pt x="877" y="305"/>
                  </a:moveTo>
                  <a:lnTo>
                    <a:pt x="864" y="330"/>
                  </a:lnTo>
                  <a:lnTo>
                    <a:pt x="851" y="357"/>
                  </a:lnTo>
                  <a:lnTo>
                    <a:pt x="838" y="385"/>
                  </a:lnTo>
                  <a:lnTo>
                    <a:pt x="824" y="414"/>
                  </a:lnTo>
                  <a:lnTo>
                    <a:pt x="811" y="444"/>
                  </a:lnTo>
                  <a:lnTo>
                    <a:pt x="797" y="476"/>
                  </a:lnTo>
                  <a:lnTo>
                    <a:pt x="783" y="508"/>
                  </a:lnTo>
                  <a:lnTo>
                    <a:pt x="768" y="539"/>
                  </a:lnTo>
                  <a:lnTo>
                    <a:pt x="711" y="516"/>
                  </a:lnTo>
                  <a:lnTo>
                    <a:pt x="724" y="483"/>
                  </a:lnTo>
                  <a:lnTo>
                    <a:pt x="738" y="450"/>
                  </a:lnTo>
                  <a:lnTo>
                    <a:pt x="752" y="418"/>
                  </a:lnTo>
                  <a:lnTo>
                    <a:pt x="766" y="387"/>
                  </a:lnTo>
                  <a:lnTo>
                    <a:pt x="780" y="357"/>
                  </a:lnTo>
                  <a:lnTo>
                    <a:pt x="794" y="329"/>
                  </a:lnTo>
                  <a:lnTo>
                    <a:pt x="807" y="302"/>
                  </a:lnTo>
                  <a:lnTo>
                    <a:pt x="822" y="276"/>
                  </a:lnTo>
                  <a:lnTo>
                    <a:pt x="877" y="305"/>
                  </a:lnTo>
                  <a:close/>
                  <a:moveTo>
                    <a:pt x="739" y="528"/>
                  </a:moveTo>
                  <a:lnTo>
                    <a:pt x="768" y="539"/>
                  </a:lnTo>
                  <a:lnTo>
                    <a:pt x="766" y="545"/>
                  </a:lnTo>
                  <a:lnTo>
                    <a:pt x="761" y="550"/>
                  </a:lnTo>
                  <a:lnTo>
                    <a:pt x="757" y="555"/>
                  </a:lnTo>
                  <a:lnTo>
                    <a:pt x="752" y="557"/>
                  </a:lnTo>
                  <a:lnTo>
                    <a:pt x="746" y="560"/>
                  </a:lnTo>
                  <a:lnTo>
                    <a:pt x="740" y="560"/>
                  </a:lnTo>
                  <a:lnTo>
                    <a:pt x="733" y="560"/>
                  </a:lnTo>
                  <a:lnTo>
                    <a:pt x="727" y="557"/>
                  </a:lnTo>
                  <a:lnTo>
                    <a:pt x="721" y="554"/>
                  </a:lnTo>
                  <a:lnTo>
                    <a:pt x="716" y="550"/>
                  </a:lnTo>
                  <a:lnTo>
                    <a:pt x="713" y="545"/>
                  </a:lnTo>
                  <a:lnTo>
                    <a:pt x="711" y="539"/>
                  </a:lnTo>
                  <a:lnTo>
                    <a:pt x="708" y="534"/>
                  </a:lnTo>
                  <a:lnTo>
                    <a:pt x="707" y="528"/>
                  </a:lnTo>
                  <a:lnTo>
                    <a:pt x="708" y="522"/>
                  </a:lnTo>
                  <a:lnTo>
                    <a:pt x="711" y="516"/>
                  </a:lnTo>
                  <a:lnTo>
                    <a:pt x="739" y="528"/>
                  </a:lnTo>
                  <a:close/>
                  <a:moveTo>
                    <a:pt x="744" y="496"/>
                  </a:moveTo>
                  <a:lnTo>
                    <a:pt x="777" y="500"/>
                  </a:lnTo>
                  <a:lnTo>
                    <a:pt x="810" y="506"/>
                  </a:lnTo>
                  <a:lnTo>
                    <a:pt x="841" y="511"/>
                  </a:lnTo>
                  <a:lnTo>
                    <a:pt x="872" y="516"/>
                  </a:lnTo>
                  <a:lnTo>
                    <a:pt x="902" y="522"/>
                  </a:lnTo>
                  <a:lnTo>
                    <a:pt x="932" y="528"/>
                  </a:lnTo>
                  <a:lnTo>
                    <a:pt x="960" y="532"/>
                  </a:lnTo>
                  <a:lnTo>
                    <a:pt x="987" y="538"/>
                  </a:lnTo>
                  <a:lnTo>
                    <a:pt x="974" y="601"/>
                  </a:lnTo>
                  <a:lnTo>
                    <a:pt x="947" y="595"/>
                  </a:lnTo>
                  <a:lnTo>
                    <a:pt x="920" y="590"/>
                  </a:lnTo>
                  <a:lnTo>
                    <a:pt x="891" y="584"/>
                  </a:lnTo>
                  <a:lnTo>
                    <a:pt x="861" y="580"/>
                  </a:lnTo>
                  <a:lnTo>
                    <a:pt x="831" y="574"/>
                  </a:lnTo>
                  <a:lnTo>
                    <a:pt x="799" y="569"/>
                  </a:lnTo>
                  <a:lnTo>
                    <a:pt x="767" y="564"/>
                  </a:lnTo>
                  <a:lnTo>
                    <a:pt x="735" y="560"/>
                  </a:lnTo>
                  <a:lnTo>
                    <a:pt x="744" y="496"/>
                  </a:lnTo>
                  <a:close/>
                  <a:moveTo>
                    <a:pt x="987" y="538"/>
                  </a:moveTo>
                  <a:lnTo>
                    <a:pt x="1037" y="549"/>
                  </a:lnTo>
                  <a:lnTo>
                    <a:pt x="1081" y="561"/>
                  </a:lnTo>
                  <a:lnTo>
                    <a:pt x="1118" y="571"/>
                  </a:lnTo>
                  <a:lnTo>
                    <a:pt x="1149" y="583"/>
                  </a:lnTo>
                  <a:lnTo>
                    <a:pt x="1124" y="642"/>
                  </a:lnTo>
                  <a:lnTo>
                    <a:pt x="1097" y="632"/>
                  </a:lnTo>
                  <a:lnTo>
                    <a:pt x="1062" y="622"/>
                  </a:lnTo>
                  <a:lnTo>
                    <a:pt x="1020" y="612"/>
                  </a:lnTo>
                  <a:lnTo>
                    <a:pt x="974" y="601"/>
                  </a:lnTo>
                  <a:lnTo>
                    <a:pt x="987" y="538"/>
                  </a:lnTo>
                  <a:close/>
                  <a:moveTo>
                    <a:pt x="1149" y="583"/>
                  </a:moveTo>
                  <a:lnTo>
                    <a:pt x="1154" y="584"/>
                  </a:lnTo>
                  <a:lnTo>
                    <a:pt x="1163" y="587"/>
                  </a:lnTo>
                  <a:lnTo>
                    <a:pt x="1149" y="648"/>
                  </a:lnTo>
                  <a:lnTo>
                    <a:pt x="1135" y="646"/>
                  </a:lnTo>
                  <a:lnTo>
                    <a:pt x="1124" y="642"/>
                  </a:lnTo>
                  <a:lnTo>
                    <a:pt x="1149" y="583"/>
                  </a:lnTo>
                  <a:close/>
                  <a:moveTo>
                    <a:pt x="1156" y="617"/>
                  </a:moveTo>
                  <a:lnTo>
                    <a:pt x="1163" y="587"/>
                  </a:lnTo>
                  <a:lnTo>
                    <a:pt x="1169" y="588"/>
                  </a:lnTo>
                  <a:lnTo>
                    <a:pt x="1174" y="591"/>
                  </a:lnTo>
                  <a:lnTo>
                    <a:pt x="1179" y="595"/>
                  </a:lnTo>
                  <a:lnTo>
                    <a:pt x="1183" y="600"/>
                  </a:lnTo>
                  <a:lnTo>
                    <a:pt x="1186" y="606"/>
                  </a:lnTo>
                  <a:lnTo>
                    <a:pt x="1187" y="612"/>
                  </a:lnTo>
                  <a:lnTo>
                    <a:pt x="1188" y="617"/>
                  </a:lnTo>
                  <a:lnTo>
                    <a:pt x="1187" y="625"/>
                  </a:lnTo>
                  <a:lnTo>
                    <a:pt x="1186" y="630"/>
                  </a:lnTo>
                  <a:lnTo>
                    <a:pt x="1182" y="636"/>
                  </a:lnTo>
                  <a:lnTo>
                    <a:pt x="1179" y="641"/>
                  </a:lnTo>
                  <a:lnTo>
                    <a:pt x="1173" y="645"/>
                  </a:lnTo>
                  <a:lnTo>
                    <a:pt x="1168" y="647"/>
                  </a:lnTo>
                  <a:lnTo>
                    <a:pt x="1162" y="649"/>
                  </a:lnTo>
                  <a:lnTo>
                    <a:pt x="1156" y="649"/>
                  </a:lnTo>
                  <a:lnTo>
                    <a:pt x="1149" y="648"/>
                  </a:lnTo>
                  <a:lnTo>
                    <a:pt x="1156" y="617"/>
                  </a:lnTo>
                  <a:close/>
                  <a:moveTo>
                    <a:pt x="1162" y="587"/>
                  </a:moveTo>
                  <a:lnTo>
                    <a:pt x="1179" y="589"/>
                  </a:lnTo>
                  <a:lnTo>
                    <a:pt x="1196" y="593"/>
                  </a:lnTo>
                  <a:lnTo>
                    <a:pt x="1186" y="655"/>
                  </a:lnTo>
                  <a:lnTo>
                    <a:pt x="1176" y="654"/>
                  </a:lnTo>
                  <a:lnTo>
                    <a:pt x="1167" y="652"/>
                  </a:lnTo>
                  <a:lnTo>
                    <a:pt x="1157" y="651"/>
                  </a:lnTo>
                  <a:lnTo>
                    <a:pt x="1149" y="648"/>
                  </a:lnTo>
                  <a:lnTo>
                    <a:pt x="1162" y="587"/>
                  </a:lnTo>
                  <a:close/>
                  <a:moveTo>
                    <a:pt x="1192" y="625"/>
                  </a:moveTo>
                  <a:lnTo>
                    <a:pt x="1196" y="593"/>
                  </a:lnTo>
                  <a:lnTo>
                    <a:pt x="1202" y="595"/>
                  </a:lnTo>
                  <a:lnTo>
                    <a:pt x="1208" y="597"/>
                  </a:lnTo>
                  <a:lnTo>
                    <a:pt x="1213" y="601"/>
                  </a:lnTo>
                  <a:lnTo>
                    <a:pt x="1218" y="606"/>
                  </a:lnTo>
                  <a:lnTo>
                    <a:pt x="1220" y="612"/>
                  </a:lnTo>
                  <a:lnTo>
                    <a:pt x="1222" y="617"/>
                  </a:lnTo>
                  <a:lnTo>
                    <a:pt x="1224" y="623"/>
                  </a:lnTo>
                  <a:lnTo>
                    <a:pt x="1222" y="629"/>
                  </a:lnTo>
                  <a:lnTo>
                    <a:pt x="1221" y="635"/>
                  </a:lnTo>
                  <a:lnTo>
                    <a:pt x="1218" y="641"/>
                  </a:lnTo>
                  <a:lnTo>
                    <a:pt x="1214" y="646"/>
                  </a:lnTo>
                  <a:lnTo>
                    <a:pt x="1209" y="651"/>
                  </a:lnTo>
                  <a:lnTo>
                    <a:pt x="1205" y="653"/>
                  </a:lnTo>
                  <a:lnTo>
                    <a:pt x="1199" y="655"/>
                  </a:lnTo>
                  <a:lnTo>
                    <a:pt x="1193" y="657"/>
                  </a:lnTo>
                  <a:lnTo>
                    <a:pt x="1186" y="655"/>
                  </a:lnTo>
                  <a:lnTo>
                    <a:pt x="1192" y="625"/>
                  </a:lnTo>
                  <a:close/>
                  <a:moveTo>
                    <a:pt x="1196" y="593"/>
                  </a:moveTo>
                  <a:lnTo>
                    <a:pt x="1207" y="594"/>
                  </a:lnTo>
                  <a:lnTo>
                    <a:pt x="1217" y="596"/>
                  </a:lnTo>
                  <a:lnTo>
                    <a:pt x="1227" y="597"/>
                  </a:lnTo>
                  <a:lnTo>
                    <a:pt x="1237" y="599"/>
                  </a:lnTo>
                  <a:lnTo>
                    <a:pt x="1230" y="662"/>
                  </a:lnTo>
                  <a:lnTo>
                    <a:pt x="1220" y="661"/>
                  </a:lnTo>
                  <a:lnTo>
                    <a:pt x="1209" y="659"/>
                  </a:lnTo>
                  <a:lnTo>
                    <a:pt x="1198" y="658"/>
                  </a:lnTo>
                  <a:lnTo>
                    <a:pt x="1186" y="655"/>
                  </a:lnTo>
                  <a:lnTo>
                    <a:pt x="1196" y="593"/>
                  </a:lnTo>
                  <a:close/>
                  <a:moveTo>
                    <a:pt x="1237" y="599"/>
                  </a:moveTo>
                  <a:lnTo>
                    <a:pt x="1251" y="600"/>
                  </a:lnTo>
                  <a:lnTo>
                    <a:pt x="1260" y="601"/>
                  </a:lnTo>
                  <a:lnTo>
                    <a:pt x="1260" y="665"/>
                  </a:lnTo>
                  <a:lnTo>
                    <a:pt x="1247" y="664"/>
                  </a:lnTo>
                  <a:lnTo>
                    <a:pt x="1230" y="662"/>
                  </a:lnTo>
                  <a:lnTo>
                    <a:pt x="1237" y="599"/>
                  </a:lnTo>
                  <a:close/>
                  <a:moveTo>
                    <a:pt x="1260" y="601"/>
                  </a:moveTo>
                  <a:lnTo>
                    <a:pt x="1270" y="601"/>
                  </a:lnTo>
                  <a:lnTo>
                    <a:pt x="1279" y="603"/>
                  </a:lnTo>
                  <a:lnTo>
                    <a:pt x="1289" y="606"/>
                  </a:lnTo>
                  <a:lnTo>
                    <a:pt x="1297" y="608"/>
                  </a:lnTo>
                  <a:lnTo>
                    <a:pt x="1305" y="613"/>
                  </a:lnTo>
                  <a:lnTo>
                    <a:pt x="1313" y="617"/>
                  </a:lnTo>
                  <a:lnTo>
                    <a:pt x="1321" y="622"/>
                  </a:lnTo>
                  <a:lnTo>
                    <a:pt x="1328" y="629"/>
                  </a:lnTo>
                  <a:lnTo>
                    <a:pt x="1283" y="674"/>
                  </a:lnTo>
                  <a:lnTo>
                    <a:pt x="1278" y="671"/>
                  </a:lnTo>
                  <a:lnTo>
                    <a:pt x="1273" y="667"/>
                  </a:lnTo>
                  <a:lnTo>
                    <a:pt x="1266" y="666"/>
                  </a:lnTo>
                  <a:lnTo>
                    <a:pt x="1260" y="665"/>
                  </a:lnTo>
                  <a:lnTo>
                    <a:pt x="1260" y="601"/>
                  </a:lnTo>
                  <a:close/>
                  <a:moveTo>
                    <a:pt x="1328" y="629"/>
                  </a:moveTo>
                  <a:lnTo>
                    <a:pt x="1334" y="635"/>
                  </a:lnTo>
                  <a:lnTo>
                    <a:pt x="1339" y="642"/>
                  </a:lnTo>
                  <a:lnTo>
                    <a:pt x="1344" y="651"/>
                  </a:lnTo>
                  <a:lnTo>
                    <a:pt x="1349" y="659"/>
                  </a:lnTo>
                  <a:lnTo>
                    <a:pt x="1351" y="668"/>
                  </a:lnTo>
                  <a:lnTo>
                    <a:pt x="1354" y="677"/>
                  </a:lnTo>
                  <a:lnTo>
                    <a:pt x="1356" y="686"/>
                  </a:lnTo>
                  <a:lnTo>
                    <a:pt x="1356" y="697"/>
                  </a:lnTo>
                  <a:lnTo>
                    <a:pt x="1292" y="697"/>
                  </a:lnTo>
                  <a:lnTo>
                    <a:pt x="1291" y="690"/>
                  </a:lnTo>
                  <a:lnTo>
                    <a:pt x="1290" y="684"/>
                  </a:lnTo>
                  <a:lnTo>
                    <a:pt x="1286" y="679"/>
                  </a:lnTo>
                  <a:lnTo>
                    <a:pt x="1283" y="674"/>
                  </a:lnTo>
                  <a:lnTo>
                    <a:pt x="1328" y="629"/>
                  </a:lnTo>
                  <a:close/>
                  <a:moveTo>
                    <a:pt x="1356" y="697"/>
                  </a:moveTo>
                  <a:lnTo>
                    <a:pt x="1356" y="706"/>
                  </a:lnTo>
                  <a:lnTo>
                    <a:pt x="1354" y="716"/>
                  </a:lnTo>
                  <a:lnTo>
                    <a:pt x="1351" y="724"/>
                  </a:lnTo>
                  <a:lnTo>
                    <a:pt x="1349" y="733"/>
                  </a:lnTo>
                  <a:lnTo>
                    <a:pt x="1344" y="742"/>
                  </a:lnTo>
                  <a:lnTo>
                    <a:pt x="1339" y="750"/>
                  </a:lnTo>
                  <a:lnTo>
                    <a:pt x="1334" y="757"/>
                  </a:lnTo>
                  <a:lnTo>
                    <a:pt x="1328" y="764"/>
                  </a:lnTo>
                  <a:lnTo>
                    <a:pt x="1283" y="718"/>
                  </a:lnTo>
                  <a:lnTo>
                    <a:pt x="1286" y="713"/>
                  </a:lnTo>
                  <a:lnTo>
                    <a:pt x="1290" y="709"/>
                  </a:lnTo>
                  <a:lnTo>
                    <a:pt x="1291" y="703"/>
                  </a:lnTo>
                  <a:lnTo>
                    <a:pt x="1292" y="697"/>
                  </a:lnTo>
                  <a:lnTo>
                    <a:pt x="1356" y="697"/>
                  </a:lnTo>
                  <a:close/>
                  <a:moveTo>
                    <a:pt x="1328" y="764"/>
                  </a:moveTo>
                  <a:lnTo>
                    <a:pt x="1321" y="770"/>
                  </a:lnTo>
                  <a:lnTo>
                    <a:pt x="1313" y="775"/>
                  </a:lnTo>
                  <a:lnTo>
                    <a:pt x="1305" y="779"/>
                  </a:lnTo>
                  <a:lnTo>
                    <a:pt x="1297" y="784"/>
                  </a:lnTo>
                  <a:lnTo>
                    <a:pt x="1289" y="788"/>
                  </a:lnTo>
                  <a:lnTo>
                    <a:pt x="1279" y="789"/>
                  </a:lnTo>
                  <a:lnTo>
                    <a:pt x="1270" y="791"/>
                  </a:lnTo>
                  <a:lnTo>
                    <a:pt x="1260" y="791"/>
                  </a:lnTo>
                  <a:lnTo>
                    <a:pt x="1260" y="727"/>
                  </a:lnTo>
                  <a:lnTo>
                    <a:pt x="1266" y="727"/>
                  </a:lnTo>
                  <a:lnTo>
                    <a:pt x="1273" y="725"/>
                  </a:lnTo>
                  <a:lnTo>
                    <a:pt x="1278" y="723"/>
                  </a:lnTo>
                  <a:lnTo>
                    <a:pt x="1283" y="718"/>
                  </a:lnTo>
                  <a:lnTo>
                    <a:pt x="1328" y="764"/>
                  </a:lnTo>
                  <a:close/>
                  <a:moveTo>
                    <a:pt x="1260" y="791"/>
                  </a:moveTo>
                  <a:lnTo>
                    <a:pt x="1252" y="791"/>
                  </a:lnTo>
                  <a:lnTo>
                    <a:pt x="1243" y="790"/>
                  </a:lnTo>
                  <a:lnTo>
                    <a:pt x="1232" y="790"/>
                  </a:lnTo>
                  <a:lnTo>
                    <a:pt x="1219" y="788"/>
                  </a:lnTo>
                  <a:lnTo>
                    <a:pt x="1226" y="725"/>
                  </a:lnTo>
                  <a:lnTo>
                    <a:pt x="1246" y="726"/>
                  </a:lnTo>
                  <a:lnTo>
                    <a:pt x="1260" y="727"/>
                  </a:lnTo>
                  <a:lnTo>
                    <a:pt x="1260" y="791"/>
                  </a:lnTo>
                  <a:close/>
                  <a:moveTo>
                    <a:pt x="1219" y="788"/>
                  </a:moveTo>
                  <a:lnTo>
                    <a:pt x="1206" y="787"/>
                  </a:lnTo>
                  <a:lnTo>
                    <a:pt x="1193" y="784"/>
                  </a:lnTo>
                  <a:lnTo>
                    <a:pt x="1179" y="783"/>
                  </a:lnTo>
                  <a:lnTo>
                    <a:pt x="1164" y="781"/>
                  </a:lnTo>
                  <a:lnTo>
                    <a:pt x="1175" y="717"/>
                  </a:lnTo>
                  <a:lnTo>
                    <a:pt x="1188" y="719"/>
                  </a:lnTo>
                  <a:lnTo>
                    <a:pt x="1201" y="722"/>
                  </a:lnTo>
                  <a:lnTo>
                    <a:pt x="1214" y="723"/>
                  </a:lnTo>
                  <a:lnTo>
                    <a:pt x="1226" y="725"/>
                  </a:lnTo>
                  <a:lnTo>
                    <a:pt x="1219" y="788"/>
                  </a:lnTo>
                  <a:close/>
                  <a:moveTo>
                    <a:pt x="1164" y="781"/>
                  </a:moveTo>
                  <a:lnTo>
                    <a:pt x="1151" y="778"/>
                  </a:lnTo>
                  <a:lnTo>
                    <a:pt x="1137" y="776"/>
                  </a:lnTo>
                  <a:lnTo>
                    <a:pt x="1125" y="772"/>
                  </a:lnTo>
                  <a:lnTo>
                    <a:pt x="1114" y="770"/>
                  </a:lnTo>
                  <a:lnTo>
                    <a:pt x="1128" y="709"/>
                  </a:lnTo>
                  <a:lnTo>
                    <a:pt x="1140" y="711"/>
                  </a:lnTo>
                  <a:lnTo>
                    <a:pt x="1151" y="713"/>
                  </a:lnTo>
                  <a:lnTo>
                    <a:pt x="1163" y="716"/>
                  </a:lnTo>
                  <a:lnTo>
                    <a:pt x="1175" y="717"/>
                  </a:lnTo>
                  <a:lnTo>
                    <a:pt x="1164" y="781"/>
                  </a:lnTo>
                  <a:close/>
                  <a:moveTo>
                    <a:pt x="1121" y="739"/>
                  </a:moveTo>
                  <a:lnTo>
                    <a:pt x="1114" y="770"/>
                  </a:lnTo>
                  <a:lnTo>
                    <a:pt x="1108" y="768"/>
                  </a:lnTo>
                  <a:lnTo>
                    <a:pt x="1102" y="765"/>
                  </a:lnTo>
                  <a:lnTo>
                    <a:pt x="1097" y="761"/>
                  </a:lnTo>
                  <a:lnTo>
                    <a:pt x="1094" y="756"/>
                  </a:lnTo>
                  <a:lnTo>
                    <a:pt x="1091" y="750"/>
                  </a:lnTo>
                  <a:lnTo>
                    <a:pt x="1089" y="744"/>
                  </a:lnTo>
                  <a:lnTo>
                    <a:pt x="1089" y="738"/>
                  </a:lnTo>
                  <a:lnTo>
                    <a:pt x="1090" y="732"/>
                  </a:lnTo>
                  <a:lnTo>
                    <a:pt x="1092" y="726"/>
                  </a:lnTo>
                  <a:lnTo>
                    <a:pt x="1095" y="720"/>
                  </a:lnTo>
                  <a:lnTo>
                    <a:pt x="1099" y="716"/>
                  </a:lnTo>
                  <a:lnTo>
                    <a:pt x="1104" y="712"/>
                  </a:lnTo>
                  <a:lnTo>
                    <a:pt x="1109" y="710"/>
                  </a:lnTo>
                  <a:lnTo>
                    <a:pt x="1116" y="707"/>
                  </a:lnTo>
                  <a:lnTo>
                    <a:pt x="1122" y="707"/>
                  </a:lnTo>
                  <a:lnTo>
                    <a:pt x="1128" y="709"/>
                  </a:lnTo>
                  <a:lnTo>
                    <a:pt x="1121" y="739"/>
                  </a:lnTo>
                  <a:close/>
                  <a:moveTo>
                    <a:pt x="1114" y="770"/>
                  </a:moveTo>
                  <a:lnTo>
                    <a:pt x="1103" y="768"/>
                  </a:lnTo>
                  <a:lnTo>
                    <a:pt x="1094" y="765"/>
                  </a:lnTo>
                  <a:lnTo>
                    <a:pt x="1084" y="762"/>
                  </a:lnTo>
                  <a:lnTo>
                    <a:pt x="1077" y="759"/>
                  </a:lnTo>
                  <a:lnTo>
                    <a:pt x="1101" y="700"/>
                  </a:lnTo>
                  <a:lnTo>
                    <a:pt x="1112" y="704"/>
                  </a:lnTo>
                  <a:lnTo>
                    <a:pt x="1128" y="709"/>
                  </a:lnTo>
                  <a:lnTo>
                    <a:pt x="1114" y="770"/>
                  </a:lnTo>
                  <a:close/>
                  <a:moveTo>
                    <a:pt x="1089" y="730"/>
                  </a:moveTo>
                  <a:lnTo>
                    <a:pt x="1077" y="759"/>
                  </a:lnTo>
                  <a:lnTo>
                    <a:pt x="1071" y="756"/>
                  </a:lnTo>
                  <a:lnTo>
                    <a:pt x="1066" y="752"/>
                  </a:lnTo>
                  <a:lnTo>
                    <a:pt x="1063" y="748"/>
                  </a:lnTo>
                  <a:lnTo>
                    <a:pt x="1059" y="742"/>
                  </a:lnTo>
                  <a:lnTo>
                    <a:pt x="1058" y="736"/>
                  </a:lnTo>
                  <a:lnTo>
                    <a:pt x="1057" y="730"/>
                  </a:lnTo>
                  <a:lnTo>
                    <a:pt x="1057" y="724"/>
                  </a:lnTo>
                  <a:lnTo>
                    <a:pt x="1059" y="718"/>
                  </a:lnTo>
                  <a:lnTo>
                    <a:pt x="1062" y="712"/>
                  </a:lnTo>
                  <a:lnTo>
                    <a:pt x="1066" y="707"/>
                  </a:lnTo>
                  <a:lnTo>
                    <a:pt x="1071" y="703"/>
                  </a:lnTo>
                  <a:lnTo>
                    <a:pt x="1076" y="700"/>
                  </a:lnTo>
                  <a:lnTo>
                    <a:pt x="1082" y="698"/>
                  </a:lnTo>
                  <a:lnTo>
                    <a:pt x="1089" y="698"/>
                  </a:lnTo>
                  <a:lnTo>
                    <a:pt x="1095" y="698"/>
                  </a:lnTo>
                  <a:lnTo>
                    <a:pt x="1101" y="700"/>
                  </a:lnTo>
                  <a:lnTo>
                    <a:pt x="1089" y="730"/>
                  </a:lnTo>
                  <a:close/>
                  <a:moveTo>
                    <a:pt x="1077" y="759"/>
                  </a:moveTo>
                  <a:lnTo>
                    <a:pt x="1050" y="750"/>
                  </a:lnTo>
                  <a:lnTo>
                    <a:pt x="1016" y="739"/>
                  </a:lnTo>
                  <a:lnTo>
                    <a:pt x="974" y="730"/>
                  </a:lnTo>
                  <a:lnTo>
                    <a:pt x="928" y="719"/>
                  </a:lnTo>
                  <a:lnTo>
                    <a:pt x="941" y="658"/>
                  </a:lnTo>
                  <a:lnTo>
                    <a:pt x="990" y="668"/>
                  </a:lnTo>
                  <a:lnTo>
                    <a:pt x="1033" y="679"/>
                  </a:lnTo>
                  <a:lnTo>
                    <a:pt x="1071" y="690"/>
                  </a:lnTo>
                  <a:lnTo>
                    <a:pt x="1101" y="700"/>
                  </a:lnTo>
                  <a:lnTo>
                    <a:pt x="1077" y="759"/>
                  </a:lnTo>
                  <a:close/>
                  <a:moveTo>
                    <a:pt x="928" y="719"/>
                  </a:moveTo>
                  <a:lnTo>
                    <a:pt x="901" y="714"/>
                  </a:lnTo>
                  <a:lnTo>
                    <a:pt x="874" y="710"/>
                  </a:lnTo>
                  <a:lnTo>
                    <a:pt x="844" y="704"/>
                  </a:lnTo>
                  <a:lnTo>
                    <a:pt x="815" y="699"/>
                  </a:lnTo>
                  <a:lnTo>
                    <a:pt x="784" y="694"/>
                  </a:lnTo>
                  <a:lnTo>
                    <a:pt x="752" y="690"/>
                  </a:lnTo>
                  <a:lnTo>
                    <a:pt x="720" y="685"/>
                  </a:lnTo>
                  <a:lnTo>
                    <a:pt x="687" y="680"/>
                  </a:lnTo>
                  <a:lnTo>
                    <a:pt x="695" y="616"/>
                  </a:lnTo>
                  <a:lnTo>
                    <a:pt x="728" y="621"/>
                  </a:lnTo>
                  <a:lnTo>
                    <a:pt x="761" y="626"/>
                  </a:lnTo>
                  <a:lnTo>
                    <a:pt x="793" y="630"/>
                  </a:lnTo>
                  <a:lnTo>
                    <a:pt x="824" y="636"/>
                  </a:lnTo>
                  <a:lnTo>
                    <a:pt x="855" y="641"/>
                  </a:lnTo>
                  <a:lnTo>
                    <a:pt x="884" y="647"/>
                  </a:lnTo>
                  <a:lnTo>
                    <a:pt x="913" y="652"/>
                  </a:lnTo>
                  <a:lnTo>
                    <a:pt x="941" y="658"/>
                  </a:lnTo>
                  <a:lnTo>
                    <a:pt x="928" y="719"/>
                  </a:lnTo>
                  <a:close/>
                  <a:moveTo>
                    <a:pt x="692" y="648"/>
                  </a:moveTo>
                  <a:lnTo>
                    <a:pt x="687" y="680"/>
                  </a:lnTo>
                  <a:lnTo>
                    <a:pt x="681" y="679"/>
                  </a:lnTo>
                  <a:lnTo>
                    <a:pt x="675" y="675"/>
                  </a:lnTo>
                  <a:lnTo>
                    <a:pt x="670" y="672"/>
                  </a:lnTo>
                  <a:lnTo>
                    <a:pt x="666" y="668"/>
                  </a:lnTo>
                  <a:lnTo>
                    <a:pt x="663" y="662"/>
                  </a:lnTo>
                  <a:lnTo>
                    <a:pt x="661" y="657"/>
                  </a:lnTo>
                  <a:lnTo>
                    <a:pt x="660" y="651"/>
                  </a:lnTo>
                  <a:lnTo>
                    <a:pt x="660" y="645"/>
                  </a:lnTo>
                  <a:lnTo>
                    <a:pt x="661" y="638"/>
                  </a:lnTo>
                  <a:lnTo>
                    <a:pt x="663" y="633"/>
                  </a:lnTo>
                  <a:lnTo>
                    <a:pt x="667" y="627"/>
                  </a:lnTo>
                  <a:lnTo>
                    <a:pt x="672" y="623"/>
                  </a:lnTo>
                  <a:lnTo>
                    <a:pt x="677" y="620"/>
                  </a:lnTo>
                  <a:lnTo>
                    <a:pt x="682" y="617"/>
                  </a:lnTo>
                  <a:lnTo>
                    <a:pt x="689" y="616"/>
                  </a:lnTo>
                  <a:lnTo>
                    <a:pt x="695" y="616"/>
                  </a:lnTo>
                  <a:lnTo>
                    <a:pt x="692" y="648"/>
                  </a:lnTo>
                  <a:close/>
                  <a:moveTo>
                    <a:pt x="721" y="660"/>
                  </a:moveTo>
                  <a:lnTo>
                    <a:pt x="707" y="697"/>
                  </a:lnTo>
                  <a:lnTo>
                    <a:pt x="694" y="733"/>
                  </a:lnTo>
                  <a:lnTo>
                    <a:pt x="681" y="769"/>
                  </a:lnTo>
                  <a:lnTo>
                    <a:pt x="669" y="804"/>
                  </a:lnTo>
                  <a:lnTo>
                    <a:pt x="657" y="839"/>
                  </a:lnTo>
                  <a:lnTo>
                    <a:pt x="647" y="872"/>
                  </a:lnTo>
                  <a:lnTo>
                    <a:pt x="637" y="905"/>
                  </a:lnTo>
                  <a:lnTo>
                    <a:pt x="628" y="936"/>
                  </a:lnTo>
                  <a:lnTo>
                    <a:pt x="566" y="919"/>
                  </a:lnTo>
                  <a:lnTo>
                    <a:pt x="576" y="887"/>
                  </a:lnTo>
                  <a:lnTo>
                    <a:pt x="586" y="853"/>
                  </a:lnTo>
                  <a:lnTo>
                    <a:pt x="597" y="819"/>
                  </a:lnTo>
                  <a:lnTo>
                    <a:pt x="609" y="783"/>
                  </a:lnTo>
                  <a:lnTo>
                    <a:pt x="621" y="748"/>
                  </a:lnTo>
                  <a:lnTo>
                    <a:pt x="634" y="711"/>
                  </a:lnTo>
                  <a:lnTo>
                    <a:pt x="648" y="674"/>
                  </a:lnTo>
                  <a:lnTo>
                    <a:pt x="661" y="638"/>
                  </a:lnTo>
                  <a:lnTo>
                    <a:pt x="721" y="660"/>
                  </a:lnTo>
                  <a:close/>
                  <a:moveTo>
                    <a:pt x="628" y="936"/>
                  </a:moveTo>
                  <a:lnTo>
                    <a:pt x="615" y="988"/>
                  </a:lnTo>
                  <a:lnTo>
                    <a:pt x="605" y="1033"/>
                  </a:lnTo>
                  <a:lnTo>
                    <a:pt x="602" y="1053"/>
                  </a:lnTo>
                  <a:lnTo>
                    <a:pt x="599" y="1072"/>
                  </a:lnTo>
                  <a:lnTo>
                    <a:pt x="598" y="1088"/>
                  </a:lnTo>
                  <a:lnTo>
                    <a:pt x="597" y="1102"/>
                  </a:lnTo>
                  <a:lnTo>
                    <a:pt x="534" y="1105"/>
                  </a:lnTo>
                  <a:lnTo>
                    <a:pt x="534" y="1087"/>
                  </a:lnTo>
                  <a:lnTo>
                    <a:pt x="536" y="1068"/>
                  </a:lnTo>
                  <a:lnTo>
                    <a:pt x="538" y="1047"/>
                  </a:lnTo>
                  <a:lnTo>
                    <a:pt x="541" y="1024"/>
                  </a:lnTo>
                  <a:lnTo>
                    <a:pt x="546" y="1001"/>
                  </a:lnTo>
                  <a:lnTo>
                    <a:pt x="552" y="975"/>
                  </a:lnTo>
                  <a:lnTo>
                    <a:pt x="559" y="947"/>
                  </a:lnTo>
                  <a:lnTo>
                    <a:pt x="566" y="919"/>
                  </a:lnTo>
                  <a:lnTo>
                    <a:pt x="628" y="936"/>
                  </a:lnTo>
                  <a:close/>
                  <a:moveTo>
                    <a:pt x="566" y="1104"/>
                  </a:moveTo>
                  <a:lnTo>
                    <a:pt x="597" y="1102"/>
                  </a:lnTo>
                  <a:lnTo>
                    <a:pt x="597" y="1109"/>
                  </a:lnTo>
                  <a:lnTo>
                    <a:pt x="596" y="1115"/>
                  </a:lnTo>
                  <a:lnTo>
                    <a:pt x="592" y="1120"/>
                  </a:lnTo>
                  <a:lnTo>
                    <a:pt x="589" y="1125"/>
                  </a:lnTo>
                  <a:lnTo>
                    <a:pt x="584" y="1130"/>
                  </a:lnTo>
                  <a:lnTo>
                    <a:pt x="579" y="1132"/>
                  </a:lnTo>
                  <a:lnTo>
                    <a:pt x="573" y="1134"/>
                  </a:lnTo>
                  <a:lnTo>
                    <a:pt x="566" y="1135"/>
                  </a:lnTo>
                  <a:lnTo>
                    <a:pt x="560" y="1134"/>
                  </a:lnTo>
                  <a:lnTo>
                    <a:pt x="554" y="1133"/>
                  </a:lnTo>
                  <a:lnTo>
                    <a:pt x="549" y="1131"/>
                  </a:lnTo>
                  <a:lnTo>
                    <a:pt x="544" y="1126"/>
                  </a:lnTo>
                  <a:lnTo>
                    <a:pt x="540" y="1121"/>
                  </a:lnTo>
                  <a:lnTo>
                    <a:pt x="537" y="1117"/>
                  </a:lnTo>
                  <a:lnTo>
                    <a:pt x="534" y="1111"/>
                  </a:lnTo>
                  <a:lnTo>
                    <a:pt x="534" y="1105"/>
                  </a:lnTo>
                  <a:lnTo>
                    <a:pt x="566" y="1104"/>
                  </a:lnTo>
                  <a:close/>
                  <a:moveTo>
                    <a:pt x="598" y="1104"/>
                  </a:moveTo>
                  <a:lnTo>
                    <a:pt x="598" y="1104"/>
                  </a:lnTo>
                  <a:lnTo>
                    <a:pt x="533" y="1104"/>
                  </a:lnTo>
                  <a:lnTo>
                    <a:pt x="533" y="1104"/>
                  </a:lnTo>
                  <a:lnTo>
                    <a:pt x="598" y="1104"/>
                  </a:lnTo>
                  <a:close/>
                  <a:moveTo>
                    <a:pt x="566" y="1104"/>
                  </a:moveTo>
                  <a:lnTo>
                    <a:pt x="598" y="1104"/>
                  </a:lnTo>
                  <a:lnTo>
                    <a:pt x="597" y="1109"/>
                  </a:lnTo>
                  <a:lnTo>
                    <a:pt x="595" y="1115"/>
                  </a:lnTo>
                  <a:lnTo>
                    <a:pt x="592" y="1121"/>
                  </a:lnTo>
                  <a:lnTo>
                    <a:pt x="589" y="1126"/>
                  </a:lnTo>
                  <a:lnTo>
                    <a:pt x="584" y="1130"/>
                  </a:lnTo>
                  <a:lnTo>
                    <a:pt x="578" y="1133"/>
                  </a:lnTo>
                  <a:lnTo>
                    <a:pt x="572" y="1134"/>
                  </a:lnTo>
                  <a:lnTo>
                    <a:pt x="566" y="1135"/>
                  </a:lnTo>
                  <a:lnTo>
                    <a:pt x="559" y="1134"/>
                  </a:lnTo>
                  <a:lnTo>
                    <a:pt x="553" y="1133"/>
                  </a:lnTo>
                  <a:lnTo>
                    <a:pt x="547" y="1130"/>
                  </a:lnTo>
                  <a:lnTo>
                    <a:pt x="543" y="1126"/>
                  </a:lnTo>
                  <a:lnTo>
                    <a:pt x="539" y="1121"/>
                  </a:lnTo>
                  <a:lnTo>
                    <a:pt x="537" y="1115"/>
                  </a:lnTo>
                  <a:lnTo>
                    <a:pt x="534" y="1109"/>
                  </a:lnTo>
                  <a:lnTo>
                    <a:pt x="533" y="1104"/>
                  </a:lnTo>
                  <a:lnTo>
                    <a:pt x="566" y="1104"/>
                  </a:lnTo>
                  <a:close/>
                  <a:moveTo>
                    <a:pt x="597" y="1102"/>
                  </a:moveTo>
                  <a:lnTo>
                    <a:pt x="597" y="1113"/>
                  </a:lnTo>
                  <a:lnTo>
                    <a:pt x="596" y="1122"/>
                  </a:lnTo>
                  <a:lnTo>
                    <a:pt x="593" y="1131"/>
                  </a:lnTo>
                  <a:lnTo>
                    <a:pt x="591" y="1140"/>
                  </a:lnTo>
                  <a:lnTo>
                    <a:pt x="588" y="1148"/>
                  </a:lnTo>
                  <a:lnTo>
                    <a:pt x="583" y="1157"/>
                  </a:lnTo>
                  <a:lnTo>
                    <a:pt x="577" y="1164"/>
                  </a:lnTo>
                  <a:lnTo>
                    <a:pt x="571" y="1171"/>
                  </a:lnTo>
                  <a:lnTo>
                    <a:pt x="525" y="1126"/>
                  </a:lnTo>
                  <a:lnTo>
                    <a:pt x="528" y="1121"/>
                  </a:lnTo>
                  <a:lnTo>
                    <a:pt x="532" y="1117"/>
                  </a:lnTo>
                  <a:lnTo>
                    <a:pt x="533" y="1111"/>
                  </a:lnTo>
                  <a:lnTo>
                    <a:pt x="534" y="1104"/>
                  </a:lnTo>
                  <a:lnTo>
                    <a:pt x="597" y="1102"/>
                  </a:lnTo>
                  <a:close/>
                  <a:moveTo>
                    <a:pt x="571" y="1171"/>
                  </a:moveTo>
                  <a:lnTo>
                    <a:pt x="564" y="1177"/>
                  </a:lnTo>
                  <a:lnTo>
                    <a:pt x="557" y="1183"/>
                  </a:lnTo>
                  <a:lnTo>
                    <a:pt x="550" y="1187"/>
                  </a:lnTo>
                  <a:lnTo>
                    <a:pt x="541" y="1191"/>
                  </a:lnTo>
                  <a:lnTo>
                    <a:pt x="532" y="1195"/>
                  </a:lnTo>
                  <a:lnTo>
                    <a:pt x="524" y="1197"/>
                  </a:lnTo>
                  <a:lnTo>
                    <a:pt x="514" y="1199"/>
                  </a:lnTo>
                  <a:lnTo>
                    <a:pt x="505" y="1199"/>
                  </a:lnTo>
                  <a:lnTo>
                    <a:pt x="502" y="1137"/>
                  </a:lnTo>
                  <a:lnTo>
                    <a:pt x="510" y="1135"/>
                  </a:lnTo>
                  <a:lnTo>
                    <a:pt x="515" y="1133"/>
                  </a:lnTo>
                  <a:lnTo>
                    <a:pt x="520" y="1131"/>
                  </a:lnTo>
                  <a:lnTo>
                    <a:pt x="525" y="1126"/>
                  </a:lnTo>
                  <a:lnTo>
                    <a:pt x="571" y="1171"/>
                  </a:lnTo>
                  <a:close/>
                  <a:moveTo>
                    <a:pt x="504" y="1167"/>
                  </a:moveTo>
                  <a:lnTo>
                    <a:pt x="505" y="1199"/>
                  </a:lnTo>
                  <a:lnTo>
                    <a:pt x="498" y="1199"/>
                  </a:lnTo>
                  <a:lnTo>
                    <a:pt x="492" y="1198"/>
                  </a:lnTo>
                  <a:lnTo>
                    <a:pt x="486" y="1195"/>
                  </a:lnTo>
                  <a:lnTo>
                    <a:pt x="481" y="1191"/>
                  </a:lnTo>
                  <a:lnTo>
                    <a:pt x="478" y="1186"/>
                  </a:lnTo>
                  <a:lnTo>
                    <a:pt x="474" y="1182"/>
                  </a:lnTo>
                  <a:lnTo>
                    <a:pt x="473" y="1176"/>
                  </a:lnTo>
                  <a:lnTo>
                    <a:pt x="472" y="1169"/>
                  </a:lnTo>
                  <a:lnTo>
                    <a:pt x="472" y="1163"/>
                  </a:lnTo>
                  <a:lnTo>
                    <a:pt x="474" y="1157"/>
                  </a:lnTo>
                  <a:lnTo>
                    <a:pt x="476" y="1151"/>
                  </a:lnTo>
                  <a:lnTo>
                    <a:pt x="480" y="1146"/>
                  </a:lnTo>
                  <a:lnTo>
                    <a:pt x="485" y="1141"/>
                  </a:lnTo>
                  <a:lnTo>
                    <a:pt x="491" y="1139"/>
                  </a:lnTo>
                  <a:lnTo>
                    <a:pt x="497" y="1137"/>
                  </a:lnTo>
                  <a:lnTo>
                    <a:pt x="502" y="1137"/>
                  </a:lnTo>
                  <a:lnTo>
                    <a:pt x="504" y="1167"/>
                  </a:lnTo>
                  <a:close/>
                  <a:moveTo>
                    <a:pt x="504" y="1200"/>
                  </a:moveTo>
                  <a:lnTo>
                    <a:pt x="504" y="1200"/>
                  </a:lnTo>
                  <a:lnTo>
                    <a:pt x="504" y="1135"/>
                  </a:lnTo>
                  <a:lnTo>
                    <a:pt x="504" y="1135"/>
                  </a:lnTo>
                  <a:lnTo>
                    <a:pt x="504" y="1200"/>
                  </a:lnTo>
                  <a:close/>
                  <a:moveTo>
                    <a:pt x="504" y="1167"/>
                  </a:moveTo>
                  <a:lnTo>
                    <a:pt x="504" y="1200"/>
                  </a:lnTo>
                  <a:lnTo>
                    <a:pt x="497" y="1199"/>
                  </a:lnTo>
                  <a:lnTo>
                    <a:pt x="491" y="1197"/>
                  </a:lnTo>
                  <a:lnTo>
                    <a:pt x="486" y="1195"/>
                  </a:lnTo>
                  <a:lnTo>
                    <a:pt x="481" y="1191"/>
                  </a:lnTo>
                  <a:lnTo>
                    <a:pt x="476" y="1186"/>
                  </a:lnTo>
                  <a:lnTo>
                    <a:pt x="474" y="1180"/>
                  </a:lnTo>
                  <a:lnTo>
                    <a:pt x="472" y="1174"/>
                  </a:lnTo>
                  <a:lnTo>
                    <a:pt x="472" y="1167"/>
                  </a:lnTo>
                  <a:lnTo>
                    <a:pt x="472" y="1161"/>
                  </a:lnTo>
                  <a:lnTo>
                    <a:pt x="474" y="1156"/>
                  </a:lnTo>
                  <a:lnTo>
                    <a:pt x="476" y="1150"/>
                  </a:lnTo>
                  <a:lnTo>
                    <a:pt x="481" y="1145"/>
                  </a:lnTo>
                  <a:lnTo>
                    <a:pt x="486" y="1141"/>
                  </a:lnTo>
                  <a:lnTo>
                    <a:pt x="491" y="1139"/>
                  </a:lnTo>
                  <a:lnTo>
                    <a:pt x="497" y="1137"/>
                  </a:lnTo>
                  <a:lnTo>
                    <a:pt x="504" y="1135"/>
                  </a:lnTo>
                  <a:lnTo>
                    <a:pt x="504" y="1167"/>
                  </a:lnTo>
                  <a:close/>
                  <a:moveTo>
                    <a:pt x="504" y="1199"/>
                  </a:moveTo>
                  <a:lnTo>
                    <a:pt x="494" y="1199"/>
                  </a:lnTo>
                  <a:lnTo>
                    <a:pt x="485" y="1198"/>
                  </a:lnTo>
                  <a:lnTo>
                    <a:pt x="475" y="1196"/>
                  </a:lnTo>
                  <a:lnTo>
                    <a:pt x="467" y="1193"/>
                  </a:lnTo>
                  <a:lnTo>
                    <a:pt x="459" y="1190"/>
                  </a:lnTo>
                  <a:lnTo>
                    <a:pt x="450" y="1185"/>
                  </a:lnTo>
                  <a:lnTo>
                    <a:pt x="443" y="1179"/>
                  </a:lnTo>
                  <a:lnTo>
                    <a:pt x="436" y="1173"/>
                  </a:lnTo>
                  <a:lnTo>
                    <a:pt x="480" y="1127"/>
                  </a:lnTo>
                  <a:lnTo>
                    <a:pt x="485" y="1131"/>
                  </a:lnTo>
                  <a:lnTo>
                    <a:pt x="491" y="1134"/>
                  </a:lnTo>
                  <a:lnTo>
                    <a:pt x="497" y="1135"/>
                  </a:lnTo>
                  <a:lnTo>
                    <a:pt x="502" y="1137"/>
                  </a:lnTo>
                  <a:lnTo>
                    <a:pt x="504" y="1199"/>
                  </a:lnTo>
                  <a:close/>
                  <a:moveTo>
                    <a:pt x="436" y="1173"/>
                  </a:moveTo>
                  <a:lnTo>
                    <a:pt x="430" y="1167"/>
                  </a:lnTo>
                  <a:lnTo>
                    <a:pt x="424" y="1160"/>
                  </a:lnTo>
                  <a:lnTo>
                    <a:pt x="420" y="1152"/>
                  </a:lnTo>
                  <a:lnTo>
                    <a:pt x="415" y="1144"/>
                  </a:lnTo>
                  <a:lnTo>
                    <a:pt x="411" y="1135"/>
                  </a:lnTo>
                  <a:lnTo>
                    <a:pt x="409" y="1126"/>
                  </a:lnTo>
                  <a:lnTo>
                    <a:pt x="407" y="1117"/>
                  </a:lnTo>
                  <a:lnTo>
                    <a:pt x="407" y="1107"/>
                  </a:lnTo>
                  <a:lnTo>
                    <a:pt x="471" y="1106"/>
                  </a:lnTo>
                  <a:lnTo>
                    <a:pt x="471" y="1112"/>
                  </a:lnTo>
                  <a:lnTo>
                    <a:pt x="473" y="1118"/>
                  </a:lnTo>
                  <a:lnTo>
                    <a:pt x="476" y="1122"/>
                  </a:lnTo>
                  <a:lnTo>
                    <a:pt x="480" y="1127"/>
                  </a:lnTo>
                  <a:lnTo>
                    <a:pt x="436" y="1173"/>
                  </a:lnTo>
                  <a:close/>
                  <a:moveTo>
                    <a:pt x="407" y="1107"/>
                  </a:moveTo>
                  <a:lnTo>
                    <a:pt x="407" y="1088"/>
                  </a:lnTo>
                  <a:lnTo>
                    <a:pt x="408" y="1067"/>
                  </a:lnTo>
                  <a:lnTo>
                    <a:pt x="410" y="1044"/>
                  </a:lnTo>
                  <a:lnTo>
                    <a:pt x="414" y="1021"/>
                  </a:lnTo>
                  <a:lnTo>
                    <a:pt x="419" y="995"/>
                  </a:lnTo>
                  <a:lnTo>
                    <a:pt x="424" y="968"/>
                  </a:lnTo>
                  <a:lnTo>
                    <a:pt x="430" y="939"/>
                  </a:lnTo>
                  <a:lnTo>
                    <a:pt x="437" y="910"/>
                  </a:lnTo>
                  <a:lnTo>
                    <a:pt x="500" y="926"/>
                  </a:lnTo>
                  <a:lnTo>
                    <a:pt x="493" y="953"/>
                  </a:lnTo>
                  <a:lnTo>
                    <a:pt x="487" y="979"/>
                  </a:lnTo>
                  <a:lnTo>
                    <a:pt x="481" y="1004"/>
                  </a:lnTo>
                  <a:lnTo>
                    <a:pt x="478" y="1028"/>
                  </a:lnTo>
                  <a:lnTo>
                    <a:pt x="474" y="1050"/>
                  </a:lnTo>
                  <a:lnTo>
                    <a:pt x="472" y="1070"/>
                  </a:lnTo>
                  <a:lnTo>
                    <a:pt x="471" y="1089"/>
                  </a:lnTo>
                  <a:lnTo>
                    <a:pt x="471" y="1106"/>
                  </a:lnTo>
                  <a:lnTo>
                    <a:pt x="407" y="1107"/>
                  </a:lnTo>
                  <a:close/>
                  <a:moveTo>
                    <a:pt x="437" y="910"/>
                  </a:moveTo>
                  <a:lnTo>
                    <a:pt x="447" y="876"/>
                  </a:lnTo>
                  <a:lnTo>
                    <a:pt x="456" y="842"/>
                  </a:lnTo>
                  <a:lnTo>
                    <a:pt x="467" y="808"/>
                  </a:lnTo>
                  <a:lnTo>
                    <a:pt x="479" y="771"/>
                  </a:lnTo>
                  <a:lnTo>
                    <a:pt x="491" y="735"/>
                  </a:lnTo>
                  <a:lnTo>
                    <a:pt x="504" y="697"/>
                  </a:lnTo>
                  <a:lnTo>
                    <a:pt x="517" y="660"/>
                  </a:lnTo>
                  <a:lnTo>
                    <a:pt x="531" y="622"/>
                  </a:lnTo>
                  <a:lnTo>
                    <a:pt x="591" y="644"/>
                  </a:lnTo>
                  <a:lnTo>
                    <a:pt x="577" y="681"/>
                  </a:lnTo>
                  <a:lnTo>
                    <a:pt x="564" y="718"/>
                  </a:lnTo>
                  <a:lnTo>
                    <a:pt x="551" y="755"/>
                  </a:lnTo>
                  <a:lnTo>
                    <a:pt x="539" y="790"/>
                  </a:lnTo>
                  <a:lnTo>
                    <a:pt x="528" y="826"/>
                  </a:lnTo>
                  <a:lnTo>
                    <a:pt x="518" y="860"/>
                  </a:lnTo>
                  <a:lnTo>
                    <a:pt x="508" y="894"/>
                  </a:lnTo>
                  <a:lnTo>
                    <a:pt x="500" y="926"/>
                  </a:lnTo>
                  <a:lnTo>
                    <a:pt x="437" y="910"/>
                  </a:lnTo>
                  <a:close/>
                  <a:moveTo>
                    <a:pt x="560" y="633"/>
                  </a:moveTo>
                  <a:lnTo>
                    <a:pt x="531" y="622"/>
                  </a:lnTo>
                  <a:lnTo>
                    <a:pt x="534" y="616"/>
                  </a:lnTo>
                  <a:lnTo>
                    <a:pt x="538" y="610"/>
                  </a:lnTo>
                  <a:lnTo>
                    <a:pt x="543" y="607"/>
                  </a:lnTo>
                  <a:lnTo>
                    <a:pt x="547" y="603"/>
                  </a:lnTo>
                  <a:lnTo>
                    <a:pt x="553" y="602"/>
                  </a:lnTo>
                  <a:lnTo>
                    <a:pt x="559" y="601"/>
                  </a:lnTo>
                  <a:lnTo>
                    <a:pt x="566" y="601"/>
                  </a:lnTo>
                  <a:lnTo>
                    <a:pt x="572" y="603"/>
                  </a:lnTo>
                  <a:lnTo>
                    <a:pt x="578" y="606"/>
                  </a:lnTo>
                  <a:lnTo>
                    <a:pt x="583" y="609"/>
                  </a:lnTo>
                  <a:lnTo>
                    <a:pt x="586" y="614"/>
                  </a:lnTo>
                  <a:lnTo>
                    <a:pt x="590" y="620"/>
                  </a:lnTo>
                  <a:lnTo>
                    <a:pt x="592" y="626"/>
                  </a:lnTo>
                  <a:lnTo>
                    <a:pt x="592" y="632"/>
                  </a:lnTo>
                  <a:lnTo>
                    <a:pt x="592" y="638"/>
                  </a:lnTo>
                  <a:lnTo>
                    <a:pt x="591" y="644"/>
                  </a:lnTo>
                  <a:lnTo>
                    <a:pt x="560" y="633"/>
                  </a:lnTo>
                  <a:close/>
                  <a:moveTo>
                    <a:pt x="558" y="665"/>
                  </a:moveTo>
                  <a:lnTo>
                    <a:pt x="541" y="662"/>
                  </a:lnTo>
                  <a:lnTo>
                    <a:pt x="547" y="600"/>
                  </a:lnTo>
                  <a:lnTo>
                    <a:pt x="564" y="601"/>
                  </a:lnTo>
                  <a:lnTo>
                    <a:pt x="558" y="665"/>
                  </a:lnTo>
                  <a:close/>
                  <a:moveTo>
                    <a:pt x="544" y="632"/>
                  </a:moveTo>
                  <a:lnTo>
                    <a:pt x="541" y="662"/>
                  </a:lnTo>
                  <a:lnTo>
                    <a:pt x="534" y="661"/>
                  </a:lnTo>
                  <a:lnTo>
                    <a:pt x="528" y="659"/>
                  </a:lnTo>
                  <a:lnTo>
                    <a:pt x="524" y="655"/>
                  </a:lnTo>
                  <a:lnTo>
                    <a:pt x="519" y="652"/>
                  </a:lnTo>
                  <a:lnTo>
                    <a:pt x="517" y="646"/>
                  </a:lnTo>
                  <a:lnTo>
                    <a:pt x="514" y="640"/>
                  </a:lnTo>
                  <a:lnTo>
                    <a:pt x="513" y="634"/>
                  </a:lnTo>
                  <a:lnTo>
                    <a:pt x="513" y="628"/>
                  </a:lnTo>
                  <a:lnTo>
                    <a:pt x="514" y="621"/>
                  </a:lnTo>
                  <a:lnTo>
                    <a:pt x="517" y="616"/>
                  </a:lnTo>
                  <a:lnTo>
                    <a:pt x="520" y="610"/>
                  </a:lnTo>
                  <a:lnTo>
                    <a:pt x="524" y="607"/>
                  </a:lnTo>
                  <a:lnTo>
                    <a:pt x="530" y="603"/>
                  </a:lnTo>
                  <a:lnTo>
                    <a:pt x="534" y="601"/>
                  </a:lnTo>
                  <a:lnTo>
                    <a:pt x="541" y="600"/>
                  </a:lnTo>
                  <a:lnTo>
                    <a:pt x="547" y="600"/>
                  </a:lnTo>
                  <a:lnTo>
                    <a:pt x="544" y="632"/>
                  </a:lnTo>
                  <a:close/>
                  <a:moveTo>
                    <a:pt x="541" y="662"/>
                  </a:moveTo>
                  <a:lnTo>
                    <a:pt x="525" y="661"/>
                  </a:lnTo>
                  <a:lnTo>
                    <a:pt x="531" y="597"/>
                  </a:lnTo>
                  <a:lnTo>
                    <a:pt x="547" y="600"/>
                  </a:lnTo>
                  <a:lnTo>
                    <a:pt x="541" y="662"/>
                  </a:lnTo>
                  <a:close/>
                  <a:moveTo>
                    <a:pt x="527" y="629"/>
                  </a:moveTo>
                  <a:lnTo>
                    <a:pt x="525" y="661"/>
                  </a:lnTo>
                  <a:lnTo>
                    <a:pt x="518" y="660"/>
                  </a:lnTo>
                  <a:lnTo>
                    <a:pt x="513" y="658"/>
                  </a:lnTo>
                  <a:lnTo>
                    <a:pt x="507" y="654"/>
                  </a:lnTo>
                  <a:lnTo>
                    <a:pt x="504" y="649"/>
                  </a:lnTo>
                  <a:lnTo>
                    <a:pt x="500" y="645"/>
                  </a:lnTo>
                  <a:lnTo>
                    <a:pt x="498" y="639"/>
                  </a:lnTo>
                  <a:lnTo>
                    <a:pt x="497" y="633"/>
                  </a:lnTo>
                  <a:lnTo>
                    <a:pt x="497" y="626"/>
                  </a:lnTo>
                  <a:lnTo>
                    <a:pt x="498" y="620"/>
                  </a:lnTo>
                  <a:lnTo>
                    <a:pt x="500" y="614"/>
                  </a:lnTo>
                  <a:lnTo>
                    <a:pt x="504" y="609"/>
                  </a:lnTo>
                  <a:lnTo>
                    <a:pt x="507" y="604"/>
                  </a:lnTo>
                  <a:lnTo>
                    <a:pt x="513" y="601"/>
                  </a:lnTo>
                  <a:lnTo>
                    <a:pt x="518" y="599"/>
                  </a:lnTo>
                  <a:lnTo>
                    <a:pt x="525" y="597"/>
                  </a:lnTo>
                  <a:lnTo>
                    <a:pt x="531" y="597"/>
                  </a:lnTo>
                  <a:lnTo>
                    <a:pt x="527" y="629"/>
                  </a:lnTo>
                  <a:close/>
                  <a:moveTo>
                    <a:pt x="525" y="661"/>
                  </a:moveTo>
                  <a:lnTo>
                    <a:pt x="488" y="658"/>
                  </a:lnTo>
                  <a:lnTo>
                    <a:pt x="453" y="655"/>
                  </a:lnTo>
                  <a:lnTo>
                    <a:pt x="419" y="652"/>
                  </a:lnTo>
                  <a:lnTo>
                    <a:pt x="384" y="651"/>
                  </a:lnTo>
                  <a:lnTo>
                    <a:pt x="352" y="648"/>
                  </a:lnTo>
                  <a:lnTo>
                    <a:pt x="320" y="647"/>
                  </a:lnTo>
                  <a:lnTo>
                    <a:pt x="291" y="647"/>
                  </a:lnTo>
                  <a:lnTo>
                    <a:pt x="262" y="646"/>
                  </a:lnTo>
                  <a:lnTo>
                    <a:pt x="262" y="582"/>
                  </a:lnTo>
                  <a:lnTo>
                    <a:pt x="292" y="583"/>
                  </a:lnTo>
                  <a:lnTo>
                    <a:pt x="323" y="583"/>
                  </a:lnTo>
                  <a:lnTo>
                    <a:pt x="355" y="584"/>
                  </a:lnTo>
                  <a:lnTo>
                    <a:pt x="388" y="587"/>
                  </a:lnTo>
                  <a:lnTo>
                    <a:pt x="422" y="589"/>
                  </a:lnTo>
                  <a:lnTo>
                    <a:pt x="458" y="591"/>
                  </a:lnTo>
                  <a:lnTo>
                    <a:pt x="494" y="594"/>
                  </a:lnTo>
                  <a:lnTo>
                    <a:pt x="531" y="597"/>
                  </a:lnTo>
                  <a:lnTo>
                    <a:pt x="525" y="661"/>
                  </a:lnTo>
                  <a:close/>
                  <a:moveTo>
                    <a:pt x="262" y="646"/>
                  </a:moveTo>
                  <a:lnTo>
                    <a:pt x="220" y="647"/>
                  </a:lnTo>
                  <a:lnTo>
                    <a:pt x="183" y="649"/>
                  </a:lnTo>
                  <a:lnTo>
                    <a:pt x="169" y="652"/>
                  </a:lnTo>
                  <a:lnTo>
                    <a:pt x="155" y="654"/>
                  </a:lnTo>
                  <a:lnTo>
                    <a:pt x="144" y="657"/>
                  </a:lnTo>
                  <a:lnTo>
                    <a:pt x="135" y="660"/>
                  </a:lnTo>
                  <a:lnTo>
                    <a:pt x="109" y="601"/>
                  </a:lnTo>
                  <a:lnTo>
                    <a:pt x="122" y="597"/>
                  </a:lnTo>
                  <a:lnTo>
                    <a:pt x="136" y="593"/>
                  </a:lnTo>
                  <a:lnTo>
                    <a:pt x="152" y="590"/>
                  </a:lnTo>
                  <a:lnTo>
                    <a:pt x="170" y="587"/>
                  </a:lnTo>
                  <a:lnTo>
                    <a:pt x="192" y="586"/>
                  </a:lnTo>
                  <a:lnTo>
                    <a:pt x="214" y="583"/>
                  </a:lnTo>
                  <a:lnTo>
                    <a:pt x="238" y="583"/>
                  </a:lnTo>
                  <a:lnTo>
                    <a:pt x="262" y="582"/>
                  </a:lnTo>
                  <a:lnTo>
                    <a:pt x="262" y="646"/>
                  </a:lnTo>
                  <a:close/>
                </a:path>
              </a:pathLst>
            </a:cu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6653" tIns="58327" rIns="116653" bIns="58327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56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6" name="Freeform 27"/>
            <p:cNvSpPr>
              <a:spLocks/>
            </p:cNvSpPr>
            <p:nvPr/>
          </p:nvSpPr>
          <p:spPr bwMode="auto">
            <a:xfrm>
              <a:off x="1694" y="1636"/>
              <a:ext cx="323" cy="284"/>
            </a:xfrm>
            <a:custGeom>
              <a:avLst/>
              <a:gdLst>
                <a:gd name="T0" fmla="*/ 72 w 1292"/>
                <a:gd name="T1" fmla="*/ 603 h 1135"/>
                <a:gd name="T2" fmla="*/ 31 w 1292"/>
                <a:gd name="T3" fmla="*/ 595 h 1135"/>
                <a:gd name="T4" fmla="*/ 9 w 1292"/>
                <a:gd name="T5" fmla="*/ 572 h 1135"/>
                <a:gd name="T6" fmla="*/ 1 w 1292"/>
                <a:gd name="T7" fmla="*/ 549 h 1135"/>
                <a:gd name="T8" fmla="*/ 9 w 1292"/>
                <a:gd name="T9" fmla="*/ 507 h 1135"/>
                <a:gd name="T10" fmla="*/ 32 w 1292"/>
                <a:gd name="T11" fmla="*/ 486 h 1135"/>
                <a:gd name="T12" fmla="*/ 91 w 1292"/>
                <a:gd name="T13" fmla="*/ 468 h 1135"/>
                <a:gd name="T14" fmla="*/ 194 w 1292"/>
                <a:gd name="T15" fmla="*/ 459 h 1135"/>
                <a:gd name="T16" fmla="*/ 433 w 1292"/>
                <a:gd name="T17" fmla="*/ 465 h 1135"/>
                <a:gd name="T18" fmla="*/ 559 w 1292"/>
                <a:gd name="T19" fmla="*/ 477 h 1135"/>
                <a:gd name="T20" fmla="*/ 668 w 1292"/>
                <a:gd name="T21" fmla="*/ 274 h 1135"/>
                <a:gd name="T22" fmla="*/ 768 w 1292"/>
                <a:gd name="T23" fmla="*/ 94 h 1135"/>
                <a:gd name="T24" fmla="*/ 817 w 1292"/>
                <a:gd name="T25" fmla="*/ 29 h 1135"/>
                <a:gd name="T26" fmla="*/ 835 w 1292"/>
                <a:gd name="T27" fmla="*/ 11 h 1135"/>
                <a:gd name="T28" fmla="*/ 881 w 1292"/>
                <a:gd name="T29" fmla="*/ 0 h 1135"/>
                <a:gd name="T30" fmla="*/ 904 w 1292"/>
                <a:gd name="T31" fmla="*/ 10 h 1135"/>
                <a:gd name="T32" fmla="*/ 923 w 1292"/>
                <a:gd name="T33" fmla="*/ 27 h 1135"/>
                <a:gd name="T34" fmla="*/ 933 w 1292"/>
                <a:gd name="T35" fmla="*/ 73 h 1135"/>
                <a:gd name="T36" fmla="*/ 923 w 1292"/>
                <a:gd name="T37" fmla="*/ 97 h 1135"/>
                <a:gd name="T38" fmla="*/ 891 w 1292"/>
                <a:gd name="T39" fmla="*/ 138 h 1135"/>
                <a:gd name="T40" fmla="*/ 838 w 1292"/>
                <a:gd name="T41" fmla="*/ 220 h 1135"/>
                <a:gd name="T42" fmla="*/ 734 w 1292"/>
                <a:gd name="T43" fmla="*/ 433 h 1135"/>
                <a:gd name="T44" fmla="*/ 890 w 1292"/>
                <a:gd name="T45" fmla="*/ 526 h 1135"/>
                <a:gd name="T46" fmla="*/ 1075 w 1292"/>
                <a:gd name="T47" fmla="*/ 570 h 1135"/>
                <a:gd name="T48" fmla="*/ 1142 w 1292"/>
                <a:gd name="T49" fmla="*/ 589 h 1135"/>
                <a:gd name="T50" fmla="*/ 1216 w 1292"/>
                <a:gd name="T51" fmla="*/ 600 h 1135"/>
                <a:gd name="T52" fmla="*/ 1247 w 1292"/>
                <a:gd name="T53" fmla="*/ 603 h 1135"/>
                <a:gd name="T54" fmla="*/ 1281 w 1292"/>
                <a:gd name="T55" fmla="*/ 629 h 1135"/>
                <a:gd name="T56" fmla="*/ 1292 w 1292"/>
                <a:gd name="T57" fmla="*/ 658 h 1135"/>
                <a:gd name="T58" fmla="*/ 1290 w 1292"/>
                <a:gd name="T59" fmla="*/ 682 h 1135"/>
                <a:gd name="T60" fmla="*/ 1264 w 1292"/>
                <a:gd name="T61" fmla="*/ 717 h 1135"/>
                <a:gd name="T62" fmla="*/ 1234 w 1292"/>
                <a:gd name="T63" fmla="*/ 727 h 1135"/>
                <a:gd name="T64" fmla="*/ 1164 w 1292"/>
                <a:gd name="T65" fmla="*/ 721 h 1135"/>
                <a:gd name="T66" fmla="*/ 1072 w 1292"/>
                <a:gd name="T67" fmla="*/ 703 h 1135"/>
                <a:gd name="T68" fmla="*/ 947 w 1292"/>
                <a:gd name="T69" fmla="*/ 666 h 1135"/>
                <a:gd name="T70" fmla="*/ 723 w 1292"/>
                <a:gd name="T71" fmla="*/ 626 h 1135"/>
                <a:gd name="T72" fmla="*/ 587 w 1292"/>
                <a:gd name="T73" fmla="*/ 821 h 1135"/>
                <a:gd name="T74" fmla="*/ 547 w 1292"/>
                <a:gd name="T75" fmla="*/ 967 h 1135"/>
                <a:gd name="T76" fmla="*/ 534 w 1292"/>
                <a:gd name="T77" fmla="*/ 1055 h 1135"/>
                <a:gd name="T78" fmla="*/ 531 w 1292"/>
                <a:gd name="T79" fmla="*/ 1090 h 1135"/>
                <a:gd name="T80" fmla="*/ 507 w 1292"/>
                <a:gd name="T81" fmla="*/ 1125 h 1135"/>
                <a:gd name="T82" fmla="*/ 478 w 1292"/>
                <a:gd name="T83" fmla="*/ 1135 h 1135"/>
                <a:gd name="T84" fmla="*/ 453 w 1292"/>
                <a:gd name="T85" fmla="*/ 1133 h 1135"/>
                <a:gd name="T86" fmla="*/ 418 w 1292"/>
                <a:gd name="T87" fmla="*/ 1109 h 1135"/>
                <a:gd name="T88" fmla="*/ 407 w 1292"/>
                <a:gd name="T89" fmla="*/ 1081 h 1135"/>
                <a:gd name="T90" fmla="*/ 410 w 1292"/>
                <a:gd name="T91" fmla="*/ 1012 h 1135"/>
                <a:gd name="T92" fmla="*/ 433 w 1292"/>
                <a:gd name="T93" fmla="*/ 904 h 1135"/>
                <a:gd name="T94" fmla="*/ 504 w 1292"/>
                <a:gd name="T95" fmla="*/ 672 h 1135"/>
                <a:gd name="T96" fmla="*/ 428 w 1292"/>
                <a:gd name="T97" fmla="*/ 591 h 1135"/>
                <a:gd name="T98" fmla="*/ 217 w 1292"/>
                <a:gd name="T99" fmla="*/ 582 h 1135"/>
                <a:gd name="T100" fmla="*/ 131 w 1292"/>
                <a:gd name="T101" fmla="*/ 588 h 11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292" h="1135">
                  <a:moveTo>
                    <a:pt x="90" y="598"/>
                  </a:moveTo>
                  <a:lnTo>
                    <a:pt x="84" y="601"/>
                  </a:lnTo>
                  <a:lnTo>
                    <a:pt x="78" y="602"/>
                  </a:lnTo>
                  <a:lnTo>
                    <a:pt x="72" y="603"/>
                  </a:lnTo>
                  <a:lnTo>
                    <a:pt x="66" y="604"/>
                  </a:lnTo>
                  <a:lnTo>
                    <a:pt x="53" y="603"/>
                  </a:lnTo>
                  <a:lnTo>
                    <a:pt x="41" y="600"/>
                  </a:lnTo>
                  <a:lnTo>
                    <a:pt x="31" y="595"/>
                  </a:lnTo>
                  <a:lnTo>
                    <a:pt x="21" y="587"/>
                  </a:lnTo>
                  <a:lnTo>
                    <a:pt x="16" y="583"/>
                  </a:lnTo>
                  <a:lnTo>
                    <a:pt x="13" y="578"/>
                  </a:lnTo>
                  <a:lnTo>
                    <a:pt x="9" y="572"/>
                  </a:lnTo>
                  <a:lnTo>
                    <a:pt x="6" y="567"/>
                  </a:lnTo>
                  <a:lnTo>
                    <a:pt x="3" y="561"/>
                  </a:lnTo>
                  <a:lnTo>
                    <a:pt x="2" y="555"/>
                  </a:lnTo>
                  <a:lnTo>
                    <a:pt x="1" y="549"/>
                  </a:lnTo>
                  <a:lnTo>
                    <a:pt x="0" y="542"/>
                  </a:lnTo>
                  <a:lnTo>
                    <a:pt x="1" y="530"/>
                  </a:lnTo>
                  <a:lnTo>
                    <a:pt x="5" y="518"/>
                  </a:lnTo>
                  <a:lnTo>
                    <a:pt x="9" y="507"/>
                  </a:lnTo>
                  <a:lnTo>
                    <a:pt x="18" y="498"/>
                  </a:lnTo>
                  <a:lnTo>
                    <a:pt x="21" y="493"/>
                  </a:lnTo>
                  <a:lnTo>
                    <a:pt x="27" y="490"/>
                  </a:lnTo>
                  <a:lnTo>
                    <a:pt x="32" y="486"/>
                  </a:lnTo>
                  <a:lnTo>
                    <a:pt x="38" y="483"/>
                  </a:lnTo>
                  <a:lnTo>
                    <a:pt x="53" y="478"/>
                  </a:lnTo>
                  <a:lnTo>
                    <a:pt x="71" y="472"/>
                  </a:lnTo>
                  <a:lnTo>
                    <a:pt x="91" y="468"/>
                  </a:lnTo>
                  <a:lnTo>
                    <a:pt x="115" y="465"/>
                  </a:lnTo>
                  <a:lnTo>
                    <a:pt x="139" y="461"/>
                  </a:lnTo>
                  <a:lnTo>
                    <a:pt x="165" y="460"/>
                  </a:lnTo>
                  <a:lnTo>
                    <a:pt x="194" y="459"/>
                  </a:lnTo>
                  <a:lnTo>
                    <a:pt x="225" y="458"/>
                  </a:lnTo>
                  <a:lnTo>
                    <a:pt x="290" y="458"/>
                  </a:lnTo>
                  <a:lnTo>
                    <a:pt x="359" y="460"/>
                  </a:lnTo>
                  <a:lnTo>
                    <a:pt x="433" y="465"/>
                  </a:lnTo>
                  <a:lnTo>
                    <a:pt x="508" y="472"/>
                  </a:lnTo>
                  <a:lnTo>
                    <a:pt x="525" y="473"/>
                  </a:lnTo>
                  <a:lnTo>
                    <a:pt x="543" y="476"/>
                  </a:lnTo>
                  <a:lnTo>
                    <a:pt x="559" y="477"/>
                  </a:lnTo>
                  <a:lnTo>
                    <a:pt x="577" y="479"/>
                  </a:lnTo>
                  <a:lnTo>
                    <a:pt x="606" y="408"/>
                  </a:lnTo>
                  <a:lnTo>
                    <a:pt x="637" y="340"/>
                  </a:lnTo>
                  <a:lnTo>
                    <a:pt x="668" y="274"/>
                  </a:lnTo>
                  <a:lnTo>
                    <a:pt x="699" y="214"/>
                  </a:lnTo>
                  <a:lnTo>
                    <a:pt x="727" y="161"/>
                  </a:lnTo>
                  <a:lnTo>
                    <a:pt x="755" y="114"/>
                  </a:lnTo>
                  <a:lnTo>
                    <a:pt x="768" y="94"/>
                  </a:lnTo>
                  <a:lnTo>
                    <a:pt x="781" y="75"/>
                  </a:lnTo>
                  <a:lnTo>
                    <a:pt x="793" y="59"/>
                  </a:lnTo>
                  <a:lnTo>
                    <a:pt x="805" y="45"/>
                  </a:lnTo>
                  <a:lnTo>
                    <a:pt x="817" y="29"/>
                  </a:lnTo>
                  <a:lnTo>
                    <a:pt x="820" y="23"/>
                  </a:lnTo>
                  <a:lnTo>
                    <a:pt x="825" y="18"/>
                  </a:lnTo>
                  <a:lnTo>
                    <a:pt x="829" y="14"/>
                  </a:lnTo>
                  <a:lnTo>
                    <a:pt x="835" y="11"/>
                  </a:lnTo>
                  <a:lnTo>
                    <a:pt x="845" y="5"/>
                  </a:lnTo>
                  <a:lnTo>
                    <a:pt x="857" y="1"/>
                  </a:lnTo>
                  <a:lnTo>
                    <a:pt x="869" y="0"/>
                  </a:lnTo>
                  <a:lnTo>
                    <a:pt x="881" y="0"/>
                  </a:lnTo>
                  <a:lnTo>
                    <a:pt x="888" y="2"/>
                  </a:lnTo>
                  <a:lnTo>
                    <a:pt x="894" y="4"/>
                  </a:lnTo>
                  <a:lnTo>
                    <a:pt x="900" y="6"/>
                  </a:lnTo>
                  <a:lnTo>
                    <a:pt x="904" y="10"/>
                  </a:lnTo>
                  <a:lnTo>
                    <a:pt x="910" y="13"/>
                  </a:lnTo>
                  <a:lnTo>
                    <a:pt x="915" y="18"/>
                  </a:lnTo>
                  <a:lnTo>
                    <a:pt x="919" y="23"/>
                  </a:lnTo>
                  <a:lnTo>
                    <a:pt x="923" y="27"/>
                  </a:lnTo>
                  <a:lnTo>
                    <a:pt x="929" y="38"/>
                  </a:lnTo>
                  <a:lnTo>
                    <a:pt x="933" y="50"/>
                  </a:lnTo>
                  <a:lnTo>
                    <a:pt x="934" y="62"/>
                  </a:lnTo>
                  <a:lnTo>
                    <a:pt x="933" y="73"/>
                  </a:lnTo>
                  <a:lnTo>
                    <a:pt x="932" y="79"/>
                  </a:lnTo>
                  <a:lnTo>
                    <a:pt x="929" y="85"/>
                  </a:lnTo>
                  <a:lnTo>
                    <a:pt x="927" y="91"/>
                  </a:lnTo>
                  <a:lnTo>
                    <a:pt x="923" y="97"/>
                  </a:lnTo>
                  <a:lnTo>
                    <a:pt x="910" y="117"/>
                  </a:lnTo>
                  <a:lnTo>
                    <a:pt x="906" y="123"/>
                  </a:lnTo>
                  <a:lnTo>
                    <a:pt x="901" y="129"/>
                  </a:lnTo>
                  <a:lnTo>
                    <a:pt x="891" y="138"/>
                  </a:lnTo>
                  <a:lnTo>
                    <a:pt x="882" y="151"/>
                  </a:lnTo>
                  <a:lnTo>
                    <a:pt x="872" y="166"/>
                  </a:lnTo>
                  <a:lnTo>
                    <a:pt x="861" y="182"/>
                  </a:lnTo>
                  <a:lnTo>
                    <a:pt x="838" y="220"/>
                  </a:lnTo>
                  <a:lnTo>
                    <a:pt x="813" y="266"/>
                  </a:lnTo>
                  <a:lnTo>
                    <a:pt x="787" y="317"/>
                  </a:lnTo>
                  <a:lnTo>
                    <a:pt x="761" y="373"/>
                  </a:lnTo>
                  <a:lnTo>
                    <a:pt x="734" y="433"/>
                  </a:lnTo>
                  <a:lnTo>
                    <a:pt x="707" y="496"/>
                  </a:lnTo>
                  <a:lnTo>
                    <a:pt x="771" y="505"/>
                  </a:lnTo>
                  <a:lnTo>
                    <a:pt x="832" y="516"/>
                  </a:lnTo>
                  <a:lnTo>
                    <a:pt x="890" y="526"/>
                  </a:lnTo>
                  <a:lnTo>
                    <a:pt x="945" y="537"/>
                  </a:lnTo>
                  <a:lnTo>
                    <a:pt x="993" y="548"/>
                  </a:lnTo>
                  <a:lnTo>
                    <a:pt x="1037" y="558"/>
                  </a:lnTo>
                  <a:lnTo>
                    <a:pt x="1075" y="570"/>
                  </a:lnTo>
                  <a:lnTo>
                    <a:pt x="1105" y="581"/>
                  </a:lnTo>
                  <a:lnTo>
                    <a:pt x="1112" y="583"/>
                  </a:lnTo>
                  <a:lnTo>
                    <a:pt x="1125" y="585"/>
                  </a:lnTo>
                  <a:lnTo>
                    <a:pt x="1142" y="589"/>
                  </a:lnTo>
                  <a:lnTo>
                    <a:pt x="1160" y="593"/>
                  </a:lnTo>
                  <a:lnTo>
                    <a:pt x="1181" y="596"/>
                  </a:lnTo>
                  <a:lnTo>
                    <a:pt x="1200" y="598"/>
                  </a:lnTo>
                  <a:lnTo>
                    <a:pt x="1216" y="600"/>
                  </a:lnTo>
                  <a:lnTo>
                    <a:pt x="1228" y="601"/>
                  </a:lnTo>
                  <a:lnTo>
                    <a:pt x="1234" y="601"/>
                  </a:lnTo>
                  <a:lnTo>
                    <a:pt x="1241" y="602"/>
                  </a:lnTo>
                  <a:lnTo>
                    <a:pt x="1247" y="603"/>
                  </a:lnTo>
                  <a:lnTo>
                    <a:pt x="1253" y="606"/>
                  </a:lnTo>
                  <a:lnTo>
                    <a:pt x="1264" y="612"/>
                  </a:lnTo>
                  <a:lnTo>
                    <a:pt x="1273" y="620"/>
                  </a:lnTo>
                  <a:lnTo>
                    <a:pt x="1281" y="629"/>
                  </a:lnTo>
                  <a:lnTo>
                    <a:pt x="1287" y="640"/>
                  </a:lnTo>
                  <a:lnTo>
                    <a:pt x="1290" y="646"/>
                  </a:lnTo>
                  <a:lnTo>
                    <a:pt x="1291" y="652"/>
                  </a:lnTo>
                  <a:lnTo>
                    <a:pt x="1292" y="658"/>
                  </a:lnTo>
                  <a:lnTo>
                    <a:pt x="1292" y="665"/>
                  </a:lnTo>
                  <a:lnTo>
                    <a:pt x="1292" y="671"/>
                  </a:lnTo>
                  <a:lnTo>
                    <a:pt x="1291" y="677"/>
                  </a:lnTo>
                  <a:lnTo>
                    <a:pt x="1290" y="682"/>
                  </a:lnTo>
                  <a:lnTo>
                    <a:pt x="1287" y="688"/>
                  </a:lnTo>
                  <a:lnTo>
                    <a:pt x="1281" y="699"/>
                  </a:lnTo>
                  <a:lnTo>
                    <a:pt x="1273" y="708"/>
                  </a:lnTo>
                  <a:lnTo>
                    <a:pt x="1264" y="717"/>
                  </a:lnTo>
                  <a:lnTo>
                    <a:pt x="1253" y="723"/>
                  </a:lnTo>
                  <a:lnTo>
                    <a:pt x="1247" y="725"/>
                  </a:lnTo>
                  <a:lnTo>
                    <a:pt x="1241" y="726"/>
                  </a:lnTo>
                  <a:lnTo>
                    <a:pt x="1234" y="727"/>
                  </a:lnTo>
                  <a:lnTo>
                    <a:pt x="1228" y="727"/>
                  </a:lnTo>
                  <a:lnTo>
                    <a:pt x="1212" y="726"/>
                  </a:lnTo>
                  <a:lnTo>
                    <a:pt x="1189" y="725"/>
                  </a:lnTo>
                  <a:lnTo>
                    <a:pt x="1164" y="721"/>
                  </a:lnTo>
                  <a:lnTo>
                    <a:pt x="1137" y="717"/>
                  </a:lnTo>
                  <a:lnTo>
                    <a:pt x="1114" y="712"/>
                  </a:lnTo>
                  <a:lnTo>
                    <a:pt x="1091" y="707"/>
                  </a:lnTo>
                  <a:lnTo>
                    <a:pt x="1072" y="703"/>
                  </a:lnTo>
                  <a:lnTo>
                    <a:pt x="1057" y="698"/>
                  </a:lnTo>
                  <a:lnTo>
                    <a:pt x="1027" y="687"/>
                  </a:lnTo>
                  <a:lnTo>
                    <a:pt x="991" y="677"/>
                  </a:lnTo>
                  <a:lnTo>
                    <a:pt x="947" y="666"/>
                  </a:lnTo>
                  <a:lnTo>
                    <a:pt x="897" y="655"/>
                  </a:lnTo>
                  <a:lnTo>
                    <a:pt x="843" y="645"/>
                  </a:lnTo>
                  <a:lnTo>
                    <a:pt x="785" y="635"/>
                  </a:lnTo>
                  <a:lnTo>
                    <a:pt x="723" y="626"/>
                  </a:lnTo>
                  <a:lnTo>
                    <a:pt x="660" y="616"/>
                  </a:lnTo>
                  <a:lnTo>
                    <a:pt x="634" y="686"/>
                  </a:lnTo>
                  <a:lnTo>
                    <a:pt x="609" y="755"/>
                  </a:lnTo>
                  <a:lnTo>
                    <a:pt x="587" y="821"/>
                  </a:lnTo>
                  <a:lnTo>
                    <a:pt x="569" y="883"/>
                  </a:lnTo>
                  <a:lnTo>
                    <a:pt x="560" y="913"/>
                  </a:lnTo>
                  <a:lnTo>
                    <a:pt x="553" y="940"/>
                  </a:lnTo>
                  <a:lnTo>
                    <a:pt x="547" y="967"/>
                  </a:lnTo>
                  <a:lnTo>
                    <a:pt x="543" y="992"/>
                  </a:lnTo>
                  <a:lnTo>
                    <a:pt x="538" y="1015"/>
                  </a:lnTo>
                  <a:lnTo>
                    <a:pt x="535" y="1036"/>
                  </a:lnTo>
                  <a:lnTo>
                    <a:pt x="534" y="1055"/>
                  </a:lnTo>
                  <a:lnTo>
                    <a:pt x="534" y="1072"/>
                  </a:lnTo>
                  <a:lnTo>
                    <a:pt x="533" y="1077"/>
                  </a:lnTo>
                  <a:lnTo>
                    <a:pt x="533" y="1085"/>
                  </a:lnTo>
                  <a:lnTo>
                    <a:pt x="531" y="1090"/>
                  </a:lnTo>
                  <a:lnTo>
                    <a:pt x="530" y="1096"/>
                  </a:lnTo>
                  <a:lnTo>
                    <a:pt x="524" y="1107"/>
                  </a:lnTo>
                  <a:lnTo>
                    <a:pt x="517" y="1116"/>
                  </a:lnTo>
                  <a:lnTo>
                    <a:pt x="507" y="1125"/>
                  </a:lnTo>
                  <a:lnTo>
                    <a:pt x="496" y="1131"/>
                  </a:lnTo>
                  <a:lnTo>
                    <a:pt x="491" y="1133"/>
                  </a:lnTo>
                  <a:lnTo>
                    <a:pt x="485" y="1134"/>
                  </a:lnTo>
                  <a:lnTo>
                    <a:pt x="478" y="1135"/>
                  </a:lnTo>
                  <a:lnTo>
                    <a:pt x="472" y="1135"/>
                  </a:lnTo>
                  <a:lnTo>
                    <a:pt x="465" y="1135"/>
                  </a:lnTo>
                  <a:lnTo>
                    <a:pt x="459" y="1135"/>
                  </a:lnTo>
                  <a:lnTo>
                    <a:pt x="453" y="1133"/>
                  </a:lnTo>
                  <a:lnTo>
                    <a:pt x="447" y="1132"/>
                  </a:lnTo>
                  <a:lnTo>
                    <a:pt x="436" y="1126"/>
                  </a:lnTo>
                  <a:lnTo>
                    <a:pt x="426" y="1119"/>
                  </a:lnTo>
                  <a:lnTo>
                    <a:pt x="418" y="1109"/>
                  </a:lnTo>
                  <a:lnTo>
                    <a:pt x="411" y="1099"/>
                  </a:lnTo>
                  <a:lnTo>
                    <a:pt x="410" y="1093"/>
                  </a:lnTo>
                  <a:lnTo>
                    <a:pt x="408" y="1087"/>
                  </a:lnTo>
                  <a:lnTo>
                    <a:pt x="407" y="1081"/>
                  </a:lnTo>
                  <a:lnTo>
                    <a:pt x="407" y="1074"/>
                  </a:lnTo>
                  <a:lnTo>
                    <a:pt x="407" y="1056"/>
                  </a:lnTo>
                  <a:lnTo>
                    <a:pt x="408" y="1035"/>
                  </a:lnTo>
                  <a:lnTo>
                    <a:pt x="410" y="1012"/>
                  </a:lnTo>
                  <a:lnTo>
                    <a:pt x="415" y="988"/>
                  </a:lnTo>
                  <a:lnTo>
                    <a:pt x="420" y="962"/>
                  </a:lnTo>
                  <a:lnTo>
                    <a:pt x="426" y="933"/>
                  </a:lnTo>
                  <a:lnTo>
                    <a:pt x="433" y="904"/>
                  </a:lnTo>
                  <a:lnTo>
                    <a:pt x="440" y="874"/>
                  </a:lnTo>
                  <a:lnTo>
                    <a:pt x="459" y="809"/>
                  </a:lnTo>
                  <a:lnTo>
                    <a:pt x="480" y="742"/>
                  </a:lnTo>
                  <a:lnTo>
                    <a:pt x="504" y="672"/>
                  </a:lnTo>
                  <a:lnTo>
                    <a:pt x="528" y="601"/>
                  </a:lnTo>
                  <a:lnTo>
                    <a:pt x="512" y="600"/>
                  </a:lnTo>
                  <a:lnTo>
                    <a:pt x="495" y="597"/>
                  </a:lnTo>
                  <a:lnTo>
                    <a:pt x="428" y="591"/>
                  </a:lnTo>
                  <a:lnTo>
                    <a:pt x="362" y="587"/>
                  </a:lnTo>
                  <a:lnTo>
                    <a:pt x="300" y="584"/>
                  </a:lnTo>
                  <a:lnTo>
                    <a:pt x="243" y="582"/>
                  </a:lnTo>
                  <a:lnTo>
                    <a:pt x="217" y="582"/>
                  </a:lnTo>
                  <a:lnTo>
                    <a:pt x="194" y="583"/>
                  </a:lnTo>
                  <a:lnTo>
                    <a:pt x="170" y="584"/>
                  </a:lnTo>
                  <a:lnTo>
                    <a:pt x="150" y="585"/>
                  </a:lnTo>
                  <a:lnTo>
                    <a:pt x="131" y="588"/>
                  </a:lnTo>
                  <a:lnTo>
                    <a:pt x="116" y="591"/>
                  </a:lnTo>
                  <a:lnTo>
                    <a:pt x="102" y="594"/>
                  </a:lnTo>
                  <a:lnTo>
                    <a:pt x="90" y="598"/>
                  </a:lnTo>
                  <a:close/>
                </a:path>
              </a:pathLst>
            </a:custGeom>
            <a:solidFill>
              <a:srgbClr val="E31E2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6653" tIns="58327" rIns="116653" bIns="58327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56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7" name="Freeform 28"/>
            <p:cNvSpPr>
              <a:spLocks noEditPoints="1"/>
            </p:cNvSpPr>
            <p:nvPr/>
          </p:nvSpPr>
          <p:spPr bwMode="auto">
            <a:xfrm>
              <a:off x="3327" y="1743"/>
              <a:ext cx="339" cy="300"/>
            </a:xfrm>
            <a:custGeom>
              <a:avLst/>
              <a:gdLst>
                <a:gd name="T0" fmla="*/ 1309 w 1354"/>
                <a:gd name="T1" fmla="*/ 654 h 1200"/>
                <a:gd name="T2" fmla="*/ 1318 w 1354"/>
                <a:gd name="T3" fmla="*/ 599 h 1200"/>
                <a:gd name="T4" fmla="*/ 1318 w 1354"/>
                <a:gd name="T5" fmla="*/ 599 h 1200"/>
                <a:gd name="T6" fmla="*/ 1340 w 1354"/>
                <a:gd name="T7" fmla="*/ 523 h 1200"/>
                <a:gd name="T8" fmla="*/ 1274 w 1354"/>
                <a:gd name="T9" fmla="*/ 485 h 1200"/>
                <a:gd name="T10" fmla="*/ 1299 w 1354"/>
                <a:gd name="T11" fmla="*/ 486 h 1200"/>
                <a:gd name="T12" fmla="*/ 1272 w 1354"/>
                <a:gd name="T13" fmla="*/ 544 h 1200"/>
                <a:gd name="T14" fmla="*/ 1260 w 1354"/>
                <a:gd name="T15" fmla="*/ 539 h 1200"/>
                <a:gd name="T16" fmla="*/ 1046 w 1354"/>
                <a:gd name="T17" fmla="*/ 522 h 1200"/>
                <a:gd name="T18" fmla="*/ 747 w 1354"/>
                <a:gd name="T19" fmla="*/ 511 h 1200"/>
                <a:gd name="T20" fmla="*/ 747 w 1354"/>
                <a:gd name="T21" fmla="*/ 511 h 1200"/>
                <a:gd name="T22" fmla="*/ 717 w 1354"/>
                <a:gd name="T23" fmla="*/ 523 h 1200"/>
                <a:gd name="T24" fmla="*/ 541 w 1354"/>
                <a:gd name="T25" fmla="*/ 56 h 1200"/>
                <a:gd name="T26" fmla="*/ 545 w 1354"/>
                <a:gd name="T27" fmla="*/ 61 h 1200"/>
                <a:gd name="T28" fmla="*/ 475 w 1354"/>
                <a:gd name="T29" fmla="*/ 53 h 1200"/>
                <a:gd name="T30" fmla="*/ 476 w 1354"/>
                <a:gd name="T31" fmla="*/ 72 h 1200"/>
                <a:gd name="T32" fmla="*/ 418 w 1354"/>
                <a:gd name="T33" fmla="*/ 42 h 1200"/>
                <a:gd name="T34" fmla="*/ 418 w 1354"/>
                <a:gd name="T35" fmla="*/ 42 h 1200"/>
                <a:gd name="T36" fmla="*/ 405 w 1354"/>
                <a:gd name="T37" fmla="*/ 71 h 1200"/>
                <a:gd name="T38" fmla="*/ 426 w 1354"/>
                <a:gd name="T39" fmla="*/ 77 h 1200"/>
                <a:gd name="T40" fmla="*/ 359 w 1354"/>
                <a:gd name="T41" fmla="*/ 75 h 1200"/>
                <a:gd name="T42" fmla="*/ 426 w 1354"/>
                <a:gd name="T43" fmla="*/ 111 h 1200"/>
                <a:gd name="T44" fmla="*/ 426 w 1354"/>
                <a:gd name="T45" fmla="*/ 147 h 1200"/>
                <a:gd name="T46" fmla="*/ 406 w 1354"/>
                <a:gd name="T47" fmla="*/ 181 h 1200"/>
                <a:gd name="T48" fmla="*/ 442 w 1354"/>
                <a:gd name="T49" fmla="*/ 135 h 1200"/>
                <a:gd name="T50" fmla="*/ 448 w 1354"/>
                <a:gd name="T51" fmla="*/ 147 h 1200"/>
                <a:gd name="T52" fmla="*/ 534 w 1354"/>
                <a:gd name="T53" fmla="*/ 276 h 1200"/>
                <a:gd name="T54" fmla="*/ 631 w 1354"/>
                <a:gd name="T55" fmla="*/ 483 h 1200"/>
                <a:gd name="T56" fmla="*/ 627 w 1354"/>
                <a:gd name="T57" fmla="*/ 557 h 1200"/>
                <a:gd name="T58" fmla="*/ 367 w 1354"/>
                <a:gd name="T59" fmla="*/ 538 h 1200"/>
                <a:gd name="T60" fmla="*/ 293 w 1354"/>
                <a:gd name="T61" fmla="*/ 622 h 1200"/>
                <a:gd name="T62" fmla="*/ 167 w 1354"/>
                <a:gd name="T63" fmla="*/ 612 h 1200"/>
                <a:gd name="T64" fmla="*/ 197 w 1354"/>
                <a:gd name="T65" fmla="*/ 651 h 1200"/>
                <a:gd name="T66" fmla="*/ 157 w 1354"/>
                <a:gd name="T67" fmla="*/ 655 h 1200"/>
                <a:gd name="T68" fmla="*/ 95 w 1354"/>
                <a:gd name="T69" fmla="*/ 665 h 1200"/>
                <a:gd name="T70" fmla="*/ 95 w 1354"/>
                <a:gd name="T71" fmla="*/ 601 h 1200"/>
                <a:gd name="T72" fmla="*/ 1 w 1354"/>
                <a:gd name="T73" fmla="*/ 716 h 1200"/>
                <a:gd name="T74" fmla="*/ 67 w 1354"/>
                <a:gd name="T75" fmla="*/ 788 h 1200"/>
                <a:gd name="T76" fmla="*/ 95 w 1354"/>
                <a:gd name="T77" fmla="*/ 791 h 1200"/>
                <a:gd name="T78" fmla="*/ 216 w 1354"/>
                <a:gd name="T79" fmla="*/ 711 h 1200"/>
                <a:gd name="T80" fmla="*/ 251 w 1354"/>
                <a:gd name="T81" fmla="*/ 712 h 1200"/>
                <a:gd name="T82" fmla="*/ 289 w 1354"/>
                <a:gd name="T83" fmla="*/ 752 h 1200"/>
                <a:gd name="T84" fmla="*/ 340 w 1354"/>
                <a:gd name="T85" fmla="*/ 739 h 1200"/>
                <a:gd name="T86" fmla="*/ 659 w 1354"/>
                <a:gd name="T87" fmla="*/ 616 h 1200"/>
                <a:gd name="T88" fmla="*/ 696 w 1354"/>
                <a:gd name="T89" fmla="*/ 651 h 1200"/>
                <a:gd name="T90" fmla="*/ 718 w 1354"/>
                <a:gd name="T91" fmla="*/ 905 h 1200"/>
                <a:gd name="T92" fmla="*/ 757 w 1354"/>
                <a:gd name="T93" fmla="*/ 1102 h 1200"/>
                <a:gd name="T94" fmla="*/ 776 w 1354"/>
                <a:gd name="T95" fmla="*/ 1132 h 1200"/>
                <a:gd name="T96" fmla="*/ 757 w 1354"/>
                <a:gd name="T97" fmla="*/ 1104 h 1200"/>
                <a:gd name="T98" fmla="*/ 757 w 1354"/>
                <a:gd name="T99" fmla="*/ 1102 h 1200"/>
                <a:gd name="T100" fmla="*/ 806 w 1354"/>
                <a:gd name="T101" fmla="*/ 1187 h 1200"/>
                <a:gd name="T102" fmla="*/ 878 w 1354"/>
                <a:gd name="T103" fmla="*/ 1186 h 1200"/>
                <a:gd name="T104" fmla="*/ 852 w 1354"/>
                <a:gd name="T105" fmla="*/ 1167 h 1200"/>
                <a:gd name="T106" fmla="*/ 852 w 1354"/>
                <a:gd name="T107" fmla="*/ 1167 h 1200"/>
                <a:gd name="T108" fmla="*/ 931 w 1354"/>
                <a:gd name="T109" fmla="*/ 1160 h 1200"/>
                <a:gd name="T110" fmla="*/ 937 w 1354"/>
                <a:gd name="T111" fmla="*/ 995 h 1200"/>
                <a:gd name="T112" fmla="*/ 877 w 1354"/>
                <a:gd name="T113" fmla="*/ 771 h 1200"/>
                <a:gd name="T114" fmla="*/ 818 w 1354"/>
                <a:gd name="T115" fmla="*/ 610 h 1200"/>
                <a:gd name="T116" fmla="*/ 807 w 1354"/>
                <a:gd name="T117" fmla="*/ 600 h 1200"/>
                <a:gd name="T118" fmla="*/ 820 w 1354"/>
                <a:gd name="T119" fmla="*/ 601 h 1200"/>
                <a:gd name="T120" fmla="*/ 859 w 1354"/>
                <a:gd name="T121" fmla="*/ 626 h 1200"/>
                <a:gd name="T122" fmla="*/ 1092 w 1354"/>
                <a:gd name="T123" fmla="*/ 646 h 1200"/>
                <a:gd name="T124" fmla="*/ 1246 w 1354"/>
                <a:gd name="T125" fmla="*/ 601 h 1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354" h="1200">
                  <a:moveTo>
                    <a:pt x="1220" y="660"/>
                  </a:moveTo>
                  <a:lnTo>
                    <a:pt x="1229" y="664"/>
                  </a:lnTo>
                  <a:lnTo>
                    <a:pt x="1239" y="666"/>
                  </a:lnTo>
                  <a:lnTo>
                    <a:pt x="1247" y="667"/>
                  </a:lnTo>
                  <a:lnTo>
                    <a:pt x="1256" y="668"/>
                  </a:lnTo>
                  <a:lnTo>
                    <a:pt x="1266" y="667"/>
                  </a:lnTo>
                  <a:lnTo>
                    <a:pt x="1275" y="666"/>
                  </a:lnTo>
                  <a:lnTo>
                    <a:pt x="1283" y="665"/>
                  </a:lnTo>
                  <a:lnTo>
                    <a:pt x="1293" y="661"/>
                  </a:lnTo>
                  <a:lnTo>
                    <a:pt x="1270" y="602"/>
                  </a:lnTo>
                  <a:lnTo>
                    <a:pt x="1265" y="603"/>
                  </a:lnTo>
                  <a:lnTo>
                    <a:pt x="1259" y="604"/>
                  </a:lnTo>
                  <a:lnTo>
                    <a:pt x="1252" y="603"/>
                  </a:lnTo>
                  <a:lnTo>
                    <a:pt x="1246" y="601"/>
                  </a:lnTo>
                  <a:lnTo>
                    <a:pt x="1220" y="660"/>
                  </a:lnTo>
                  <a:close/>
                  <a:moveTo>
                    <a:pt x="1293" y="661"/>
                  </a:moveTo>
                  <a:lnTo>
                    <a:pt x="1301" y="658"/>
                  </a:lnTo>
                  <a:lnTo>
                    <a:pt x="1309" y="654"/>
                  </a:lnTo>
                  <a:lnTo>
                    <a:pt x="1317" y="648"/>
                  </a:lnTo>
                  <a:lnTo>
                    <a:pt x="1324" y="642"/>
                  </a:lnTo>
                  <a:lnTo>
                    <a:pt x="1331" y="636"/>
                  </a:lnTo>
                  <a:lnTo>
                    <a:pt x="1337" y="628"/>
                  </a:lnTo>
                  <a:lnTo>
                    <a:pt x="1341" y="621"/>
                  </a:lnTo>
                  <a:lnTo>
                    <a:pt x="1346" y="612"/>
                  </a:lnTo>
                  <a:lnTo>
                    <a:pt x="1288" y="586"/>
                  </a:lnTo>
                  <a:lnTo>
                    <a:pt x="1285" y="591"/>
                  </a:lnTo>
                  <a:lnTo>
                    <a:pt x="1281" y="596"/>
                  </a:lnTo>
                  <a:lnTo>
                    <a:pt x="1276" y="600"/>
                  </a:lnTo>
                  <a:lnTo>
                    <a:pt x="1270" y="602"/>
                  </a:lnTo>
                  <a:lnTo>
                    <a:pt x="1293" y="661"/>
                  </a:lnTo>
                  <a:close/>
                  <a:moveTo>
                    <a:pt x="1346" y="612"/>
                  </a:moveTo>
                  <a:lnTo>
                    <a:pt x="1346" y="612"/>
                  </a:lnTo>
                  <a:lnTo>
                    <a:pt x="1288" y="586"/>
                  </a:lnTo>
                  <a:lnTo>
                    <a:pt x="1288" y="586"/>
                  </a:lnTo>
                  <a:lnTo>
                    <a:pt x="1346" y="612"/>
                  </a:lnTo>
                  <a:close/>
                  <a:moveTo>
                    <a:pt x="1318" y="599"/>
                  </a:moveTo>
                  <a:lnTo>
                    <a:pt x="1346" y="612"/>
                  </a:lnTo>
                  <a:lnTo>
                    <a:pt x="1348" y="606"/>
                  </a:lnTo>
                  <a:lnTo>
                    <a:pt x="1350" y="600"/>
                  </a:lnTo>
                  <a:lnTo>
                    <a:pt x="1348" y="593"/>
                  </a:lnTo>
                  <a:lnTo>
                    <a:pt x="1347" y="587"/>
                  </a:lnTo>
                  <a:lnTo>
                    <a:pt x="1345" y="582"/>
                  </a:lnTo>
                  <a:lnTo>
                    <a:pt x="1341" y="577"/>
                  </a:lnTo>
                  <a:lnTo>
                    <a:pt x="1337" y="573"/>
                  </a:lnTo>
                  <a:lnTo>
                    <a:pt x="1331" y="569"/>
                  </a:lnTo>
                  <a:lnTo>
                    <a:pt x="1325" y="568"/>
                  </a:lnTo>
                  <a:lnTo>
                    <a:pt x="1318" y="567"/>
                  </a:lnTo>
                  <a:lnTo>
                    <a:pt x="1312" y="567"/>
                  </a:lnTo>
                  <a:lnTo>
                    <a:pt x="1306" y="569"/>
                  </a:lnTo>
                  <a:lnTo>
                    <a:pt x="1301" y="571"/>
                  </a:lnTo>
                  <a:lnTo>
                    <a:pt x="1295" y="575"/>
                  </a:lnTo>
                  <a:lnTo>
                    <a:pt x="1292" y="580"/>
                  </a:lnTo>
                  <a:lnTo>
                    <a:pt x="1288" y="586"/>
                  </a:lnTo>
                  <a:lnTo>
                    <a:pt x="1318" y="599"/>
                  </a:lnTo>
                  <a:close/>
                  <a:moveTo>
                    <a:pt x="1346" y="612"/>
                  </a:moveTo>
                  <a:lnTo>
                    <a:pt x="1350" y="602"/>
                  </a:lnTo>
                  <a:lnTo>
                    <a:pt x="1352" y="593"/>
                  </a:lnTo>
                  <a:lnTo>
                    <a:pt x="1354" y="584"/>
                  </a:lnTo>
                  <a:lnTo>
                    <a:pt x="1354" y="575"/>
                  </a:lnTo>
                  <a:lnTo>
                    <a:pt x="1354" y="565"/>
                  </a:lnTo>
                  <a:lnTo>
                    <a:pt x="1353" y="556"/>
                  </a:lnTo>
                  <a:lnTo>
                    <a:pt x="1351" y="548"/>
                  </a:lnTo>
                  <a:lnTo>
                    <a:pt x="1348" y="539"/>
                  </a:lnTo>
                  <a:lnTo>
                    <a:pt x="1289" y="562"/>
                  </a:lnTo>
                  <a:lnTo>
                    <a:pt x="1291" y="568"/>
                  </a:lnTo>
                  <a:lnTo>
                    <a:pt x="1291" y="574"/>
                  </a:lnTo>
                  <a:lnTo>
                    <a:pt x="1291" y="580"/>
                  </a:lnTo>
                  <a:lnTo>
                    <a:pt x="1288" y="586"/>
                  </a:lnTo>
                  <a:lnTo>
                    <a:pt x="1346" y="612"/>
                  </a:lnTo>
                  <a:close/>
                  <a:moveTo>
                    <a:pt x="1348" y="539"/>
                  </a:moveTo>
                  <a:lnTo>
                    <a:pt x="1345" y="531"/>
                  </a:lnTo>
                  <a:lnTo>
                    <a:pt x="1340" y="523"/>
                  </a:lnTo>
                  <a:lnTo>
                    <a:pt x="1335" y="516"/>
                  </a:lnTo>
                  <a:lnTo>
                    <a:pt x="1330" y="509"/>
                  </a:lnTo>
                  <a:lnTo>
                    <a:pt x="1322" y="502"/>
                  </a:lnTo>
                  <a:lnTo>
                    <a:pt x="1315" y="496"/>
                  </a:lnTo>
                  <a:lnTo>
                    <a:pt x="1307" y="491"/>
                  </a:lnTo>
                  <a:lnTo>
                    <a:pt x="1299" y="486"/>
                  </a:lnTo>
                  <a:lnTo>
                    <a:pt x="1273" y="544"/>
                  </a:lnTo>
                  <a:lnTo>
                    <a:pt x="1278" y="548"/>
                  </a:lnTo>
                  <a:lnTo>
                    <a:pt x="1282" y="551"/>
                  </a:lnTo>
                  <a:lnTo>
                    <a:pt x="1286" y="556"/>
                  </a:lnTo>
                  <a:lnTo>
                    <a:pt x="1289" y="562"/>
                  </a:lnTo>
                  <a:lnTo>
                    <a:pt x="1348" y="539"/>
                  </a:lnTo>
                  <a:close/>
                  <a:moveTo>
                    <a:pt x="1286" y="516"/>
                  </a:moveTo>
                  <a:lnTo>
                    <a:pt x="1299" y="486"/>
                  </a:lnTo>
                  <a:lnTo>
                    <a:pt x="1293" y="484"/>
                  </a:lnTo>
                  <a:lnTo>
                    <a:pt x="1287" y="484"/>
                  </a:lnTo>
                  <a:lnTo>
                    <a:pt x="1280" y="484"/>
                  </a:lnTo>
                  <a:lnTo>
                    <a:pt x="1274" y="485"/>
                  </a:lnTo>
                  <a:lnTo>
                    <a:pt x="1269" y="489"/>
                  </a:lnTo>
                  <a:lnTo>
                    <a:pt x="1265" y="492"/>
                  </a:lnTo>
                  <a:lnTo>
                    <a:pt x="1260" y="497"/>
                  </a:lnTo>
                  <a:lnTo>
                    <a:pt x="1256" y="502"/>
                  </a:lnTo>
                  <a:lnTo>
                    <a:pt x="1255" y="509"/>
                  </a:lnTo>
                  <a:lnTo>
                    <a:pt x="1254" y="515"/>
                  </a:lnTo>
                  <a:lnTo>
                    <a:pt x="1254" y="521"/>
                  </a:lnTo>
                  <a:lnTo>
                    <a:pt x="1256" y="526"/>
                  </a:lnTo>
                  <a:lnTo>
                    <a:pt x="1259" y="532"/>
                  </a:lnTo>
                  <a:lnTo>
                    <a:pt x="1262" y="537"/>
                  </a:lnTo>
                  <a:lnTo>
                    <a:pt x="1267" y="541"/>
                  </a:lnTo>
                  <a:lnTo>
                    <a:pt x="1273" y="544"/>
                  </a:lnTo>
                  <a:lnTo>
                    <a:pt x="1286" y="516"/>
                  </a:lnTo>
                  <a:close/>
                  <a:moveTo>
                    <a:pt x="1299" y="486"/>
                  </a:moveTo>
                  <a:lnTo>
                    <a:pt x="1299" y="486"/>
                  </a:lnTo>
                  <a:lnTo>
                    <a:pt x="1272" y="544"/>
                  </a:lnTo>
                  <a:lnTo>
                    <a:pt x="1273" y="544"/>
                  </a:lnTo>
                  <a:lnTo>
                    <a:pt x="1299" y="486"/>
                  </a:lnTo>
                  <a:close/>
                  <a:moveTo>
                    <a:pt x="1285" y="515"/>
                  </a:moveTo>
                  <a:lnTo>
                    <a:pt x="1299" y="486"/>
                  </a:lnTo>
                  <a:lnTo>
                    <a:pt x="1292" y="484"/>
                  </a:lnTo>
                  <a:lnTo>
                    <a:pt x="1286" y="483"/>
                  </a:lnTo>
                  <a:lnTo>
                    <a:pt x="1280" y="484"/>
                  </a:lnTo>
                  <a:lnTo>
                    <a:pt x="1274" y="485"/>
                  </a:lnTo>
                  <a:lnTo>
                    <a:pt x="1268" y="489"/>
                  </a:lnTo>
                  <a:lnTo>
                    <a:pt x="1263" y="492"/>
                  </a:lnTo>
                  <a:lnTo>
                    <a:pt x="1260" y="497"/>
                  </a:lnTo>
                  <a:lnTo>
                    <a:pt x="1256" y="502"/>
                  </a:lnTo>
                  <a:lnTo>
                    <a:pt x="1254" y="509"/>
                  </a:lnTo>
                  <a:lnTo>
                    <a:pt x="1253" y="515"/>
                  </a:lnTo>
                  <a:lnTo>
                    <a:pt x="1254" y="521"/>
                  </a:lnTo>
                  <a:lnTo>
                    <a:pt x="1255" y="526"/>
                  </a:lnTo>
                  <a:lnTo>
                    <a:pt x="1257" y="532"/>
                  </a:lnTo>
                  <a:lnTo>
                    <a:pt x="1262" y="537"/>
                  </a:lnTo>
                  <a:lnTo>
                    <a:pt x="1267" y="541"/>
                  </a:lnTo>
                  <a:lnTo>
                    <a:pt x="1272" y="544"/>
                  </a:lnTo>
                  <a:lnTo>
                    <a:pt x="1285" y="515"/>
                  </a:lnTo>
                  <a:close/>
                  <a:moveTo>
                    <a:pt x="1298" y="486"/>
                  </a:moveTo>
                  <a:lnTo>
                    <a:pt x="1282" y="480"/>
                  </a:lnTo>
                  <a:lnTo>
                    <a:pt x="1265" y="474"/>
                  </a:lnTo>
                  <a:lnTo>
                    <a:pt x="1243" y="470"/>
                  </a:lnTo>
                  <a:lnTo>
                    <a:pt x="1222" y="466"/>
                  </a:lnTo>
                  <a:lnTo>
                    <a:pt x="1197" y="463"/>
                  </a:lnTo>
                  <a:lnTo>
                    <a:pt x="1171" y="460"/>
                  </a:lnTo>
                  <a:lnTo>
                    <a:pt x="1144" y="459"/>
                  </a:lnTo>
                  <a:lnTo>
                    <a:pt x="1114" y="458"/>
                  </a:lnTo>
                  <a:lnTo>
                    <a:pt x="1113" y="522"/>
                  </a:lnTo>
                  <a:lnTo>
                    <a:pt x="1139" y="523"/>
                  </a:lnTo>
                  <a:lnTo>
                    <a:pt x="1164" y="524"/>
                  </a:lnTo>
                  <a:lnTo>
                    <a:pt x="1187" y="526"/>
                  </a:lnTo>
                  <a:lnTo>
                    <a:pt x="1208" y="529"/>
                  </a:lnTo>
                  <a:lnTo>
                    <a:pt x="1227" y="531"/>
                  </a:lnTo>
                  <a:lnTo>
                    <a:pt x="1244" y="535"/>
                  </a:lnTo>
                  <a:lnTo>
                    <a:pt x="1260" y="539"/>
                  </a:lnTo>
                  <a:lnTo>
                    <a:pt x="1272" y="544"/>
                  </a:lnTo>
                  <a:lnTo>
                    <a:pt x="1298" y="486"/>
                  </a:lnTo>
                  <a:close/>
                  <a:moveTo>
                    <a:pt x="1114" y="458"/>
                  </a:moveTo>
                  <a:lnTo>
                    <a:pt x="1080" y="458"/>
                  </a:lnTo>
                  <a:lnTo>
                    <a:pt x="1046" y="458"/>
                  </a:lnTo>
                  <a:lnTo>
                    <a:pt x="1009" y="459"/>
                  </a:lnTo>
                  <a:lnTo>
                    <a:pt x="971" y="460"/>
                  </a:lnTo>
                  <a:lnTo>
                    <a:pt x="932" y="463"/>
                  </a:lnTo>
                  <a:lnTo>
                    <a:pt x="893" y="465"/>
                  </a:lnTo>
                  <a:lnTo>
                    <a:pt x="853" y="468"/>
                  </a:lnTo>
                  <a:lnTo>
                    <a:pt x="812" y="472"/>
                  </a:lnTo>
                  <a:lnTo>
                    <a:pt x="819" y="536"/>
                  </a:lnTo>
                  <a:lnTo>
                    <a:pt x="858" y="532"/>
                  </a:lnTo>
                  <a:lnTo>
                    <a:pt x="897" y="529"/>
                  </a:lnTo>
                  <a:lnTo>
                    <a:pt x="936" y="526"/>
                  </a:lnTo>
                  <a:lnTo>
                    <a:pt x="974" y="524"/>
                  </a:lnTo>
                  <a:lnTo>
                    <a:pt x="1010" y="523"/>
                  </a:lnTo>
                  <a:lnTo>
                    <a:pt x="1046" y="522"/>
                  </a:lnTo>
                  <a:lnTo>
                    <a:pt x="1080" y="522"/>
                  </a:lnTo>
                  <a:lnTo>
                    <a:pt x="1113" y="522"/>
                  </a:lnTo>
                  <a:lnTo>
                    <a:pt x="1114" y="458"/>
                  </a:lnTo>
                  <a:close/>
                  <a:moveTo>
                    <a:pt x="812" y="472"/>
                  </a:moveTo>
                  <a:lnTo>
                    <a:pt x="793" y="474"/>
                  </a:lnTo>
                  <a:lnTo>
                    <a:pt x="777" y="476"/>
                  </a:lnTo>
                  <a:lnTo>
                    <a:pt x="785" y="539"/>
                  </a:lnTo>
                  <a:lnTo>
                    <a:pt x="803" y="537"/>
                  </a:lnTo>
                  <a:lnTo>
                    <a:pt x="819" y="536"/>
                  </a:lnTo>
                  <a:lnTo>
                    <a:pt x="812" y="472"/>
                  </a:lnTo>
                  <a:close/>
                  <a:moveTo>
                    <a:pt x="777" y="476"/>
                  </a:moveTo>
                  <a:lnTo>
                    <a:pt x="759" y="478"/>
                  </a:lnTo>
                  <a:lnTo>
                    <a:pt x="743" y="479"/>
                  </a:lnTo>
                  <a:lnTo>
                    <a:pt x="750" y="543"/>
                  </a:lnTo>
                  <a:lnTo>
                    <a:pt x="769" y="541"/>
                  </a:lnTo>
                  <a:lnTo>
                    <a:pt x="785" y="539"/>
                  </a:lnTo>
                  <a:lnTo>
                    <a:pt x="777" y="476"/>
                  </a:lnTo>
                  <a:close/>
                  <a:moveTo>
                    <a:pt x="747" y="511"/>
                  </a:moveTo>
                  <a:lnTo>
                    <a:pt x="743" y="479"/>
                  </a:lnTo>
                  <a:lnTo>
                    <a:pt x="736" y="480"/>
                  </a:lnTo>
                  <a:lnTo>
                    <a:pt x="730" y="483"/>
                  </a:lnTo>
                  <a:lnTo>
                    <a:pt x="725" y="486"/>
                  </a:lnTo>
                  <a:lnTo>
                    <a:pt x="722" y="491"/>
                  </a:lnTo>
                  <a:lnTo>
                    <a:pt x="718" y="496"/>
                  </a:lnTo>
                  <a:lnTo>
                    <a:pt x="716" y="502"/>
                  </a:lnTo>
                  <a:lnTo>
                    <a:pt x="715" y="508"/>
                  </a:lnTo>
                  <a:lnTo>
                    <a:pt x="715" y="515"/>
                  </a:lnTo>
                  <a:lnTo>
                    <a:pt x="716" y="521"/>
                  </a:lnTo>
                  <a:lnTo>
                    <a:pt x="718" y="526"/>
                  </a:lnTo>
                  <a:lnTo>
                    <a:pt x="722" y="531"/>
                  </a:lnTo>
                  <a:lnTo>
                    <a:pt x="727" y="536"/>
                  </a:lnTo>
                  <a:lnTo>
                    <a:pt x="731" y="539"/>
                  </a:lnTo>
                  <a:lnTo>
                    <a:pt x="737" y="542"/>
                  </a:lnTo>
                  <a:lnTo>
                    <a:pt x="743" y="543"/>
                  </a:lnTo>
                  <a:lnTo>
                    <a:pt x="750" y="543"/>
                  </a:lnTo>
                  <a:lnTo>
                    <a:pt x="747" y="511"/>
                  </a:lnTo>
                  <a:close/>
                  <a:moveTo>
                    <a:pt x="776" y="499"/>
                  </a:moveTo>
                  <a:lnTo>
                    <a:pt x="760" y="461"/>
                  </a:lnTo>
                  <a:lnTo>
                    <a:pt x="744" y="425"/>
                  </a:lnTo>
                  <a:lnTo>
                    <a:pt x="729" y="388"/>
                  </a:lnTo>
                  <a:lnTo>
                    <a:pt x="712" y="353"/>
                  </a:lnTo>
                  <a:lnTo>
                    <a:pt x="696" y="318"/>
                  </a:lnTo>
                  <a:lnTo>
                    <a:pt x="681" y="285"/>
                  </a:lnTo>
                  <a:lnTo>
                    <a:pt x="664" y="253"/>
                  </a:lnTo>
                  <a:lnTo>
                    <a:pt x="649" y="224"/>
                  </a:lnTo>
                  <a:lnTo>
                    <a:pt x="592" y="253"/>
                  </a:lnTo>
                  <a:lnTo>
                    <a:pt x="607" y="283"/>
                  </a:lnTo>
                  <a:lnTo>
                    <a:pt x="624" y="314"/>
                  </a:lnTo>
                  <a:lnTo>
                    <a:pt x="639" y="347"/>
                  </a:lnTo>
                  <a:lnTo>
                    <a:pt x="654" y="380"/>
                  </a:lnTo>
                  <a:lnTo>
                    <a:pt x="671" y="415"/>
                  </a:lnTo>
                  <a:lnTo>
                    <a:pt x="686" y="451"/>
                  </a:lnTo>
                  <a:lnTo>
                    <a:pt x="702" y="486"/>
                  </a:lnTo>
                  <a:lnTo>
                    <a:pt x="717" y="523"/>
                  </a:lnTo>
                  <a:lnTo>
                    <a:pt x="776" y="499"/>
                  </a:lnTo>
                  <a:close/>
                  <a:moveTo>
                    <a:pt x="649" y="224"/>
                  </a:moveTo>
                  <a:lnTo>
                    <a:pt x="620" y="170"/>
                  </a:lnTo>
                  <a:lnTo>
                    <a:pt x="592" y="124"/>
                  </a:lnTo>
                  <a:lnTo>
                    <a:pt x="579" y="104"/>
                  </a:lnTo>
                  <a:lnTo>
                    <a:pt x="566" y="85"/>
                  </a:lnTo>
                  <a:lnTo>
                    <a:pt x="553" y="70"/>
                  </a:lnTo>
                  <a:lnTo>
                    <a:pt x="541" y="56"/>
                  </a:lnTo>
                  <a:lnTo>
                    <a:pt x="495" y="100"/>
                  </a:lnTo>
                  <a:lnTo>
                    <a:pt x="504" y="111"/>
                  </a:lnTo>
                  <a:lnTo>
                    <a:pt x="516" y="126"/>
                  </a:lnTo>
                  <a:lnTo>
                    <a:pt x="528" y="142"/>
                  </a:lnTo>
                  <a:lnTo>
                    <a:pt x="540" y="161"/>
                  </a:lnTo>
                  <a:lnTo>
                    <a:pt x="566" y="204"/>
                  </a:lnTo>
                  <a:lnTo>
                    <a:pt x="592" y="253"/>
                  </a:lnTo>
                  <a:lnTo>
                    <a:pt x="649" y="224"/>
                  </a:lnTo>
                  <a:close/>
                  <a:moveTo>
                    <a:pt x="517" y="77"/>
                  </a:moveTo>
                  <a:lnTo>
                    <a:pt x="541" y="56"/>
                  </a:lnTo>
                  <a:lnTo>
                    <a:pt x="536" y="51"/>
                  </a:lnTo>
                  <a:lnTo>
                    <a:pt x="530" y="49"/>
                  </a:lnTo>
                  <a:lnTo>
                    <a:pt x="524" y="46"/>
                  </a:lnTo>
                  <a:lnTo>
                    <a:pt x="519" y="45"/>
                  </a:lnTo>
                  <a:lnTo>
                    <a:pt x="513" y="46"/>
                  </a:lnTo>
                  <a:lnTo>
                    <a:pt x="507" y="47"/>
                  </a:lnTo>
                  <a:lnTo>
                    <a:pt x="501" y="50"/>
                  </a:lnTo>
                  <a:lnTo>
                    <a:pt x="496" y="55"/>
                  </a:lnTo>
                  <a:lnTo>
                    <a:pt x="491" y="59"/>
                  </a:lnTo>
                  <a:lnTo>
                    <a:pt x="489" y="64"/>
                  </a:lnTo>
                  <a:lnTo>
                    <a:pt x="487" y="70"/>
                  </a:lnTo>
                  <a:lnTo>
                    <a:pt x="485" y="76"/>
                  </a:lnTo>
                  <a:lnTo>
                    <a:pt x="487" y="83"/>
                  </a:lnTo>
                  <a:lnTo>
                    <a:pt x="488" y="89"/>
                  </a:lnTo>
                  <a:lnTo>
                    <a:pt x="490" y="94"/>
                  </a:lnTo>
                  <a:lnTo>
                    <a:pt x="495" y="100"/>
                  </a:lnTo>
                  <a:lnTo>
                    <a:pt x="517" y="77"/>
                  </a:lnTo>
                  <a:close/>
                  <a:moveTo>
                    <a:pt x="545" y="61"/>
                  </a:moveTo>
                  <a:lnTo>
                    <a:pt x="533" y="43"/>
                  </a:lnTo>
                  <a:lnTo>
                    <a:pt x="480" y="78"/>
                  </a:lnTo>
                  <a:lnTo>
                    <a:pt x="491" y="95"/>
                  </a:lnTo>
                  <a:lnTo>
                    <a:pt x="545" y="61"/>
                  </a:lnTo>
                  <a:close/>
                  <a:moveTo>
                    <a:pt x="507" y="61"/>
                  </a:moveTo>
                  <a:lnTo>
                    <a:pt x="533" y="43"/>
                  </a:lnTo>
                  <a:lnTo>
                    <a:pt x="529" y="38"/>
                  </a:lnTo>
                  <a:lnTo>
                    <a:pt x="524" y="33"/>
                  </a:lnTo>
                  <a:lnTo>
                    <a:pt x="519" y="31"/>
                  </a:lnTo>
                  <a:lnTo>
                    <a:pt x="513" y="29"/>
                  </a:lnTo>
                  <a:lnTo>
                    <a:pt x="507" y="29"/>
                  </a:lnTo>
                  <a:lnTo>
                    <a:pt x="501" y="29"/>
                  </a:lnTo>
                  <a:lnTo>
                    <a:pt x="495" y="31"/>
                  </a:lnTo>
                  <a:lnTo>
                    <a:pt x="489" y="33"/>
                  </a:lnTo>
                  <a:lnTo>
                    <a:pt x="484" y="38"/>
                  </a:lnTo>
                  <a:lnTo>
                    <a:pt x="480" y="43"/>
                  </a:lnTo>
                  <a:lnTo>
                    <a:pt x="477" y="47"/>
                  </a:lnTo>
                  <a:lnTo>
                    <a:pt x="475" y="53"/>
                  </a:lnTo>
                  <a:lnTo>
                    <a:pt x="475" y="61"/>
                  </a:lnTo>
                  <a:lnTo>
                    <a:pt x="475" y="66"/>
                  </a:lnTo>
                  <a:lnTo>
                    <a:pt x="477" y="72"/>
                  </a:lnTo>
                  <a:lnTo>
                    <a:pt x="480" y="78"/>
                  </a:lnTo>
                  <a:lnTo>
                    <a:pt x="507" y="61"/>
                  </a:lnTo>
                  <a:close/>
                  <a:moveTo>
                    <a:pt x="533" y="43"/>
                  </a:moveTo>
                  <a:lnTo>
                    <a:pt x="528" y="34"/>
                  </a:lnTo>
                  <a:lnTo>
                    <a:pt x="521" y="27"/>
                  </a:lnTo>
                  <a:lnTo>
                    <a:pt x="514" y="21"/>
                  </a:lnTo>
                  <a:lnTo>
                    <a:pt x="507" y="16"/>
                  </a:lnTo>
                  <a:lnTo>
                    <a:pt x="498" y="11"/>
                  </a:lnTo>
                  <a:lnTo>
                    <a:pt x="490" y="7"/>
                  </a:lnTo>
                  <a:lnTo>
                    <a:pt x="482" y="4"/>
                  </a:lnTo>
                  <a:lnTo>
                    <a:pt x="472" y="1"/>
                  </a:lnTo>
                  <a:lnTo>
                    <a:pt x="459" y="64"/>
                  </a:lnTo>
                  <a:lnTo>
                    <a:pt x="465" y="66"/>
                  </a:lnTo>
                  <a:lnTo>
                    <a:pt x="471" y="69"/>
                  </a:lnTo>
                  <a:lnTo>
                    <a:pt x="476" y="72"/>
                  </a:lnTo>
                  <a:lnTo>
                    <a:pt x="480" y="78"/>
                  </a:lnTo>
                  <a:lnTo>
                    <a:pt x="533" y="43"/>
                  </a:lnTo>
                  <a:close/>
                  <a:moveTo>
                    <a:pt x="472" y="1"/>
                  </a:moveTo>
                  <a:lnTo>
                    <a:pt x="464" y="0"/>
                  </a:lnTo>
                  <a:lnTo>
                    <a:pt x="455" y="0"/>
                  </a:lnTo>
                  <a:lnTo>
                    <a:pt x="445" y="0"/>
                  </a:lnTo>
                  <a:lnTo>
                    <a:pt x="436" y="1"/>
                  </a:lnTo>
                  <a:lnTo>
                    <a:pt x="428" y="4"/>
                  </a:lnTo>
                  <a:lnTo>
                    <a:pt x="418" y="6"/>
                  </a:lnTo>
                  <a:lnTo>
                    <a:pt x="410" y="10"/>
                  </a:lnTo>
                  <a:lnTo>
                    <a:pt x="401" y="14"/>
                  </a:lnTo>
                  <a:lnTo>
                    <a:pt x="436" y="69"/>
                  </a:lnTo>
                  <a:lnTo>
                    <a:pt x="442" y="65"/>
                  </a:lnTo>
                  <a:lnTo>
                    <a:pt x="448" y="64"/>
                  </a:lnTo>
                  <a:lnTo>
                    <a:pt x="454" y="64"/>
                  </a:lnTo>
                  <a:lnTo>
                    <a:pt x="459" y="64"/>
                  </a:lnTo>
                  <a:lnTo>
                    <a:pt x="472" y="1"/>
                  </a:lnTo>
                  <a:close/>
                  <a:moveTo>
                    <a:pt x="418" y="42"/>
                  </a:moveTo>
                  <a:lnTo>
                    <a:pt x="401" y="14"/>
                  </a:lnTo>
                  <a:lnTo>
                    <a:pt x="396" y="19"/>
                  </a:lnTo>
                  <a:lnTo>
                    <a:pt x="392" y="24"/>
                  </a:lnTo>
                  <a:lnTo>
                    <a:pt x="388" y="29"/>
                  </a:lnTo>
                  <a:lnTo>
                    <a:pt x="387" y="34"/>
                  </a:lnTo>
                  <a:lnTo>
                    <a:pt x="386" y="42"/>
                  </a:lnTo>
                  <a:lnTo>
                    <a:pt x="387" y="47"/>
                  </a:lnTo>
                  <a:lnTo>
                    <a:pt x="388" y="53"/>
                  </a:lnTo>
                  <a:lnTo>
                    <a:pt x="392" y="59"/>
                  </a:lnTo>
                  <a:lnTo>
                    <a:pt x="396" y="64"/>
                  </a:lnTo>
                  <a:lnTo>
                    <a:pt x="400" y="68"/>
                  </a:lnTo>
                  <a:lnTo>
                    <a:pt x="406" y="71"/>
                  </a:lnTo>
                  <a:lnTo>
                    <a:pt x="411" y="74"/>
                  </a:lnTo>
                  <a:lnTo>
                    <a:pt x="418" y="74"/>
                  </a:lnTo>
                  <a:lnTo>
                    <a:pt x="424" y="74"/>
                  </a:lnTo>
                  <a:lnTo>
                    <a:pt x="430" y="71"/>
                  </a:lnTo>
                  <a:lnTo>
                    <a:pt x="436" y="69"/>
                  </a:lnTo>
                  <a:lnTo>
                    <a:pt x="418" y="42"/>
                  </a:lnTo>
                  <a:close/>
                  <a:moveTo>
                    <a:pt x="401" y="14"/>
                  </a:moveTo>
                  <a:lnTo>
                    <a:pt x="400" y="16"/>
                  </a:lnTo>
                  <a:lnTo>
                    <a:pt x="435" y="69"/>
                  </a:lnTo>
                  <a:lnTo>
                    <a:pt x="436" y="69"/>
                  </a:lnTo>
                  <a:lnTo>
                    <a:pt x="401" y="14"/>
                  </a:lnTo>
                  <a:close/>
                  <a:moveTo>
                    <a:pt x="418" y="42"/>
                  </a:moveTo>
                  <a:lnTo>
                    <a:pt x="400" y="16"/>
                  </a:lnTo>
                  <a:lnTo>
                    <a:pt x="396" y="19"/>
                  </a:lnTo>
                  <a:lnTo>
                    <a:pt x="392" y="24"/>
                  </a:lnTo>
                  <a:lnTo>
                    <a:pt x="388" y="30"/>
                  </a:lnTo>
                  <a:lnTo>
                    <a:pt x="387" y="36"/>
                  </a:lnTo>
                  <a:lnTo>
                    <a:pt x="386" y="42"/>
                  </a:lnTo>
                  <a:lnTo>
                    <a:pt x="386" y="47"/>
                  </a:lnTo>
                  <a:lnTo>
                    <a:pt x="388" y="53"/>
                  </a:lnTo>
                  <a:lnTo>
                    <a:pt x="391" y="59"/>
                  </a:lnTo>
                  <a:lnTo>
                    <a:pt x="394" y="64"/>
                  </a:lnTo>
                  <a:lnTo>
                    <a:pt x="400" y="69"/>
                  </a:lnTo>
                  <a:lnTo>
                    <a:pt x="405" y="71"/>
                  </a:lnTo>
                  <a:lnTo>
                    <a:pt x="411" y="74"/>
                  </a:lnTo>
                  <a:lnTo>
                    <a:pt x="417" y="74"/>
                  </a:lnTo>
                  <a:lnTo>
                    <a:pt x="423" y="74"/>
                  </a:lnTo>
                  <a:lnTo>
                    <a:pt x="429" y="72"/>
                  </a:lnTo>
                  <a:lnTo>
                    <a:pt x="435" y="69"/>
                  </a:lnTo>
                  <a:lnTo>
                    <a:pt x="418" y="42"/>
                  </a:lnTo>
                  <a:close/>
                  <a:moveTo>
                    <a:pt x="400" y="16"/>
                  </a:moveTo>
                  <a:lnTo>
                    <a:pt x="392" y="21"/>
                  </a:lnTo>
                  <a:lnTo>
                    <a:pt x="385" y="27"/>
                  </a:lnTo>
                  <a:lnTo>
                    <a:pt x="379" y="34"/>
                  </a:lnTo>
                  <a:lnTo>
                    <a:pt x="373" y="42"/>
                  </a:lnTo>
                  <a:lnTo>
                    <a:pt x="368" y="50"/>
                  </a:lnTo>
                  <a:lnTo>
                    <a:pt x="365" y="58"/>
                  </a:lnTo>
                  <a:lnTo>
                    <a:pt x="361" y="66"/>
                  </a:lnTo>
                  <a:lnTo>
                    <a:pt x="359" y="75"/>
                  </a:lnTo>
                  <a:lnTo>
                    <a:pt x="422" y="88"/>
                  </a:lnTo>
                  <a:lnTo>
                    <a:pt x="424" y="83"/>
                  </a:lnTo>
                  <a:lnTo>
                    <a:pt x="426" y="77"/>
                  </a:lnTo>
                  <a:lnTo>
                    <a:pt x="430" y="72"/>
                  </a:lnTo>
                  <a:lnTo>
                    <a:pt x="436" y="69"/>
                  </a:lnTo>
                  <a:lnTo>
                    <a:pt x="400" y="16"/>
                  </a:lnTo>
                  <a:close/>
                  <a:moveTo>
                    <a:pt x="359" y="75"/>
                  </a:moveTo>
                  <a:lnTo>
                    <a:pt x="358" y="84"/>
                  </a:lnTo>
                  <a:lnTo>
                    <a:pt x="358" y="92"/>
                  </a:lnTo>
                  <a:lnTo>
                    <a:pt x="358" y="102"/>
                  </a:lnTo>
                  <a:lnTo>
                    <a:pt x="359" y="111"/>
                  </a:lnTo>
                  <a:lnTo>
                    <a:pt x="361" y="120"/>
                  </a:lnTo>
                  <a:lnTo>
                    <a:pt x="364" y="129"/>
                  </a:lnTo>
                  <a:lnTo>
                    <a:pt x="367" y="137"/>
                  </a:lnTo>
                  <a:lnTo>
                    <a:pt x="372" y="146"/>
                  </a:lnTo>
                  <a:lnTo>
                    <a:pt x="426" y="111"/>
                  </a:lnTo>
                  <a:lnTo>
                    <a:pt x="423" y="105"/>
                  </a:lnTo>
                  <a:lnTo>
                    <a:pt x="422" y="100"/>
                  </a:lnTo>
                  <a:lnTo>
                    <a:pt x="422" y="94"/>
                  </a:lnTo>
                  <a:lnTo>
                    <a:pt x="422" y="88"/>
                  </a:lnTo>
                  <a:lnTo>
                    <a:pt x="359" y="75"/>
                  </a:lnTo>
                  <a:close/>
                  <a:moveTo>
                    <a:pt x="399" y="129"/>
                  </a:moveTo>
                  <a:lnTo>
                    <a:pt x="372" y="146"/>
                  </a:lnTo>
                  <a:lnTo>
                    <a:pt x="377" y="150"/>
                  </a:lnTo>
                  <a:lnTo>
                    <a:pt x="381" y="155"/>
                  </a:lnTo>
                  <a:lnTo>
                    <a:pt x="386" y="157"/>
                  </a:lnTo>
                  <a:lnTo>
                    <a:pt x="392" y="160"/>
                  </a:lnTo>
                  <a:lnTo>
                    <a:pt x="399" y="161"/>
                  </a:lnTo>
                  <a:lnTo>
                    <a:pt x="405" y="160"/>
                  </a:lnTo>
                  <a:lnTo>
                    <a:pt x="411" y="159"/>
                  </a:lnTo>
                  <a:lnTo>
                    <a:pt x="417" y="155"/>
                  </a:lnTo>
                  <a:lnTo>
                    <a:pt x="422" y="152"/>
                  </a:lnTo>
                  <a:lnTo>
                    <a:pt x="425" y="147"/>
                  </a:lnTo>
                  <a:lnTo>
                    <a:pt x="429" y="141"/>
                  </a:lnTo>
                  <a:lnTo>
                    <a:pt x="430" y="135"/>
                  </a:lnTo>
                  <a:lnTo>
                    <a:pt x="431" y="129"/>
                  </a:lnTo>
                  <a:lnTo>
                    <a:pt x="431" y="123"/>
                  </a:lnTo>
                  <a:lnTo>
                    <a:pt x="429" y="117"/>
                  </a:lnTo>
                  <a:lnTo>
                    <a:pt x="426" y="111"/>
                  </a:lnTo>
                  <a:lnTo>
                    <a:pt x="399" y="129"/>
                  </a:lnTo>
                  <a:close/>
                  <a:moveTo>
                    <a:pt x="373" y="146"/>
                  </a:moveTo>
                  <a:lnTo>
                    <a:pt x="373" y="147"/>
                  </a:lnTo>
                  <a:lnTo>
                    <a:pt x="426" y="111"/>
                  </a:lnTo>
                  <a:lnTo>
                    <a:pt x="426" y="111"/>
                  </a:lnTo>
                  <a:lnTo>
                    <a:pt x="373" y="146"/>
                  </a:lnTo>
                  <a:close/>
                  <a:moveTo>
                    <a:pt x="399" y="129"/>
                  </a:moveTo>
                  <a:lnTo>
                    <a:pt x="373" y="147"/>
                  </a:lnTo>
                  <a:lnTo>
                    <a:pt x="377" y="152"/>
                  </a:lnTo>
                  <a:lnTo>
                    <a:pt x="381" y="155"/>
                  </a:lnTo>
                  <a:lnTo>
                    <a:pt x="387" y="159"/>
                  </a:lnTo>
                  <a:lnTo>
                    <a:pt x="393" y="160"/>
                  </a:lnTo>
                  <a:lnTo>
                    <a:pt x="399" y="161"/>
                  </a:lnTo>
                  <a:lnTo>
                    <a:pt x="405" y="161"/>
                  </a:lnTo>
                  <a:lnTo>
                    <a:pt x="411" y="159"/>
                  </a:lnTo>
                  <a:lnTo>
                    <a:pt x="417" y="156"/>
                  </a:lnTo>
                  <a:lnTo>
                    <a:pt x="422" y="152"/>
                  </a:lnTo>
                  <a:lnTo>
                    <a:pt x="426" y="147"/>
                  </a:lnTo>
                  <a:lnTo>
                    <a:pt x="429" y="141"/>
                  </a:lnTo>
                  <a:lnTo>
                    <a:pt x="431" y="136"/>
                  </a:lnTo>
                  <a:lnTo>
                    <a:pt x="431" y="129"/>
                  </a:lnTo>
                  <a:lnTo>
                    <a:pt x="431" y="123"/>
                  </a:lnTo>
                  <a:lnTo>
                    <a:pt x="430" y="117"/>
                  </a:lnTo>
                  <a:lnTo>
                    <a:pt x="426" y="111"/>
                  </a:lnTo>
                  <a:lnTo>
                    <a:pt x="399" y="129"/>
                  </a:lnTo>
                  <a:close/>
                  <a:moveTo>
                    <a:pt x="373" y="147"/>
                  </a:moveTo>
                  <a:lnTo>
                    <a:pt x="386" y="167"/>
                  </a:lnTo>
                  <a:lnTo>
                    <a:pt x="439" y="131"/>
                  </a:lnTo>
                  <a:lnTo>
                    <a:pt x="426" y="111"/>
                  </a:lnTo>
                  <a:lnTo>
                    <a:pt x="373" y="147"/>
                  </a:lnTo>
                  <a:close/>
                  <a:moveTo>
                    <a:pt x="413" y="149"/>
                  </a:moveTo>
                  <a:lnTo>
                    <a:pt x="386" y="167"/>
                  </a:lnTo>
                  <a:lnTo>
                    <a:pt x="391" y="172"/>
                  </a:lnTo>
                  <a:lnTo>
                    <a:pt x="396" y="176"/>
                  </a:lnTo>
                  <a:lnTo>
                    <a:pt x="400" y="179"/>
                  </a:lnTo>
                  <a:lnTo>
                    <a:pt x="406" y="181"/>
                  </a:lnTo>
                  <a:lnTo>
                    <a:pt x="412" y="181"/>
                  </a:lnTo>
                  <a:lnTo>
                    <a:pt x="419" y="181"/>
                  </a:lnTo>
                  <a:lnTo>
                    <a:pt x="425" y="179"/>
                  </a:lnTo>
                  <a:lnTo>
                    <a:pt x="431" y="176"/>
                  </a:lnTo>
                  <a:lnTo>
                    <a:pt x="436" y="172"/>
                  </a:lnTo>
                  <a:lnTo>
                    <a:pt x="439" y="167"/>
                  </a:lnTo>
                  <a:lnTo>
                    <a:pt x="443" y="162"/>
                  </a:lnTo>
                  <a:lnTo>
                    <a:pt x="444" y="156"/>
                  </a:lnTo>
                  <a:lnTo>
                    <a:pt x="445" y="150"/>
                  </a:lnTo>
                  <a:lnTo>
                    <a:pt x="444" y="143"/>
                  </a:lnTo>
                  <a:lnTo>
                    <a:pt x="443" y="137"/>
                  </a:lnTo>
                  <a:lnTo>
                    <a:pt x="439" y="131"/>
                  </a:lnTo>
                  <a:lnTo>
                    <a:pt x="413" y="149"/>
                  </a:lnTo>
                  <a:close/>
                  <a:moveTo>
                    <a:pt x="386" y="166"/>
                  </a:moveTo>
                  <a:lnTo>
                    <a:pt x="388" y="170"/>
                  </a:lnTo>
                  <a:lnTo>
                    <a:pt x="392" y="175"/>
                  </a:lnTo>
                  <a:lnTo>
                    <a:pt x="443" y="136"/>
                  </a:lnTo>
                  <a:lnTo>
                    <a:pt x="442" y="135"/>
                  </a:lnTo>
                  <a:lnTo>
                    <a:pt x="441" y="133"/>
                  </a:lnTo>
                  <a:lnTo>
                    <a:pt x="386" y="166"/>
                  </a:lnTo>
                  <a:close/>
                  <a:moveTo>
                    <a:pt x="417" y="155"/>
                  </a:moveTo>
                  <a:lnTo>
                    <a:pt x="392" y="175"/>
                  </a:lnTo>
                  <a:lnTo>
                    <a:pt x="397" y="180"/>
                  </a:lnTo>
                  <a:lnTo>
                    <a:pt x="401" y="183"/>
                  </a:lnTo>
                  <a:lnTo>
                    <a:pt x="407" y="186"/>
                  </a:lnTo>
                  <a:lnTo>
                    <a:pt x="413" y="187"/>
                  </a:lnTo>
                  <a:lnTo>
                    <a:pt x="419" y="187"/>
                  </a:lnTo>
                  <a:lnTo>
                    <a:pt x="425" y="187"/>
                  </a:lnTo>
                  <a:lnTo>
                    <a:pt x="431" y="185"/>
                  </a:lnTo>
                  <a:lnTo>
                    <a:pt x="437" y="181"/>
                  </a:lnTo>
                  <a:lnTo>
                    <a:pt x="442" y="176"/>
                  </a:lnTo>
                  <a:lnTo>
                    <a:pt x="445" y="172"/>
                  </a:lnTo>
                  <a:lnTo>
                    <a:pt x="448" y="166"/>
                  </a:lnTo>
                  <a:lnTo>
                    <a:pt x="449" y="160"/>
                  </a:lnTo>
                  <a:lnTo>
                    <a:pt x="449" y="153"/>
                  </a:lnTo>
                  <a:lnTo>
                    <a:pt x="448" y="147"/>
                  </a:lnTo>
                  <a:lnTo>
                    <a:pt x="446" y="141"/>
                  </a:lnTo>
                  <a:lnTo>
                    <a:pt x="443" y="136"/>
                  </a:lnTo>
                  <a:lnTo>
                    <a:pt x="417" y="155"/>
                  </a:lnTo>
                  <a:close/>
                  <a:moveTo>
                    <a:pt x="392" y="175"/>
                  </a:moveTo>
                  <a:lnTo>
                    <a:pt x="396" y="180"/>
                  </a:lnTo>
                  <a:lnTo>
                    <a:pt x="400" y="183"/>
                  </a:lnTo>
                  <a:lnTo>
                    <a:pt x="445" y="139"/>
                  </a:lnTo>
                  <a:lnTo>
                    <a:pt x="444" y="137"/>
                  </a:lnTo>
                  <a:lnTo>
                    <a:pt x="442" y="136"/>
                  </a:lnTo>
                  <a:lnTo>
                    <a:pt x="392" y="175"/>
                  </a:lnTo>
                  <a:close/>
                  <a:moveTo>
                    <a:pt x="400" y="183"/>
                  </a:moveTo>
                  <a:lnTo>
                    <a:pt x="407" y="192"/>
                  </a:lnTo>
                  <a:lnTo>
                    <a:pt x="416" y="202"/>
                  </a:lnTo>
                  <a:lnTo>
                    <a:pt x="425" y="215"/>
                  </a:lnTo>
                  <a:lnTo>
                    <a:pt x="435" y="230"/>
                  </a:lnTo>
                  <a:lnTo>
                    <a:pt x="455" y="264"/>
                  </a:lnTo>
                  <a:lnTo>
                    <a:pt x="477" y="305"/>
                  </a:lnTo>
                  <a:lnTo>
                    <a:pt x="534" y="276"/>
                  </a:lnTo>
                  <a:lnTo>
                    <a:pt x="509" y="231"/>
                  </a:lnTo>
                  <a:lnTo>
                    <a:pt x="485" y="193"/>
                  </a:lnTo>
                  <a:lnTo>
                    <a:pt x="475" y="176"/>
                  </a:lnTo>
                  <a:lnTo>
                    <a:pt x="464" y="161"/>
                  </a:lnTo>
                  <a:lnTo>
                    <a:pt x="455" y="149"/>
                  </a:lnTo>
                  <a:lnTo>
                    <a:pt x="445" y="139"/>
                  </a:lnTo>
                  <a:lnTo>
                    <a:pt x="400" y="183"/>
                  </a:lnTo>
                  <a:close/>
                  <a:moveTo>
                    <a:pt x="477" y="305"/>
                  </a:moveTo>
                  <a:lnTo>
                    <a:pt x="490" y="330"/>
                  </a:lnTo>
                  <a:lnTo>
                    <a:pt x="503" y="357"/>
                  </a:lnTo>
                  <a:lnTo>
                    <a:pt x="517" y="385"/>
                  </a:lnTo>
                  <a:lnTo>
                    <a:pt x="530" y="414"/>
                  </a:lnTo>
                  <a:lnTo>
                    <a:pt x="545" y="444"/>
                  </a:lnTo>
                  <a:lnTo>
                    <a:pt x="559" y="476"/>
                  </a:lnTo>
                  <a:lnTo>
                    <a:pt x="572" y="508"/>
                  </a:lnTo>
                  <a:lnTo>
                    <a:pt x="586" y="539"/>
                  </a:lnTo>
                  <a:lnTo>
                    <a:pt x="645" y="516"/>
                  </a:lnTo>
                  <a:lnTo>
                    <a:pt x="631" y="483"/>
                  </a:lnTo>
                  <a:lnTo>
                    <a:pt x="617" y="450"/>
                  </a:lnTo>
                  <a:lnTo>
                    <a:pt x="602" y="418"/>
                  </a:lnTo>
                  <a:lnTo>
                    <a:pt x="588" y="387"/>
                  </a:lnTo>
                  <a:lnTo>
                    <a:pt x="574" y="357"/>
                  </a:lnTo>
                  <a:lnTo>
                    <a:pt x="561" y="329"/>
                  </a:lnTo>
                  <a:lnTo>
                    <a:pt x="547" y="302"/>
                  </a:lnTo>
                  <a:lnTo>
                    <a:pt x="534" y="276"/>
                  </a:lnTo>
                  <a:lnTo>
                    <a:pt x="477" y="305"/>
                  </a:lnTo>
                  <a:close/>
                  <a:moveTo>
                    <a:pt x="615" y="528"/>
                  </a:moveTo>
                  <a:lnTo>
                    <a:pt x="586" y="539"/>
                  </a:lnTo>
                  <a:lnTo>
                    <a:pt x="589" y="545"/>
                  </a:lnTo>
                  <a:lnTo>
                    <a:pt x="593" y="550"/>
                  </a:lnTo>
                  <a:lnTo>
                    <a:pt x="598" y="555"/>
                  </a:lnTo>
                  <a:lnTo>
                    <a:pt x="604" y="557"/>
                  </a:lnTo>
                  <a:lnTo>
                    <a:pt x="610" y="560"/>
                  </a:lnTo>
                  <a:lnTo>
                    <a:pt x="615" y="560"/>
                  </a:lnTo>
                  <a:lnTo>
                    <a:pt x="621" y="560"/>
                  </a:lnTo>
                  <a:lnTo>
                    <a:pt x="627" y="557"/>
                  </a:lnTo>
                  <a:lnTo>
                    <a:pt x="633" y="554"/>
                  </a:lnTo>
                  <a:lnTo>
                    <a:pt x="638" y="550"/>
                  </a:lnTo>
                  <a:lnTo>
                    <a:pt x="643" y="545"/>
                  </a:lnTo>
                  <a:lnTo>
                    <a:pt x="645" y="539"/>
                  </a:lnTo>
                  <a:lnTo>
                    <a:pt x="647" y="534"/>
                  </a:lnTo>
                  <a:lnTo>
                    <a:pt x="647" y="528"/>
                  </a:lnTo>
                  <a:lnTo>
                    <a:pt x="647" y="522"/>
                  </a:lnTo>
                  <a:lnTo>
                    <a:pt x="645" y="516"/>
                  </a:lnTo>
                  <a:lnTo>
                    <a:pt x="615" y="528"/>
                  </a:lnTo>
                  <a:close/>
                  <a:moveTo>
                    <a:pt x="611" y="496"/>
                  </a:moveTo>
                  <a:lnTo>
                    <a:pt x="578" y="500"/>
                  </a:lnTo>
                  <a:lnTo>
                    <a:pt x="546" y="506"/>
                  </a:lnTo>
                  <a:lnTo>
                    <a:pt x="514" y="511"/>
                  </a:lnTo>
                  <a:lnTo>
                    <a:pt x="483" y="516"/>
                  </a:lnTo>
                  <a:lnTo>
                    <a:pt x="452" y="522"/>
                  </a:lnTo>
                  <a:lnTo>
                    <a:pt x="423" y="528"/>
                  </a:lnTo>
                  <a:lnTo>
                    <a:pt x="394" y="532"/>
                  </a:lnTo>
                  <a:lnTo>
                    <a:pt x="367" y="538"/>
                  </a:lnTo>
                  <a:lnTo>
                    <a:pt x="381" y="601"/>
                  </a:lnTo>
                  <a:lnTo>
                    <a:pt x="407" y="595"/>
                  </a:lnTo>
                  <a:lnTo>
                    <a:pt x="436" y="590"/>
                  </a:lnTo>
                  <a:lnTo>
                    <a:pt x="464" y="584"/>
                  </a:lnTo>
                  <a:lnTo>
                    <a:pt x="494" y="580"/>
                  </a:lnTo>
                  <a:lnTo>
                    <a:pt x="524" y="574"/>
                  </a:lnTo>
                  <a:lnTo>
                    <a:pt x="555" y="569"/>
                  </a:lnTo>
                  <a:lnTo>
                    <a:pt x="587" y="564"/>
                  </a:lnTo>
                  <a:lnTo>
                    <a:pt x="620" y="560"/>
                  </a:lnTo>
                  <a:lnTo>
                    <a:pt x="611" y="496"/>
                  </a:lnTo>
                  <a:close/>
                  <a:moveTo>
                    <a:pt x="367" y="538"/>
                  </a:moveTo>
                  <a:lnTo>
                    <a:pt x="319" y="549"/>
                  </a:lnTo>
                  <a:lnTo>
                    <a:pt x="275" y="561"/>
                  </a:lnTo>
                  <a:lnTo>
                    <a:pt x="237" y="571"/>
                  </a:lnTo>
                  <a:lnTo>
                    <a:pt x="206" y="583"/>
                  </a:lnTo>
                  <a:lnTo>
                    <a:pt x="230" y="642"/>
                  </a:lnTo>
                  <a:lnTo>
                    <a:pt x="258" y="632"/>
                  </a:lnTo>
                  <a:lnTo>
                    <a:pt x="293" y="622"/>
                  </a:lnTo>
                  <a:lnTo>
                    <a:pt x="334" y="612"/>
                  </a:lnTo>
                  <a:lnTo>
                    <a:pt x="381" y="601"/>
                  </a:lnTo>
                  <a:lnTo>
                    <a:pt x="367" y="538"/>
                  </a:lnTo>
                  <a:close/>
                  <a:moveTo>
                    <a:pt x="206" y="583"/>
                  </a:moveTo>
                  <a:lnTo>
                    <a:pt x="202" y="584"/>
                  </a:lnTo>
                  <a:lnTo>
                    <a:pt x="192" y="587"/>
                  </a:lnTo>
                  <a:lnTo>
                    <a:pt x="205" y="648"/>
                  </a:lnTo>
                  <a:lnTo>
                    <a:pt x="219" y="646"/>
                  </a:lnTo>
                  <a:lnTo>
                    <a:pt x="230" y="642"/>
                  </a:lnTo>
                  <a:lnTo>
                    <a:pt x="206" y="583"/>
                  </a:lnTo>
                  <a:close/>
                  <a:moveTo>
                    <a:pt x="199" y="617"/>
                  </a:moveTo>
                  <a:lnTo>
                    <a:pt x="192" y="587"/>
                  </a:lnTo>
                  <a:lnTo>
                    <a:pt x="186" y="588"/>
                  </a:lnTo>
                  <a:lnTo>
                    <a:pt x="180" y="591"/>
                  </a:lnTo>
                  <a:lnTo>
                    <a:pt x="176" y="595"/>
                  </a:lnTo>
                  <a:lnTo>
                    <a:pt x="172" y="600"/>
                  </a:lnTo>
                  <a:lnTo>
                    <a:pt x="170" y="606"/>
                  </a:lnTo>
                  <a:lnTo>
                    <a:pt x="167" y="612"/>
                  </a:lnTo>
                  <a:lnTo>
                    <a:pt x="167" y="617"/>
                  </a:lnTo>
                  <a:lnTo>
                    <a:pt x="167" y="625"/>
                  </a:lnTo>
                  <a:lnTo>
                    <a:pt x="170" y="630"/>
                  </a:lnTo>
                  <a:lnTo>
                    <a:pt x="173" y="636"/>
                  </a:lnTo>
                  <a:lnTo>
                    <a:pt x="177" y="641"/>
                  </a:lnTo>
                  <a:lnTo>
                    <a:pt x="182" y="645"/>
                  </a:lnTo>
                  <a:lnTo>
                    <a:pt x="188" y="647"/>
                  </a:lnTo>
                  <a:lnTo>
                    <a:pt x="193" y="649"/>
                  </a:lnTo>
                  <a:lnTo>
                    <a:pt x="199" y="649"/>
                  </a:lnTo>
                  <a:lnTo>
                    <a:pt x="205" y="648"/>
                  </a:lnTo>
                  <a:lnTo>
                    <a:pt x="199" y="617"/>
                  </a:lnTo>
                  <a:close/>
                  <a:moveTo>
                    <a:pt x="192" y="587"/>
                  </a:moveTo>
                  <a:lnTo>
                    <a:pt x="177" y="589"/>
                  </a:lnTo>
                  <a:lnTo>
                    <a:pt x="158" y="593"/>
                  </a:lnTo>
                  <a:lnTo>
                    <a:pt x="169" y="655"/>
                  </a:lnTo>
                  <a:lnTo>
                    <a:pt x="179" y="654"/>
                  </a:lnTo>
                  <a:lnTo>
                    <a:pt x="189" y="652"/>
                  </a:lnTo>
                  <a:lnTo>
                    <a:pt x="197" y="651"/>
                  </a:lnTo>
                  <a:lnTo>
                    <a:pt x="205" y="648"/>
                  </a:lnTo>
                  <a:lnTo>
                    <a:pt x="192" y="587"/>
                  </a:lnTo>
                  <a:close/>
                  <a:moveTo>
                    <a:pt x="164" y="625"/>
                  </a:moveTo>
                  <a:lnTo>
                    <a:pt x="158" y="593"/>
                  </a:lnTo>
                  <a:lnTo>
                    <a:pt x="152" y="595"/>
                  </a:lnTo>
                  <a:lnTo>
                    <a:pt x="146" y="597"/>
                  </a:lnTo>
                  <a:lnTo>
                    <a:pt x="141" y="601"/>
                  </a:lnTo>
                  <a:lnTo>
                    <a:pt x="138" y="606"/>
                  </a:lnTo>
                  <a:lnTo>
                    <a:pt x="134" y="612"/>
                  </a:lnTo>
                  <a:lnTo>
                    <a:pt x="133" y="617"/>
                  </a:lnTo>
                  <a:lnTo>
                    <a:pt x="132" y="623"/>
                  </a:lnTo>
                  <a:lnTo>
                    <a:pt x="132" y="629"/>
                  </a:lnTo>
                  <a:lnTo>
                    <a:pt x="134" y="635"/>
                  </a:lnTo>
                  <a:lnTo>
                    <a:pt x="137" y="641"/>
                  </a:lnTo>
                  <a:lnTo>
                    <a:pt x="140" y="646"/>
                  </a:lnTo>
                  <a:lnTo>
                    <a:pt x="145" y="651"/>
                  </a:lnTo>
                  <a:lnTo>
                    <a:pt x="151" y="653"/>
                  </a:lnTo>
                  <a:lnTo>
                    <a:pt x="157" y="655"/>
                  </a:lnTo>
                  <a:lnTo>
                    <a:pt x="163" y="657"/>
                  </a:lnTo>
                  <a:lnTo>
                    <a:pt x="169" y="655"/>
                  </a:lnTo>
                  <a:lnTo>
                    <a:pt x="164" y="625"/>
                  </a:lnTo>
                  <a:close/>
                  <a:moveTo>
                    <a:pt x="159" y="593"/>
                  </a:moveTo>
                  <a:lnTo>
                    <a:pt x="148" y="594"/>
                  </a:lnTo>
                  <a:lnTo>
                    <a:pt x="138" y="596"/>
                  </a:lnTo>
                  <a:lnTo>
                    <a:pt x="128" y="597"/>
                  </a:lnTo>
                  <a:lnTo>
                    <a:pt x="118" y="599"/>
                  </a:lnTo>
                  <a:lnTo>
                    <a:pt x="126" y="662"/>
                  </a:lnTo>
                  <a:lnTo>
                    <a:pt x="135" y="661"/>
                  </a:lnTo>
                  <a:lnTo>
                    <a:pt x="146" y="659"/>
                  </a:lnTo>
                  <a:lnTo>
                    <a:pt x="157" y="658"/>
                  </a:lnTo>
                  <a:lnTo>
                    <a:pt x="169" y="655"/>
                  </a:lnTo>
                  <a:lnTo>
                    <a:pt x="159" y="593"/>
                  </a:lnTo>
                  <a:close/>
                  <a:moveTo>
                    <a:pt x="118" y="599"/>
                  </a:moveTo>
                  <a:lnTo>
                    <a:pt x="104" y="600"/>
                  </a:lnTo>
                  <a:lnTo>
                    <a:pt x="95" y="601"/>
                  </a:lnTo>
                  <a:lnTo>
                    <a:pt x="95" y="665"/>
                  </a:lnTo>
                  <a:lnTo>
                    <a:pt x="108" y="664"/>
                  </a:lnTo>
                  <a:lnTo>
                    <a:pt x="126" y="662"/>
                  </a:lnTo>
                  <a:lnTo>
                    <a:pt x="118" y="599"/>
                  </a:lnTo>
                  <a:close/>
                  <a:moveTo>
                    <a:pt x="95" y="601"/>
                  </a:moveTo>
                  <a:lnTo>
                    <a:pt x="85" y="601"/>
                  </a:lnTo>
                  <a:lnTo>
                    <a:pt x="75" y="603"/>
                  </a:lnTo>
                  <a:lnTo>
                    <a:pt x="67" y="606"/>
                  </a:lnTo>
                  <a:lnTo>
                    <a:pt x="57" y="608"/>
                  </a:lnTo>
                  <a:lnTo>
                    <a:pt x="49" y="613"/>
                  </a:lnTo>
                  <a:lnTo>
                    <a:pt x="41" y="617"/>
                  </a:lnTo>
                  <a:lnTo>
                    <a:pt x="34" y="622"/>
                  </a:lnTo>
                  <a:lnTo>
                    <a:pt x="27" y="629"/>
                  </a:lnTo>
                  <a:lnTo>
                    <a:pt x="72" y="674"/>
                  </a:lnTo>
                  <a:lnTo>
                    <a:pt x="76" y="671"/>
                  </a:lnTo>
                  <a:lnTo>
                    <a:pt x="82" y="667"/>
                  </a:lnTo>
                  <a:lnTo>
                    <a:pt x="88" y="666"/>
                  </a:lnTo>
                  <a:lnTo>
                    <a:pt x="95" y="665"/>
                  </a:lnTo>
                  <a:lnTo>
                    <a:pt x="95" y="601"/>
                  </a:lnTo>
                  <a:close/>
                  <a:moveTo>
                    <a:pt x="27" y="629"/>
                  </a:moveTo>
                  <a:lnTo>
                    <a:pt x="21" y="635"/>
                  </a:lnTo>
                  <a:lnTo>
                    <a:pt x="15" y="642"/>
                  </a:lnTo>
                  <a:lnTo>
                    <a:pt x="10" y="651"/>
                  </a:lnTo>
                  <a:lnTo>
                    <a:pt x="7" y="659"/>
                  </a:lnTo>
                  <a:lnTo>
                    <a:pt x="3" y="668"/>
                  </a:lnTo>
                  <a:lnTo>
                    <a:pt x="1" y="677"/>
                  </a:lnTo>
                  <a:lnTo>
                    <a:pt x="0" y="686"/>
                  </a:lnTo>
                  <a:lnTo>
                    <a:pt x="0" y="697"/>
                  </a:lnTo>
                  <a:lnTo>
                    <a:pt x="63" y="697"/>
                  </a:lnTo>
                  <a:lnTo>
                    <a:pt x="63" y="690"/>
                  </a:lnTo>
                  <a:lnTo>
                    <a:pt x="66" y="684"/>
                  </a:lnTo>
                  <a:lnTo>
                    <a:pt x="68" y="679"/>
                  </a:lnTo>
                  <a:lnTo>
                    <a:pt x="72" y="674"/>
                  </a:lnTo>
                  <a:lnTo>
                    <a:pt x="27" y="629"/>
                  </a:lnTo>
                  <a:close/>
                  <a:moveTo>
                    <a:pt x="0" y="697"/>
                  </a:moveTo>
                  <a:lnTo>
                    <a:pt x="0" y="706"/>
                  </a:lnTo>
                  <a:lnTo>
                    <a:pt x="1" y="716"/>
                  </a:lnTo>
                  <a:lnTo>
                    <a:pt x="3" y="724"/>
                  </a:lnTo>
                  <a:lnTo>
                    <a:pt x="7" y="733"/>
                  </a:lnTo>
                  <a:lnTo>
                    <a:pt x="10" y="742"/>
                  </a:lnTo>
                  <a:lnTo>
                    <a:pt x="15" y="750"/>
                  </a:lnTo>
                  <a:lnTo>
                    <a:pt x="21" y="757"/>
                  </a:lnTo>
                  <a:lnTo>
                    <a:pt x="27" y="764"/>
                  </a:lnTo>
                  <a:lnTo>
                    <a:pt x="72" y="718"/>
                  </a:lnTo>
                  <a:lnTo>
                    <a:pt x="68" y="713"/>
                  </a:lnTo>
                  <a:lnTo>
                    <a:pt x="66" y="709"/>
                  </a:lnTo>
                  <a:lnTo>
                    <a:pt x="63" y="703"/>
                  </a:lnTo>
                  <a:lnTo>
                    <a:pt x="63" y="697"/>
                  </a:lnTo>
                  <a:lnTo>
                    <a:pt x="0" y="697"/>
                  </a:lnTo>
                  <a:close/>
                  <a:moveTo>
                    <a:pt x="27" y="764"/>
                  </a:moveTo>
                  <a:lnTo>
                    <a:pt x="34" y="770"/>
                  </a:lnTo>
                  <a:lnTo>
                    <a:pt x="41" y="775"/>
                  </a:lnTo>
                  <a:lnTo>
                    <a:pt x="49" y="779"/>
                  </a:lnTo>
                  <a:lnTo>
                    <a:pt x="57" y="784"/>
                  </a:lnTo>
                  <a:lnTo>
                    <a:pt x="67" y="788"/>
                  </a:lnTo>
                  <a:lnTo>
                    <a:pt x="75" y="789"/>
                  </a:lnTo>
                  <a:lnTo>
                    <a:pt x="85" y="791"/>
                  </a:lnTo>
                  <a:lnTo>
                    <a:pt x="95" y="791"/>
                  </a:lnTo>
                  <a:lnTo>
                    <a:pt x="95" y="727"/>
                  </a:lnTo>
                  <a:lnTo>
                    <a:pt x="88" y="727"/>
                  </a:lnTo>
                  <a:lnTo>
                    <a:pt x="82" y="725"/>
                  </a:lnTo>
                  <a:lnTo>
                    <a:pt x="76" y="723"/>
                  </a:lnTo>
                  <a:lnTo>
                    <a:pt x="72" y="718"/>
                  </a:lnTo>
                  <a:lnTo>
                    <a:pt x="27" y="764"/>
                  </a:lnTo>
                  <a:close/>
                  <a:moveTo>
                    <a:pt x="95" y="791"/>
                  </a:moveTo>
                  <a:lnTo>
                    <a:pt x="102" y="791"/>
                  </a:lnTo>
                  <a:lnTo>
                    <a:pt x="113" y="790"/>
                  </a:lnTo>
                  <a:lnTo>
                    <a:pt x="124" y="790"/>
                  </a:lnTo>
                  <a:lnTo>
                    <a:pt x="135" y="788"/>
                  </a:lnTo>
                  <a:lnTo>
                    <a:pt x="128" y="725"/>
                  </a:lnTo>
                  <a:lnTo>
                    <a:pt x="109" y="726"/>
                  </a:lnTo>
                  <a:lnTo>
                    <a:pt x="95" y="727"/>
                  </a:lnTo>
                  <a:lnTo>
                    <a:pt x="95" y="791"/>
                  </a:lnTo>
                  <a:close/>
                  <a:moveTo>
                    <a:pt x="135" y="788"/>
                  </a:moveTo>
                  <a:lnTo>
                    <a:pt x="148" y="787"/>
                  </a:lnTo>
                  <a:lnTo>
                    <a:pt x="163" y="784"/>
                  </a:lnTo>
                  <a:lnTo>
                    <a:pt x="177" y="783"/>
                  </a:lnTo>
                  <a:lnTo>
                    <a:pt x="191" y="781"/>
                  </a:lnTo>
                  <a:lnTo>
                    <a:pt x="180" y="717"/>
                  </a:lnTo>
                  <a:lnTo>
                    <a:pt x="167" y="719"/>
                  </a:lnTo>
                  <a:lnTo>
                    <a:pt x="154" y="722"/>
                  </a:lnTo>
                  <a:lnTo>
                    <a:pt x="141" y="723"/>
                  </a:lnTo>
                  <a:lnTo>
                    <a:pt x="128" y="725"/>
                  </a:lnTo>
                  <a:lnTo>
                    <a:pt x="135" y="788"/>
                  </a:lnTo>
                  <a:close/>
                  <a:moveTo>
                    <a:pt x="191" y="781"/>
                  </a:moveTo>
                  <a:lnTo>
                    <a:pt x="204" y="778"/>
                  </a:lnTo>
                  <a:lnTo>
                    <a:pt x="217" y="776"/>
                  </a:lnTo>
                  <a:lnTo>
                    <a:pt x="230" y="772"/>
                  </a:lnTo>
                  <a:lnTo>
                    <a:pt x="242" y="770"/>
                  </a:lnTo>
                  <a:lnTo>
                    <a:pt x="227" y="709"/>
                  </a:lnTo>
                  <a:lnTo>
                    <a:pt x="216" y="711"/>
                  </a:lnTo>
                  <a:lnTo>
                    <a:pt x="204" y="713"/>
                  </a:lnTo>
                  <a:lnTo>
                    <a:pt x="192" y="716"/>
                  </a:lnTo>
                  <a:lnTo>
                    <a:pt x="180" y="717"/>
                  </a:lnTo>
                  <a:lnTo>
                    <a:pt x="191" y="781"/>
                  </a:lnTo>
                  <a:close/>
                  <a:moveTo>
                    <a:pt x="234" y="739"/>
                  </a:moveTo>
                  <a:lnTo>
                    <a:pt x="242" y="770"/>
                  </a:lnTo>
                  <a:lnTo>
                    <a:pt x="248" y="768"/>
                  </a:lnTo>
                  <a:lnTo>
                    <a:pt x="253" y="765"/>
                  </a:lnTo>
                  <a:lnTo>
                    <a:pt x="257" y="761"/>
                  </a:lnTo>
                  <a:lnTo>
                    <a:pt x="261" y="756"/>
                  </a:lnTo>
                  <a:lnTo>
                    <a:pt x="264" y="750"/>
                  </a:lnTo>
                  <a:lnTo>
                    <a:pt x="266" y="744"/>
                  </a:lnTo>
                  <a:lnTo>
                    <a:pt x="266" y="738"/>
                  </a:lnTo>
                  <a:lnTo>
                    <a:pt x="266" y="732"/>
                  </a:lnTo>
                  <a:lnTo>
                    <a:pt x="263" y="726"/>
                  </a:lnTo>
                  <a:lnTo>
                    <a:pt x="260" y="720"/>
                  </a:lnTo>
                  <a:lnTo>
                    <a:pt x="256" y="716"/>
                  </a:lnTo>
                  <a:lnTo>
                    <a:pt x="251" y="712"/>
                  </a:lnTo>
                  <a:lnTo>
                    <a:pt x="245" y="710"/>
                  </a:lnTo>
                  <a:lnTo>
                    <a:pt x="240" y="707"/>
                  </a:lnTo>
                  <a:lnTo>
                    <a:pt x="234" y="707"/>
                  </a:lnTo>
                  <a:lnTo>
                    <a:pt x="227" y="709"/>
                  </a:lnTo>
                  <a:lnTo>
                    <a:pt x="234" y="739"/>
                  </a:lnTo>
                  <a:close/>
                  <a:moveTo>
                    <a:pt x="242" y="770"/>
                  </a:moveTo>
                  <a:lnTo>
                    <a:pt x="253" y="768"/>
                  </a:lnTo>
                  <a:lnTo>
                    <a:pt x="262" y="765"/>
                  </a:lnTo>
                  <a:lnTo>
                    <a:pt x="270" y="762"/>
                  </a:lnTo>
                  <a:lnTo>
                    <a:pt x="279" y="759"/>
                  </a:lnTo>
                  <a:lnTo>
                    <a:pt x="254" y="700"/>
                  </a:lnTo>
                  <a:lnTo>
                    <a:pt x="243" y="704"/>
                  </a:lnTo>
                  <a:lnTo>
                    <a:pt x="227" y="709"/>
                  </a:lnTo>
                  <a:lnTo>
                    <a:pt x="242" y="770"/>
                  </a:lnTo>
                  <a:close/>
                  <a:moveTo>
                    <a:pt x="267" y="730"/>
                  </a:moveTo>
                  <a:lnTo>
                    <a:pt x="279" y="759"/>
                  </a:lnTo>
                  <a:lnTo>
                    <a:pt x="284" y="756"/>
                  </a:lnTo>
                  <a:lnTo>
                    <a:pt x="289" y="752"/>
                  </a:lnTo>
                  <a:lnTo>
                    <a:pt x="293" y="748"/>
                  </a:lnTo>
                  <a:lnTo>
                    <a:pt x="295" y="742"/>
                  </a:lnTo>
                  <a:lnTo>
                    <a:pt x="297" y="736"/>
                  </a:lnTo>
                  <a:lnTo>
                    <a:pt x="299" y="730"/>
                  </a:lnTo>
                  <a:lnTo>
                    <a:pt x="297" y="724"/>
                  </a:lnTo>
                  <a:lnTo>
                    <a:pt x="296" y="718"/>
                  </a:lnTo>
                  <a:lnTo>
                    <a:pt x="293" y="712"/>
                  </a:lnTo>
                  <a:lnTo>
                    <a:pt x="289" y="707"/>
                  </a:lnTo>
                  <a:lnTo>
                    <a:pt x="284" y="703"/>
                  </a:lnTo>
                  <a:lnTo>
                    <a:pt x="279" y="700"/>
                  </a:lnTo>
                  <a:lnTo>
                    <a:pt x="273" y="698"/>
                  </a:lnTo>
                  <a:lnTo>
                    <a:pt x="267" y="698"/>
                  </a:lnTo>
                  <a:lnTo>
                    <a:pt x="261" y="698"/>
                  </a:lnTo>
                  <a:lnTo>
                    <a:pt x="254" y="700"/>
                  </a:lnTo>
                  <a:lnTo>
                    <a:pt x="267" y="730"/>
                  </a:lnTo>
                  <a:close/>
                  <a:moveTo>
                    <a:pt x="279" y="759"/>
                  </a:moveTo>
                  <a:lnTo>
                    <a:pt x="306" y="750"/>
                  </a:lnTo>
                  <a:lnTo>
                    <a:pt x="340" y="739"/>
                  </a:lnTo>
                  <a:lnTo>
                    <a:pt x="380" y="730"/>
                  </a:lnTo>
                  <a:lnTo>
                    <a:pt x="428" y="719"/>
                  </a:lnTo>
                  <a:lnTo>
                    <a:pt x="415" y="658"/>
                  </a:lnTo>
                  <a:lnTo>
                    <a:pt x="365" y="668"/>
                  </a:lnTo>
                  <a:lnTo>
                    <a:pt x="321" y="679"/>
                  </a:lnTo>
                  <a:lnTo>
                    <a:pt x="284" y="690"/>
                  </a:lnTo>
                  <a:lnTo>
                    <a:pt x="255" y="700"/>
                  </a:lnTo>
                  <a:lnTo>
                    <a:pt x="279" y="759"/>
                  </a:lnTo>
                  <a:close/>
                  <a:moveTo>
                    <a:pt x="428" y="719"/>
                  </a:moveTo>
                  <a:lnTo>
                    <a:pt x="454" y="714"/>
                  </a:lnTo>
                  <a:lnTo>
                    <a:pt x="482" y="710"/>
                  </a:lnTo>
                  <a:lnTo>
                    <a:pt x="511" y="704"/>
                  </a:lnTo>
                  <a:lnTo>
                    <a:pt x="541" y="699"/>
                  </a:lnTo>
                  <a:lnTo>
                    <a:pt x="572" y="694"/>
                  </a:lnTo>
                  <a:lnTo>
                    <a:pt x="604" y="690"/>
                  </a:lnTo>
                  <a:lnTo>
                    <a:pt x="636" y="685"/>
                  </a:lnTo>
                  <a:lnTo>
                    <a:pt x="668" y="680"/>
                  </a:lnTo>
                  <a:lnTo>
                    <a:pt x="659" y="616"/>
                  </a:lnTo>
                  <a:lnTo>
                    <a:pt x="626" y="621"/>
                  </a:lnTo>
                  <a:lnTo>
                    <a:pt x="594" y="626"/>
                  </a:lnTo>
                  <a:lnTo>
                    <a:pt x="562" y="630"/>
                  </a:lnTo>
                  <a:lnTo>
                    <a:pt x="530" y="636"/>
                  </a:lnTo>
                  <a:lnTo>
                    <a:pt x="500" y="641"/>
                  </a:lnTo>
                  <a:lnTo>
                    <a:pt x="470" y="647"/>
                  </a:lnTo>
                  <a:lnTo>
                    <a:pt x="442" y="652"/>
                  </a:lnTo>
                  <a:lnTo>
                    <a:pt x="415" y="658"/>
                  </a:lnTo>
                  <a:lnTo>
                    <a:pt x="428" y="719"/>
                  </a:lnTo>
                  <a:close/>
                  <a:moveTo>
                    <a:pt x="664" y="648"/>
                  </a:moveTo>
                  <a:lnTo>
                    <a:pt x="668" y="680"/>
                  </a:lnTo>
                  <a:lnTo>
                    <a:pt x="675" y="679"/>
                  </a:lnTo>
                  <a:lnTo>
                    <a:pt x="681" y="675"/>
                  </a:lnTo>
                  <a:lnTo>
                    <a:pt x="685" y="672"/>
                  </a:lnTo>
                  <a:lnTo>
                    <a:pt x="689" y="668"/>
                  </a:lnTo>
                  <a:lnTo>
                    <a:pt x="692" y="662"/>
                  </a:lnTo>
                  <a:lnTo>
                    <a:pt x="695" y="657"/>
                  </a:lnTo>
                  <a:lnTo>
                    <a:pt x="696" y="651"/>
                  </a:lnTo>
                  <a:lnTo>
                    <a:pt x="696" y="645"/>
                  </a:lnTo>
                  <a:lnTo>
                    <a:pt x="694" y="638"/>
                  </a:lnTo>
                  <a:lnTo>
                    <a:pt x="691" y="633"/>
                  </a:lnTo>
                  <a:lnTo>
                    <a:pt x="688" y="627"/>
                  </a:lnTo>
                  <a:lnTo>
                    <a:pt x="683" y="623"/>
                  </a:lnTo>
                  <a:lnTo>
                    <a:pt x="678" y="620"/>
                  </a:lnTo>
                  <a:lnTo>
                    <a:pt x="672" y="617"/>
                  </a:lnTo>
                  <a:lnTo>
                    <a:pt x="666" y="616"/>
                  </a:lnTo>
                  <a:lnTo>
                    <a:pt x="659" y="616"/>
                  </a:lnTo>
                  <a:lnTo>
                    <a:pt x="664" y="648"/>
                  </a:lnTo>
                  <a:close/>
                  <a:moveTo>
                    <a:pt x="634" y="660"/>
                  </a:moveTo>
                  <a:lnTo>
                    <a:pt x="647" y="697"/>
                  </a:lnTo>
                  <a:lnTo>
                    <a:pt x="662" y="733"/>
                  </a:lnTo>
                  <a:lnTo>
                    <a:pt x="675" y="769"/>
                  </a:lnTo>
                  <a:lnTo>
                    <a:pt x="686" y="804"/>
                  </a:lnTo>
                  <a:lnTo>
                    <a:pt x="697" y="839"/>
                  </a:lnTo>
                  <a:lnTo>
                    <a:pt x="708" y="872"/>
                  </a:lnTo>
                  <a:lnTo>
                    <a:pt x="718" y="905"/>
                  </a:lnTo>
                  <a:lnTo>
                    <a:pt x="727" y="936"/>
                  </a:lnTo>
                  <a:lnTo>
                    <a:pt x="788" y="919"/>
                  </a:lnTo>
                  <a:lnTo>
                    <a:pt x="780" y="887"/>
                  </a:lnTo>
                  <a:lnTo>
                    <a:pt x="769" y="853"/>
                  </a:lnTo>
                  <a:lnTo>
                    <a:pt x="759" y="819"/>
                  </a:lnTo>
                  <a:lnTo>
                    <a:pt x="747" y="783"/>
                  </a:lnTo>
                  <a:lnTo>
                    <a:pt x="734" y="748"/>
                  </a:lnTo>
                  <a:lnTo>
                    <a:pt x="721" y="711"/>
                  </a:lnTo>
                  <a:lnTo>
                    <a:pt x="708" y="674"/>
                  </a:lnTo>
                  <a:lnTo>
                    <a:pt x="694" y="638"/>
                  </a:lnTo>
                  <a:lnTo>
                    <a:pt x="634" y="660"/>
                  </a:lnTo>
                  <a:close/>
                  <a:moveTo>
                    <a:pt x="727" y="936"/>
                  </a:moveTo>
                  <a:lnTo>
                    <a:pt x="741" y="988"/>
                  </a:lnTo>
                  <a:lnTo>
                    <a:pt x="750" y="1033"/>
                  </a:lnTo>
                  <a:lnTo>
                    <a:pt x="754" y="1053"/>
                  </a:lnTo>
                  <a:lnTo>
                    <a:pt x="756" y="1072"/>
                  </a:lnTo>
                  <a:lnTo>
                    <a:pt x="757" y="1088"/>
                  </a:lnTo>
                  <a:lnTo>
                    <a:pt x="757" y="1102"/>
                  </a:lnTo>
                  <a:lnTo>
                    <a:pt x="821" y="1105"/>
                  </a:lnTo>
                  <a:lnTo>
                    <a:pt x="821" y="1087"/>
                  </a:lnTo>
                  <a:lnTo>
                    <a:pt x="820" y="1068"/>
                  </a:lnTo>
                  <a:lnTo>
                    <a:pt x="816" y="1047"/>
                  </a:lnTo>
                  <a:lnTo>
                    <a:pt x="813" y="1024"/>
                  </a:lnTo>
                  <a:lnTo>
                    <a:pt x="808" y="1001"/>
                  </a:lnTo>
                  <a:lnTo>
                    <a:pt x="802" y="975"/>
                  </a:lnTo>
                  <a:lnTo>
                    <a:pt x="796" y="947"/>
                  </a:lnTo>
                  <a:lnTo>
                    <a:pt x="788" y="919"/>
                  </a:lnTo>
                  <a:lnTo>
                    <a:pt x="727" y="936"/>
                  </a:lnTo>
                  <a:close/>
                  <a:moveTo>
                    <a:pt x="789" y="1104"/>
                  </a:moveTo>
                  <a:lnTo>
                    <a:pt x="757" y="1102"/>
                  </a:lnTo>
                  <a:lnTo>
                    <a:pt x="759" y="1109"/>
                  </a:lnTo>
                  <a:lnTo>
                    <a:pt x="760" y="1115"/>
                  </a:lnTo>
                  <a:lnTo>
                    <a:pt x="762" y="1120"/>
                  </a:lnTo>
                  <a:lnTo>
                    <a:pt x="767" y="1125"/>
                  </a:lnTo>
                  <a:lnTo>
                    <a:pt x="770" y="1130"/>
                  </a:lnTo>
                  <a:lnTo>
                    <a:pt x="776" y="1132"/>
                  </a:lnTo>
                  <a:lnTo>
                    <a:pt x="782" y="1134"/>
                  </a:lnTo>
                  <a:lnTo>
                    <a:pt x="788" y="1135"/>
                  </a:lnTo>
                  <a:lnTo>
                    <a:pt x="795" y="1134"/>
                  </a:lnTo>
                  <a:lnTo>
                    <a:pt x="801" y="1133"/>
                  </a:lnTo>
                  <a:lnTo>
                    <a:pt x="807" y="1131"/>
                  </a:lnTo>
                  <a:lnTo>
                    <a:pt x="812" y="1126"/>
                  </a:lnTo>
                  <a:lnTo>
                    <a:pt x="815" y="1121"/>
                  </a:lnTo>
                  <a:lnTo>
                    <a:pt x="819" y="1117"/>
                  </a:lnTo>
                  <a:lnTo>
                    <a:pt x="820" y="1111"/>
                  </a:lnTo>
                  <a:lnTo>
                    <a:pt x="821" y="1105"/>
                  </a:lnTo>
                  <a:lnTo>
                    <a:pt x="789" y="1104"/>
                  </a:lnTo>
                  <a:close/>
                  <a:moveTo>
                    <a:pt x="757" y="1104"/>
                  </a:moveTo>
                  <a:lnTo>
                    <a:pt x="757" y="1104"/>
                  </a:lnTo>
                  <a:lnTo>
                    <a:pt x="821" y="1104"/>
                  </a:lnTo>
                  <a:lnTo>
                    <a:pt x="821" y="1104"/>
                  </a:lnTo>
                  <a:lnTo>
                    <a:pt x="757" y="1104"/>
                  </a:lnTo>
                  <a:close/>
                  <a:moveTo>
                    <a:pt x="789" y="1104"/>
                  </a:moveTo>
                  <a:lnTo>
                    <a:pt x="757" y="1104"/>
                  </a:lnTo>
                  <a:lnTo>
                    <a:pt x="759" y="1109"/>
                  </a:lnTo>
                  <a:lnTo>
                    <a:pt x="760" y="1115"/>
                  </a:lnTo>
                  <a:lnTo>
                    <a:pt x="763" y="1121"/>
                  </a:lnTo>
                  <a:lnTo>
                    <a:pt x="767" y="1126"/>
                  </a:lnTo>
                  <a:lnTo>
                    <a:pt x="772" y="1130"/>
                  </a:lnTo>
                  <a:lnTo>
                    <a:pt x="777" y="1133"/>
                  </a:lnTo>
                  <a:lnTo>
                    <a:pt x="783" y="1134"/>
                  </a:lnTo>
                  <a:lnTo>
                    <a:pt x="789" y="1135"/>
                  </a:lnTo>
                  <a:lnTo>
                    <a:pt x="795" y="1134"/>
                  </a:lnTo>
                  <a:lnTo>
                    <a:pt x="802" y="1133"/>
                  </a:lnTo>
                  <a:lnTo>
                    <a:pt x="807" y="1130"/>
                  </a:lnTo>
                  <a:lnTo>
                    <a:pt x="812" y="1126"/>
                  </a:lnTo>
                  <a:lnTo>
                    <a:pt x="815" y="1121"/>
                  </a:lnTo>
                  <a:lnTo>
                    <a:pt x="819" y="1115"/>
                  </a:lnTo>
                  <a:lnTo>
                    <a:pt x="821" y="1109"/>
                  </a:lnTo>
                  <a:lnTo>
                    <a:pt x="821" y="1104"/>
                  </a:lnTo>
                  <a:lnTo>
                    <a:pt x="789" y="1104"/>
                  </a:lnTo>
                  <a:close/>
                  <a:moveTo>
                    <a:pt x="757" y="1102"/>
                  </a:moveTo>
                  <a:lnTo>
                    <a:pt x="757" y="1113"/>
                  </a:lnTo>
                  <a:lnTo>
                    <a:pt x="759" y="1122"/>
                  </a:lnTo>
                  <a:lnTo>
                    <a:pt x="761" y="1131"/>
                  </a:lnTo>
                  <a:lnTo>
                    <a:pt x="764" y="1140"/>
                  </a:lnTo>
                  <a:lnTo>
                    <a:pt x="768" y="1148"/>
                  </a:lnTo>
                  <a:lnTo>
                    <a:pt x="773" y="1157"/>
                  </a:lnTo>
                  <a:lnTo>
                    <a:pt x="777" y="1164"/>
                  </a:lnTo>
                  <a:lnTo>
                    <a:pt x="783" y="1171"/>
                  </a:lnTo>
                  <a:lnTo>
                    <a:pt x="829" y="1126"/>
                  </a:lnTo>
                  <a:lnTo>
                    <a:pt x="826" y="1121"/>
                  </a:lnTo>
                  <a:lnTo>
                    <a:pt x="824" y="1117"/>
                  </a:lnTo>
                  <a:lnTo>
                    <a:pt x="821" y="1111"/>
                  </a:lnTo>
                  <a:lnTo>
                    <a:pt x="821" y="1104"/>
                  </a:lnTo>
                  <a:lnTo>
                    <a:pt x="757" y="1102"/>
                  </a:lnTo>
                  <a:close/>
                  <a:moveTo>
                    <a:pt x="783" y="1171"/>
                  </a:moveTo>
                  <a:lnTo>
                    <a:pt x="790" y="1177"/>
                  </a:lnTo>
                  <a:lnTo>
                    <a:pt x="798" y="1183"/>
                  </a:lnTo>
                  <a:lnTo>
                    <a:pt x="806" y="1187"/>
                  </a:lnTo>
                  <a:lnTo>
                    <a:pt x="814" y="1191"/>
                  </a:lnTo>
                  <a:lnTo>
                    <a:pt x="822" y="1195"/>
                  </a:lnTo>
                  <a:lnTo>
                    <a:pt x="832" y="1197"/>
                  </a:lnTo>
                  <a:lnTo>
                    <a:pt x="841" y="1199"/>
                  </a:lnTo>
                  <a:lnTo>
                    <a:pt x="851" y="1199"/>
                  </a:lnTo>
                  <a:lnTo>
                    <a:pt x="852" y="1137"/>
                  </a:lnTo>
                  <a:lnTo>
                    <a:pt x="846" y="1135"/>
                  </a:lnTo>
                  <a:lnTo>
                    <a:pt x="840" y="1133"/>
                  </a:lnTo>
                  <a:lnTo>
                    <a:pt x="834" y="1131"/>
                  </a:lnTo>
                  <a:lnTo>
                    <a:pt x="829" y="1126"/>
                  </a:lnTo>
                  <a:lnTo>
                    <a:pt x="783" y="1171"/>
                  </a:lnTo>
                  <a:close/>
                  <a:moveTo>
                    <a:pt x="852" y="1167"/>
                  </a:moveTo>
                  <a:lnTo>
                    <a:pt x="851" y="1199"/>
                  </a:lnTo>
                  <a:lnTo>
                    <a:pt x="857" y="1199"/>
                  </a:lnTo>
                  <a:lnTo>
                    <a:pt x="864" y="1198"/>
                  </a:lnTo>
                  <a:lnTo>
                    <a:pt x="868" y="1195"/>
                  </a:lnTo>
                  <a:lnTo>
                    <a:pt x="873" y="1191"/>
                  </a:lnTo>
                  <a:lnTo>
                    <a:pt x="878" y="1186"/>
                  </a:lnTo>
                  <a:lnTo>
                    <a:pt x="880" y="1182"/>
                  </a:lnTo>
                  <a:lnTo>
                    <a:pt x="883" y="1176"/>
                  </a:lnTo>
                  <a:lnTo>
                    <a:pt x="884" y="1169"/>
                  </a:lnTo>
                  <a:lnTo>
                    <a:pt x="883" y="1163"/>
                  </a:lnTo>
                  <a:lnTo>
                    <a:pt x="881" y="1157"/>
                  </a:lnTo>
                  <a:lnTo>
                    <a:pt x="878" y="1151"/>
                  </a:lnTo>
                  <a:lnTo>
                    <a:pt x="874" y="1146"/>
                  </a:lnTo>
                  <a:lnTo>
                    <a:pt x="870" y="1141"/>
                  </a:lnTo>
                  <a:lnTo>
                    <a:pt x="865" y="1139"/>
                  </a:lnTo>
                  <a:lnTo>
                    <a:pt x="859" y="1137"/>
                  </a:lnTo>
                  <a:lnTo>
                    <a:pt x="852" y="1137"/>
                  </a:lnTo>
                  <a:lnTo>
                    <a:pt x="852" y="1167"/>
                  </a:lnTo>
                  <a:close/>
                  <a:moveTo>
                    <a:pt x="852" y="1200"/>
                  </a:moveTo>
                  <a:lnTo>
                    <a:pt x="852" y="1200"/>
                  </a:lnTo>
                  <a:lnTo>
                    <a:pt x="852" y="1135"/>
                  </a:lnTo>
                  <a:lnTo>
                    <a:pt x="852" y="1135"/>
                  </a:lnTo>
                  <a:lnTo>
                    <a:pt x="852" y="1200"/>
                  </a:lnTo>
                  <a:close/>
                  <a:moveTo>
                    <a:pt x="852" y="1167"/>
                  </a:moveTo>
                  <a:lnTo>
                    <a:pt x="852" y="1200"/>
                  </a:lnTo>
                  <a:lnTo>
                    <a:pt x="858" y="1199"/>
                  </a:lnTo>
                  <a:lnTo>
                    <a:pt x="864" y="1197"/>
                  </a:lnTo>
                  <a:lnTo>
                    <a:pt x="870" y="1195"/>
                  </a:lnTo>
                  <a:lnTo>
                    <a:pt x="874" y="1191"/>
                  </a:lnTo>
                  <a:lnTo>
                    <a:pt x="878" y="1186"/>
                  </a:lnTo>
                  <a:lnTo>
                    <a:pt x="881" y="1180"/>
                  </a:lnTo>
                  <a:lnTo>
                    <a:pt x="883" y="1174"/>
                  </a:lnTo>
                  <a:lnTo>
                    <a:pt x="884" y="1167"/>
                  </a:lnTo>
                  <a:lnTo>
                    <a:pt x="883" y="1161"/>
                  </a:lnTo>
                  <a:lnTo>
                    <a:pt x="881" y="1156"/>
                  </a:lnTo>
                  <a:lnTo>
                    <a:pt x="878" y="1150"/>
                  </a:lnTo>
                  <a:lnTo>
                    <a:pt x="874" y="1145"/>
                  </a:lnTo>
                  <a:lnTo>
                    <a:pt x="870" y="1141"/>
                  </a:lnTo>
                  <a:lnTo>
                    <a:pt x="864" y="1139"/>
                  </a:lnTo>
                  <a:lnTo>
                    <a:pt x="858" y="1137"/>
                  </a:lnTo>
                  <a:lnTo>
                    <a:pt x="852" y="1135"/>
                  </a:lnTo>
                  <a:lnTo>
                    <a:pt x="852" y="1167"/>
                  </a:lnTo>
                  <a:close/>
                  <a:moveTo>
                    <a:pt x="851" y="1199"/>
                  </a:moveTo>
                  <a:lnTo>
                    <a:pt x="860" y="1199"/>
                  </a:lnTo>
                  <a:lnTo>
                    <a:pt x="870" y="1198"/>
                  </a:lnTo>
                  <a:lnTo>
                    <a:pt x="879" y="1196"/>
                  </a:lnTo>
                  <a:lnTo>
                    <a:pt x="889" y="1193"/>
                  </a:lnTo>
                  <a:lnTo>
                    <a:pt x="897" y="1190"/>
                  </a:lnTo>
                  <a:lnTo>
                    <a:pt x="904" y="1185"/>
                  </a:lnTo>
                  <a:lnTo>
                    <a:pt x="912" y="1179"/>
                  </a:lnTo>
                  <a:lnTo>
                    <a:pt x="919" y="1173"/>
                  </a:lnTo>
                  <a:lnTo>
                    <a:pt x="876" y="1127"/>
                  </a:lnTo>
                  <a:lnTo>
                    <a:pt x="871" y="1131"/>
                  </a:lnTo>
                  <a:lnTo>
                    <a:pt x="865" y="1134"/>
                  </a:lnTo>
                  <a:lnTo>
                    <a:pt x="859" y="1135"/>
                  </a:lnTo>
                  <a:lnTo>
                    <a:pt x="852" y="1137"/>
                  </a:lnTo>
                  <a:lnTo>
                    <a:pt x="851" y="1199"/>
                  </a:lnTo>
                  <a:close/>
                  <a:moveTo>
                    <a:pt x="919" y="1173"/>
                  </a:moveTo>
                  <a:lnTo>
                    <a:pt x="925" y="1167"/>
                  </a:lnTo>
                  <a:lnTo>
                    <a:pt x="931" y="1160"/>
                  </a:lnTo>
                  <a:lnTo>
                    <a:pt x="936" y="1152"/>
                  </a:lnTo>
                  <a:lnTo>
                    <a:pt x="941" y="1144"/>
                  </a:lnTo>
                  <a:lnTo>
                    <a:pt x="944" y="1135"/>
                  </a:lnTo>
                  <a:lnTo>
                    <a:pt x="947" y="1126"/>
                  </a:lnTo>
                  <a:lnTo>
                    <a:pt x="948" y="1117"/>
                  </a:lnTo>
                  <a:lnTo>
                    <a:pt x="949" y="1107"/>
                  </a:lnTo>
                  <a:lnTo>
                    <a:pt x="885" y="1106"/>
                  </a:lnTo>
                  <a:lnTo>
                    <a:pt x="884" y="1112"/>
                  </a:lnTo>
                  <a:lnTo>
                    <a:pt x="883" y="1118"/>
                  </a:lnTo>
                  <a:lnTo>
                    <a:pt x="879" y="1122"/>
                  </a:lnTo>
                  <a:lnTo>
                    <a:pt x="876" y="1127"/>
                  </a:lnTo>
                  <a:lnTo>
                    <a:pt x="919" y="1173"/>
                  </a:lnTo>
                  <a:close/>
                  <a:moveTo>
                    <a:pt x="949" y="1107"/>
                  </a:moveTo>
                  <a:lnTo>
                    <a:pt x="949" y="1088"/>
                  </a:lnTo>
                  <a:lnTo>
                    <a:pt x="947" y="1067"/>
                  </a:lnTo>
                  <a:lnTo>
                    <a:pt x="944" y="1044"/>
                  </a:lnTo>
                  <a:lnTo>
                    <a:pt x="941" y="1021"/>
                  </a:lnTo>
                  <a:lnTo>
                    <a:pt x="937" y="995"/>
                  </a:lnTo>
                  <a:lnTo>
                    <a:pt x="931" y="968"/>
                  </a:lnTo>
                  <a:lnTo>
                    <a:pt x="924" y="939"/>
                  </a:lnTo>
                  <a:lnTo>
                    <a:pt x="917" y="910"/>
                  </a:lnTo>
                  <a:lnTo>
                    <a:pt x="855" y="926"/>
                  </a:lnTo>
                  <a:lnTo>
                    <a:pt x="863" y="953"/>
                  </a:lnTo>
                  <a:lnTo>
                    <a:pt x="868" y="979"/>
                  </a:lnTo>
                  <a:lnTo>
                    <a:pt x="873" y="1004"/>
                  </a:lnTo>
                  <a:lnTo>
                    <a:pt x="878" y="1028"/>
                  </a:lnTo>
                  <a:lnTo>
                    <a:pt x="881" y="1050"/>
                  </a:lnTo>
                  <a:lnTo>
                    <a:pt x="884" y="1070"/>
                  </a:lnTo>
                  <a:lnTo>
                    <a:pt x="885" y="1089"/>
                  </a:lnTo>
                  <a:lnTo>
                    <a:pt x="885" y="1106"/>
                  </a:lnTo>
                  <a:lnTo>
                    <a:pt x="949" y="1107"/>
                  </a:lnTo>
                  <a:close/>
                  <a:moveTo>
                    <a:pt x="917" y="910"/>
                  </a:moveTo>
                  <a:lnTo>
                    <a:pt x="909" y="876"/>
                  </a:lnTo>
                  <a:lnTo>
                    <a:pt x="898" y="842"/>
                  </a:lnTo>
                  <a:lnTo>
                    <a:pt x="887" y="808"/>
                  </a:lnTo>
                  <a:lnTo>
                    <a:pt x="877" y="771"/>
                  </a:lnTo>
                  <a:lnTo>
                    <a:pt x="864" y="735"/>
                  </a:lnTo>
                  <a:lnTo>
                    <a:pt x="851" y="697"/>
                  </a:lnTo>
                  <a:lnTo>
                    <a:pt x="838" y="660"/>
                  </a:lnTo>
                  <a:lnTo>
                    <a:pt x="824" y="622"/>
                  </a:lnTo>
                  <a:lnTo>
                    <a:pt x="764" y="644"/>
                  </a:lnTo>
                  <a:lnTo>
                    <a:pt x="777" y="681"/>
                  </a:lnTo>
                  <a:lnTo>
                    <a:pt x="790" y="718"/>
                  </a:lnTo>
                  <a:lnTo>
                    <a:pt x="803" y="755"/>
                  </a:lnTo>
                  <a:lnTo>
                    <a:pt x="815" y="790"/>
                  </a:lnTo>
                  <a:lnTo>
                    <a:pt x="827" y="826"/>
                  </a:lnTo>
                  <a:lnTo>
                    <a:pt x="837" y="860"/>
                  </a:lnTo>
                  <a:lnTo>
                    <a:pt x="847" y="894"/>
                  </a:lnTo>
                  <a:lnTo>
                    <a:pt x="855" y="926"/>
                  </a:lnTo>
                  <a:lnTo>
                    <a:pt x="917" y="910"/>
                  </a:lnTo>
                  <a:close/>
                  <a:moveTo>
                    <a:pt x="794" y="633"/>
                  </a:moveTo>
                  <a:lnTo>
                    <a:pt x="824" y="622"/>
                  </a:lnTo>
                  <a:lnTo>
                    <a:pt x="821" y="616"/>
                  </a:lnTo>
                  <a:lnTo>
                    <a:pt x="818" y="610"/>
                  </a:lnTo>
                  <a:lnTo>
                    <a:pt x="813" y="607"/>
                  </a:lnTo>
                  <a:lnTo>
                    <a:pt x="807" y="603"/>
                  </a:lnTo>
                  <a:lnTo>
                    <a:pt x="801" y="602"/>
                  </a:lnTo>
                  <a:lnTo>
                    <a:pt x="795" y="601"/>
                  </a:lnTo>
                  <a:lnTo>
                    <a:pt x="789" y="601"/>
                  </a:lnTo>
                  <a:lnTo>
                    <a:pt x="783" y="603"/>
                  </a:lnTo>
                  <a:lnTo>
                    <a:pt x="777" y="606"/>
                  </a:lnTo>
                  <a:lnTo>
                    <a:pt x="773" y="609"/>
                  </a:lnTo>
                  <a:lnTo>
                    <a:pt x="768" y="614"/>
                  </a:lnTo>
                  <a:lnTo>
                    <a:pt x="766" y="620"/>
                  </a:lnTo>
                  <a:lnTo>
                    <a:pt x="763" y="626"/>
                  </a:lnTo>
                  <a:lnTo>
                    <a:pt x="762" y="632"/>
                  </a:lnTo>
                  <a:lnTo>
                    <a:pt x="762" y="638"/>
                  </a:lnTo>
                  <a:lnTo>
                    <a:pt x="764" y="644"/>
                  </a:lnTo>
                  <a:lnTo>
                    <a:pt x="794" y="633"/>
                  </a:lnTo>
                  <a:close/>
                  <a:moveTo>
                    <a:pt x="798" y="665"/>
                  </a:moveTo>
                  <a:lnTo>
                    <a:pt x="814" y="662"/>
                  </a:lnTo>
                  <a:lnTo>
                    <a:pt x="807" y="600"/>
                  </a:lnTo>
                  <a:lnTo>
                    <a:pt x="790" y="601"/>
                  </a:lnTo>
                  <a:lnTo>
                    <a:pt x="798" y="665"/>
                  </a:lnTo>
                  <a:close/>
                  <a:moveTo>
                    <a:pt x="811" y="632"/>
                  </a:moveTo>
                  <a:lnTo>
                    <a:pt x="814" y="662"/>
                  </a:lnTo>
                  <a:lnTo>
                    <a:pt x="820" y="661"/>
                  </a:lnTo>
                  <a:lnTo>
                    <a:pt x="826" y="659"/>
                  </a:lnTo>
                  <a:lnTo>
                    <a:pt x="831" y="655"/>
                  </a:lnTo>
                  <a:lnTo>
                    <a:pt x="835" y="652"/>
                  </a:lnTo>
                  <a:lnTo>
                    <a:pt x="839" y="646"/>
                  </a:lnTo>
                  <a:lnTo>
                    <a:pt x="841" y="640"/>
                  </a:lnTo>
                  <a:lnTo>
                    <a:pt x="842" y="634"/>
                  </a:lnTo>
                  <a:lnTo>
                    <a:pt x="842" y="628"/>
                  </a:lnTo>
                  <a:lnTo>
                    <a:pt x="841" y="621"/>
                  </a:lnTo>
                  <a:lnTo>
                    <a:pt x="839" y="616"/>
                  </a:lnTo>
                  <a:lnTo>
                    <a:pt x="835" y="610"/>
                  </a:lnTo>
                  <a:lnTo>
                    <a:pt x="831" y="607"/>
                  </a:lnTo>
                  <a:lnTo>
                    <a:pt x="826" y="603"/>
                  </a:lnTo>
                  <a:lnTo>
                    <a:pt x="820" y="601"/>
                  </a:lnTo>
                  <a:lnTo>
                    <a:pt x="814" y="600"/>
                  </a:lnTo>
                  <a:lnTo>
                    <a:pt x="807" y="600"/>
                  </a:lnTo>
                  <a:lnTo>
                    <a:pt x="811" y="632"/>
                  </a:lnTo>
                  <a:close/>
                  <a:moveTo>
                    <a:pt x="814" y="662"/>
                  </a:moveTo>
                  <a:lnTo>
                    <a:pt x="831" y="661"/>
                  </a:lnTo>
                  <a:lnTo>
                    <a:pt x="825" y="597"/>
                  </a:lnTo>
                  <a:lnTo>
                    <a:pt x="807" y="600"/>
                  </a:lnTo>
                  <a:lnTo>
                    <a:pt x="814" y="662"/>
                  </a:lnTo>
                  <a:close/>
                  <a:moveTo>
                    <a:pt x="827" y="629"/>
                  </a:moveTo>
                  <a:lnTo>
                    <a:pt x="831" y="661"/>
                  </a:lnTo>
                  <a:lnTo>
                    <a:pt x="837" y="660"/>
                  </a:lnTo>
                  <a:lnTo>
                    <a:pt x="842" y="658"/>
                  </a:lnTo>
                  <a:lnTo>
                    <a:pt x="847" y="654"/>
                  </a:lnTo>
                  <a:lnTo>
                    <a:pt x="852" y="649"/>
                  </a:lnTo>
                  <a:lnTo>
                    <a:pt x="855" y="645"/>
                  </a:lnTo>
                  <a:lnTo>
                    <a:pt x="858" y="639"/>
                  </a:lnTo>
                  <a:lnTo>
                    <a:pt x="859" y="633"/>
                  </a:lnTo>
                  <a:lnTo>
                    <a:pt x="859" y="626"/>
                  </a:lnTo>
                  <a:lnTo>
                    <a:pt x="858" y="620"/>
                  </a:lnTo>
                  <a:lnTo>
                    <a:pt x="855" y="614"/>
                  </a:lnTo>
                  <a:lnTo>
                    <a:pt x="852" y="609"/>
                  </a:lnTo>
                  <a:lnTo>
                    <a:pt x="847" y="604"/>
                  </a:lnTo>
                  <a:lnTo>
                    <a:pt x="842" y="601"/>
                  </a:lnTo>
                  <a:lnTo>
                    <a:pt x="837" y="599"/>
                  </a:lnTo>
                  <a:lnTo>
                    <a:pt x="831" y="597"/>
                  </a:lnTo>
                  <a:lnTo>
                    <a:pt x="825" y="597"/>
                  </a:lnTo>
                  <a:lnTo>
                    <a:pt x="827" y="629"/>
                  </a:lnTo>
                  <a:close/>
                  <a:moveTo>
                    <a:pt x="831" y="661"/>
                  </a:moveTo>
                  <a:lnTo>
                    <a:pt x="866" y="658"/>
                  </a:lnTo>
                  <a:lnTo>
                    <a:pt x="902" y="655"/>
                  </a:lnTo>
                  <a:lnTo>
                    <a:pt x="937" y="652"/>
                  </a:lnTo>
                  <a:lnTo>
                    <a:pt x="970" y="651"/>
                  </a:lnTo>
                  <a:lnTo>
                    <a:pt x="1003" y="648"/>
                  </a:lnTo>
                  <a:lnTo>
                    <a:pt x="1034" y="647"/>
                  </a:lnTo>
                  <a:lnTo>
                    <a:pt x="1065" y="647"/>
                  </a:lnTo>
                  <a:lnTo>
                    <a:pt x="1092" y="646"/>
                  </a:lnTo>
                  <a:lnTo>
                    <a:pt x="1092" y="582"/>
                  </a:lnTo>
                  <a:lnTo>
                    <a:pt x="1064" y="583"/>
                  </a:lnTo>
                  <a:lnTo>
                    <a:pt x="1033" y="583"/>
                  </a:lnTo>
                  <a:lnTo>
                    <a:pt x="1001" y="584"/>
                  </a:lnTo>
                  <a:lnTo>
                    <a:pt x="967" y="587"/>
                  </a:lnTo>
                  <a:lnTo>
                    <a:pt x="932" y="589"/>
                  </a:lnTo>
                  <a:lnTo>
                    <a:pt x="897" y="591"/>
                  </a:lnTo>
                  <a:lnTo>
                    <a:pt x="861" y="594"/>
                  </a:lnTo>
                  <a:lnTo>
                    <a:pt x="825" y="597"/>
                  </a:lnTo>
                  <a:lnTo>
                    <a:pt x="831" y="661"/>
                  </a:lnTo>
                  <a:close/>
                  <a:moveTo>
                    <a:pt x="1092" y="646"/>
                  </a:moveTo>
                  <a:lnTo>
                    <a:pt x="1136" y="647"/>
                  </a:lnTo>
                  <a:lnTo>
                    <a:pt x="1171" y="649"/>
                  </a:lnTo>
                  <a:lnTo>
                    <a:pt x="1187" y="652"/>
                  </a:lnTo>
                  <a:lnTo>
                    <a:pt x="1200" y="654"/>
                  </a:lnTo>
                  <a:lnTo>
                    <a:pt x="1211" y="657"/>
                  </a:lnTo>
                  <a:lnTo>
                    <a:pt x="1220" y="660"/>
                  </a:lnTo>
                  <a:lnTo>
                    <a:pt x="1246" y="601"/>
                  </a:lnTo>
                  <a:lnTo>
                    <a:pt x="1234" y="597"/>
                  </a:lnTo>
                  <a:lnTo>
                    <a:pt x="1220" y="593"/>
                  </a:lnTo>
                  <a:lnTo>
                    <a:pt x="1203" y="590"/>
                  </a:lnTo>
                  <a:lnTo>
                    <a:pt x="1184" y="587"/>
                  </a:lnTo>
                  <a:lnTo>
                    <a:pt x="1164" y="586"/>
                  </a:lnTo>
                  <a:lnTo>
                    <a:pt x="1142" y="583"/>
                  </a:lnTo>
                  <a:lnTo>
                    <a:pt x="1118" y="583"/>
                  </a:lnTo>
                  <a:lnTo>
                    <a:pt x="1092" y="582"/>
                  </a:lnTo>
                  <a:lnTo>
                    <a:pt x="1092" y="646"/>
                  </a:lnTo>
                  <a:close/>
                </a:path>
              </a:pathLst>
            </a:cu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6653" tIns="58327" rIns="116653" bIns="58327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56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8" name="Freeform 29"/>
            <p:cNvSpPr>
              <a:spLocks/>
            </p:cNvSpPr>
            <p:nvPr/>
          </p:nvSpPr>
          <p:spPr bwMode="auto">
            <a:xfrm>
              <a:off x="3335" y="1751"/>
              <a:ext cx="323" cy="284"/>
            </a:xfrm>
            <a:custGeom>
              <a:avLst/>
              <a:gdLst>
                <a:gd name="T0" fmla="*/ 1221 w 1291"/>
                <a:gd name="T1" fmla="*/ 603 h 1135"/>
                <a:gd name="T2" fmla="*/ 1262 w 1291"/>
                <a:gd name="T3" fmla="*/ 595 h 1135"/>
                <a:gd name="T4" fmla="*/ 1283 w 1291"/>
                <a:gd name="T5" fmla="*/ 572 h 1135"/>
                <a:gd name="T6" fmla="*/ 1291 w 1291"/>
                <a:gd name="T7" fmla="*/ 549 h 1135"/>
                <a:gd name="T8" fmla="*/ 1282 w 1291"/>
                <a:gd name="T9" fmla="*/ 507 h 1135"/>
                <a:gd name="T10" fmla="*/ 1260 w 1291"/>
                <a:gd name="T11" fmla="*/ 486 h 1135"/>
                <a:gd name="T12" fmla="*/ 1200 w 1291"/>
                <a:gd name="T13" fmla="*/ 468 h 1135"/>
                <a:gd name="T14" fmla="*/ 1098 w 1291"/>
                <a:gd name="T15" fmla="*/ 459 h 1135"/>
                <a:gd name="T16" fmla="*/ 860 w 1291"/>
                <a:gd name="T17" fmla="*/ 465 h 1135"/>
                <a:gd name="T18" fmla="*/ 732 w 1291"/>
                <a:gd name="T19" fmla="*/ 477 h 1135"/>
                <a:gd name="T20" fmla="*/ 625 w 1291"/>
                <a:gd name="T21" fmla="*/ 274 h 1135"/>
                <a:gd name="T22" fmla="*/ 523 w 1291"/>
                <a:gd name="T23" fmla="*/ 94 h 1135"/>
                <a:gd name="T24" fmla="*/ 476 w 1291"/>
                <a:gd name="T25" fmla="*/ 29 h 1135"/>
                <a:gd name="T26" fmla="*/ 458 w 1291"/>
                <a:gd name="T27" fmla="*/ 11 h 1135"/>
                <a:gd name="T28" fmla="*/ 411 w 1291"/>
                <a:gd name="T29" fmla="*/ 0 h 1135"/>
                <a:gd name="T30" fmla="*/ 387 w 1291"/>
                <a:gd name="T31" fmla="*/ 10 h 1135"/>
                <a:gd name="T32" fmla="*/ 369 w 1291"/>
                <a:gd name="T33" fmla="*/ 27 h 1135"/>
                <a:gd name="T34" fmla="*/ 360 w 1291"/>
                <a:gd name="T35" fmla="*/ 73 h 1135"/>
                <a:gd name="T36" fmla="*/ 368 w 1291"/>
                <a:gd name="T37" fmla="*/ 97 h 1135"/>
                <a:gd name="T38" fmla="*/ 400 w 1291"/>
                <a:gd name="T39" fmla="*/ 138 h 1135"/>
                <a:gd name="T40" fmla="*/ 453 w 1291"/>
                <a:gd name="T41" fmla="*/ 220 h 1135"/>
                <a:gd name="T42" fmla="*/ 557 w 1291"/>
                <a:gd name="T43" fmla="*/ 433 h 1135"/>
                <a:gd name="T44" fmla="*/ 402 w 1291"/>
                <a:gd name="T45" fmla="*/ 526 h 1135"/>
                <a:gd name="T46" fmla="*/ 218 w 1291"/>
                <a:gd name="T47" fmla="*/ 570 h 1135"/>
                <a:gd name="T48" fmla="*/ 151 w 1291"/>
                <a:gd name="T49" fmla="*/ 589 h 1135"/>
                <a:gd name="T50" fmla="*/ 75 w 1291"/>
                <a:gd name="T51" fmla="*/ 600 h 1135"/>
                <a:gd name="T52" fmla="*/ 45 w 1291"/>
                <a:gd name="T53" fmla="*/ 603 h 1135"/>
                <a:gd name="T54" fmla="*/ 11 w 1291"/>
                <a:gd name="T55" fmla="*/ 629 h 1135"/>
                <a:gd name="T56" fmla="*/ 0 w 1291"/>
                <a:gd name="T57" fmla="*/ 658 h 1135"/>
                <a:gd name="T58" fmla="*/ 3 w 1291"/>
                <a:gd name="T59" fmla="*/ 682 h 1135"/>
                <a:gd name="T60" fmla="*/ 28 w 1291"/>
                <a:gd name="T61" fmla="*/ 717 h 1135"/>
                <a:gd name="T62" fmla="*/ 57 w 1291"/>
                <a:gd name="T63" fmla="*/ 727 h 1135"/>
                <a:gd name="T64" fmla="*/ 128 w 1291"/>
                <a:gd name="T65" fmla="*/ 721 h 1135"/>
                <a:gd name="T66" fmla="*/ 220 w 1291"/>
                <a:gd name="T67" fmla="*/ 703 h 1135"/>
                <a:gd name="T68" fmla="*/ 344 w 1291"/>
                <a:gd name="T69" fmla="*/ 666 h 1135"/>
                <a:gd name="T70" fmla="*/ 569 w 1291"/>
                <a:gd name="T71" fmla="*/ 626 h 1135"/>
                <a:gd name="T72" fmla="*/ 705 w 1291"/>
                <a:gd name="T73" fmla="*/ 821 h 1135"/>
                <a:gd name="T74" fmla="*/ 744 w 1291"/>
                <a:gd name="T75" fmla="*/ 967 h 1135"/>
                <a:gd name="T76" fmla="*/ 758 w 1291"/>
                <a:gd name="T77" fmla="*/ 1055 h 1135"/>
                <a:gd name="T78" fmla="*/ 761 w 1291"/>
                <a:gd name="T79" fmla="*/ 1090 h 1135"/>
                <a:gd name="T80" fmla="*/ 785 w 1291"/>
                <a:gd name="T81" fmla="*/ 1125 h 1135"/>
                <a:gd name="T82" fmla="*/ 814 w 1291"/>
                <a:gd name="T83" fmla="*/ 1135 h 1135"/>
                <a:gd name="T84" fmla="*/ 840 w 1291"/>
                <a:gd name="T85" fmla="*/ 1133 h 1135"/>
                <a:gd name="T86" fmla="*/ 874 w 1291"/>
                <a:gd name="T87" fmla="*/ 1109 h 1135"/>
                <a:gd name="T88" fmla="*/ 885 w 1291"/>
                <a:gd name="T89" fmla="*/ 1081 h 1135"/>
                <a:gd name="T90" fmla="*/ 881 w 1291"/>
                <a:gd name="T91" fmla="*/ 1012 h 1135"/>
                <a:gd name="T92" fmla="*/ 860 w 1291"/>
                <a:gd name="T93" fmla="*/ 904 h 1135"/>
                <a:gd name="T94" fmla="*/ 789 w 1291"/>
                <a:gd name="T95" fmla="*/ 672 h 1135"/>
                <a:gd name="T96" fmla="*/ 865 w 1291"/>
                <a:gd name="T97" fmla="*/ 591 h 1135"/>
                <a:gd name="T98" fmla="*/ 1074 w 1291"/>
                <a:gd name="T99" fmla="*/ 582 h 1135"/>
                <a:gd name="T100" fmla="*/ 1160 w 1291"/>
                <a:gd name="T101" fmla="*/ 588 h 11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291" h="1135">
                  <a:moveTo>
                    <a:pt x="1202" y="598"/>
                  </a:moveTo>
                  <a:lnTo>
                    <a:pt x="1208" y="601"/>
                  </a:lnTo>
                  <a:lnTo>
                    <a:pt x="1213" y="602"/>
                  </a:lnTo>
                  <a:lnTo>
                    <a:pt x="1221" y="603"/>
                  </a:lnTo>
                  <a:lnTo>
                    <a:pt x="1226" y="604"/>
                  </a:lnTo>
                  <a:lnTo>
                    <a:pt x="1238" y="603"/>
                  </a:lnTo>
                  <a:lnTo>
                    <a:pt x="1250" y="600"/>
                  </a:lnTo>
                  <a:lnTo>
                    <a:pt x="1262" y="595"/>
                  </a:lnTo>
                  <a:lnTo>
                    <a:pt x="1271" y="587"/>
                  </a:lnTo>
                  <a:lnTo>
                    <a:pt x="1276" y="583"/>
                  </a:lnTo>
                  <a:lnTo>
                    <a:pt x="1280" y="578"/>
                  </a:lnTo>
                  <a:lnTo>
                    <a:pt x="1283" y="572"/>
                  </a:lnTo>
                  <a:lnTo>
                    <a:pt x="1286" y="567"/>
                  </a:lnTo>
                  <a:lnTo>
                    <a:pt x="1289" y="561"/>
                  </a:lnTo>
                  <a:lnTo>
                    <a:pt x="1290" y="555"/>
                  </a:lnTo>
                  <a:lnTo>
                    <a:pt x="1291" y="549"/>
                  </a:lnTo>
                  <a:lnTo>
                    <a:pt x="1291" y="542"/>
                  </a:lnTo>
                  <a:lnTo>
                    <a:pt x="1290" y="530"/>
                  </a:lnTo>
                  <a:lnTo>
                    <a:pt x="1288" y="518"/>
                  </a:lnTo>
                  <a:lnTo>
                    <a:pt x="1282" y="507"/>
                  </a:lnTo>
                  <a:lnTo>
                    <a:pt x="1275" y="498"/>
                  </a:lnTo>
                  <a:lnTo>
                    <a:pt x="1270" y="493"/>
                  </a:lnTo>
                  <a:lnTo>
                    <a:pt x="1265" y="490"/>
                  </a:lnTo>
                  <a:lnTo>
                    <a:pt x="1260" y="486"/>
                  </a:lnTo>
                  <a:lnTo>
                    <a:pt x="1254" y="483"/>
                  </a:lnTo>
                  <a:lnTo>
                    <a:pt x="1238" y="478"/>
                  </a:lnTo>
                  <a:lnTo>
                    <a:pt x="1221" y="472"/>
                  </a:lnTo>
                  <a:lnTo>
                    <a:pt x="1200" y="468"/>
                  </a:lnTo>
                  <a:lnTo>
                    <a:pt x="1178" y="465"/>
                  </a:lnTo>
                  <a:lnTo>
                    <a:pt x="1153" y="461"/>
                  </a:lnTo>
                  <a:lnTo>
                    <a:pt x="1126" y="460"/>
                  </a:lnTo>
                  <a:lnTo>
                    <a:pt x="1098" y="459"/>
                  </a:lnTo>
                  <a:lnTo>
                    <a:pt x="1067" y="458"/>
                  </a:lnTo>
                  <a:lnTo>
                    <a:pt x="1003" y="458"/>
                  </a:lnTo>
                  <a:lnTo>
                    <a:pt x="933" y="460"/>
                  </a:lnTo>
                  <a:lnTo>
                    <a:pt x="860" y="465"/>
                  </a:lnTo>
                  <a:lnTo>
                    <a:pt x="784" y="472"/>
                  </a:lnTo>
                  <a:lnTo>
                    <a:pt x="767" y="473"/>
                  </a:lnTo>
                  <a:lnTo>
                    <a:pt x="750" y="476"/>
                  </a:lnTo>
                  <a:lnTo>
                    <a:pt x="732" y="477"/>
                  </a:lnTo>
                  <a:lnTo>
                    <a:pt x="716" y="479"/>
                  </a:lnTo>
                  <a:lnTo>
                    <a:pt x="685" y="408"/>
                  </a:lnTo>
                  <a:lnTo>
                    <a:pt x="654" y="340"/>
                  </a:lnTo>
                  <a:lnTo>
                    <a:pt x="625" y="274"/>
                  </a:lnTo>
                  <a:lnTo>
                    <a:pt x="594" y="214"/>
                  </a:lnTo>
                  <a:lnTo>
                    <a:pt x="564" y="161"/>
                  </a:lnTo>
                  <a:lnTo>
                    <a:pt x="537" y="114"/>
                  </a:lnTo>
                  <a:lnTo>
                    <a:pt x="523" y="94"/>
                  </a:lnTo>
                  <a:lnTo>
                    <a:pt x="510" y="75"/>
                  </a:lnTo>
                  <a:lnTo>
                    <a:pt x="498" y="59"/>
                  </a:lnTo>
                  <a:lnTo>
                    <a:pt x="486" y="45"/>
                  </a:lnTo>
                  <a:lnTo>
                    <a:pt x="476" y="29"/>
                  </a:lnTo>
                  <a:lnTo>
                    <a:pt x="472" y="23"/>
                  </a:lnTo>
                  <a:lnTo>
                    <a:pt x="467" y="18"/>
                  </a:lnTo>
                  <a:lnTo>
                    <a:pt x="463" y="14"/>
                  </a:lnTo>
                  <a:lnTo>
                    <a:pt x="458" y="11"/>
                  </a:lnTo>
                  <a:lnTo>
                    <a:pt x="447" y="5"/>
                  </a:lnTo>
                  <a:lnTo>
                    <a:pt x="436" y="1"/>
                  </a:lnTo>
                  <a:lnTo>
                    <a:pt x="424" y="0"/>
                  </a:lnTo>
                  <a:lnTo>
                    <a:pt x="411" y="0"/>
                  </a:lnTo>
                  <a:lnTo>
                    <a:pt x="405" y="2"/>
                  </a:lnTo>
                  <a:lnTo>
                    <a:pt x="399" y="4"/>
                  </a:lnTo>
                  <a:lnTo>
                    <a:pt x="393" y="6"/>
                  </a:lnTo>
                  <a:lnTo>
                    <a:pt x="387" y="10"/>
                  </a:lnTo>
                  <a:lnTo>
                    <a:pt x="382" y="13"/>
                  </a:lnTo>
                  <a:lnTo>
                    <a:pt x="378" y="18"/>
                  </a:lnTo>
                  <a:lnTo>
                    <a:pt x="373" y="23"/>
                  </a:lnTo>
                  <a:lnTo>
                    <a:pt x="369" y="27"/>
                  </a:lnTo>
                  <a:lnTo>
                    <a:pt x="363" y="38"/>
                  </a:lnTo>
                  <a:lnTo>
                    <a:pt x="360" y="50"/>
                  </a:lnTo>
                  <a:lnTo>
                    <a:pt x="359" y="62"/>
                  </a:lnTo>
                  <a:lnTo>
                    <a:pt x="360" y="73"/>
                  </a:lnTo>
                  <a:lnTo>
                    <a:pt x="361" y="79"/>
                  </a:lnTo>
                  <a:lnTo>
                    <a:pt x="362" y="85"/>
                  </a:lnTo>
                  <a:lnTo>
                    <a:pt x="366" y="91"/>
                  </a:lnTo>
                  <a:lnTo>
                    <a:pt x="368" y="97"/>
                  </a:lnTo>
                  <a:lnTo>
                    <a:pt x="382" y="117"/>
                  </a:lnTo>
                  <a:lnTo>
                    <a:pt x="386" y="123"/>
                  </a:lnTo>
                  <a:lnTo>
                    <a:pt x="392" y="129"/>
                  </a:lnTo>
                  <a:lnTo>
                    <a:pt x="400" y="138"/>
                  </a:lnTo>
                  <a:lnTo>
                    <a:pt x="410" y="151"/>
                  </a:lnTo>
                  <a:lnTo>
                    <a:pt x="420" y="166"/>
                  </a:lnTo>
                  <a:lnTo>
                    <a:pt x="431" y="182"/>
                  </a:lnTo>
                  <a:lnTo>
                    <a:pt x="453" y="220"/>
                  </a:lnTo>
                  <a:lnTo>
                    <a:pt x="478" y="266"/>
                  </a:lnTo>
                  <a:lnTo>
                    <a:pt x="504" y="317"/>
                  </a:lnTo>
                  <a:lnTo>
                    <a:pt x="530" y="373"/>
                  </a:lnTo>
                  <a:lnTo>
                    <a:pt x="557" y="433"/>
                  </a:lnTo>
                  <a:lnTo>
                    <a:pt x="584" y="496"/>
                  </a:lnTo>
                  <a:lnTo>
                    <a:pt x="521" y="505"/>
                  </a:lnTo>
                  <a:lnTo>
                    <a:pt x="460" y="516"/>
                  </a:lnTo>
                  <a:lnTo>
                    <a:pt x="402" y="526"/>
                  </a:lnTo>
                  <a:lnTo>
                    <a:pt x="348" y="537"/>
                  </a:lnTo>
                  <a:lnTo>
                    <a:pt x="298" y="548"/>
                  </a:lnTo>
                  <a:lnTo>
                    <a:pt x="255" y="558"/>
                  </a:lnTo>
                  <a:lnTo>
                    <a:pt x="218" y="570"/>
                  </a:lnTo>
                  <a:lnTo>
                    <a:pt x="187" y="581"/>
                  </a:lnTo>
                  <a:lnTo>
                    <a:pt x="179" y="583"/>
                  </a:lnTo>
                  <a:lnTo>
                    <a:pt x="166" y="585"/>
                  </a:lnTo>
                  <a:lnTo>
                    <a:pt x="151" y="589"/>
                  </a:lnTo>
                  <a:lnTo>
                    <a:pt x="133" y="593"/>
                  </a:lnTo>
                  <a:lnTo>
                    <a:pt x="112" y="596"/>
                  </a:lnTo>
                  <a:lnTo>
                    <a:pt x="91" y="598"/>
                  </a:lnTo>
                  <a:lnTo>
                    <a:pt x="75" y="600"/>
                  </a:lnTo>
                  <a:lnTo>
                    <a:pt x="64" y="601"/>
                  </a:lnTo>
                  <a:lnTo>
                    <a:pt x="57" y="601"/>
                  </a:lnTo>
                  <a:lnTo>
                    <a:pt x="51" y="602"/>
                  </a:lnTo>
                  <a:lnTo>
                    <a:pt x="45" y="603"/>
                  </a:lnTo>
                  <a:lnTo>
                    <a:pt x="39" y="606"/>
                  </a:lnTo>
                  <a:lnTo>
                    <a:pt x="28" y="612"/>
                  </a:lnTo>
                  <a:lnTo>
                    <a:pt x="18" y="620"/>
                  </a:lnTo>
                  <a:lnTo>
                    <a:pt x="11" y="629"/>
                  </a:lnTo>
                  <a:lnTo>
                    <a:pt x="5" y="640"/>
                  </a:lnTo>
                  <a:lnTo>
                    <a:pt x="3" y="646"/>
                  </a:lnTo>
                  <a:lnTo>
                    <a:pt x="2" y="652"/>
                  </a:lnTo>
                  <a:lnTo>
                    <a:pt x="0" y="658"/>
                  </a:lnTo>
                  <a:lnTo>
                    <a:pt x="0" y="665"/>
                  </a:lnTo>
                  <a:lnTo>
                    <a:pt x="0" y="671"/>
                  </a:lnTo>
                  <a:lnTo>
                    <a:pt x="2" y="677"/>
                  </a:lnTo>
                  <a:lnTo>
                    <a:pt x="3" y="682"/>
                  </a:lnTo>
                  <a:lnTo>
                    <a:pt x="5" y="688"/>
                  </a:lnTo>
                  <a:lnTo>
                    <a:pt x="11" y="699"/>
                  </a:lnTo>
                  <a:lnTo>
                    <a:pt x="18" y="708"/>
                  </a:lnTo>
                  <a:lnTo>
                    <a:pt x="28" y="717"/>
                  </a:lnTo>
                  <a:lnTo>
                    <a:pt x="39" y="723"/>
                  </a:lnTo>
                  <a:lnTo>
                    <a:pt x="45" y="725"/>
                  </a:lnTo>
                  <a:lnTo>
                    <a:pt x="51" y="726"/>
                  </a:lnTo>
                  <a:lnTo>
                    <a:pt x="57" y="727"/>
                  </a:lnTo>
                  <a:lnTo>
                    <a:pt x="64" y="727"/>
                  </a:lnTo>
                  <a:lnTo>
                    <a:pt x="81" y="726"/>
                  </a:lnTo>
                  <a:lnTo>
                    <a:pt x="102" y="725"/>
                  </a:lnTo>
                  <a:lnTo>
                    <a:pt x="128" y="721"/>
                  </a:lnTo>
                  <a:lnTo>
                    <a:pt x="154" y="717"/>
                  </a:lnTo>
                  <a:lnTo>
                    <a:pt x="178" y="712"/>
                  </a:lnTo>
                  <a:lnTo>
                    <a:pt x="201" y="707"/>
                  </a:lnTo>
                  <a:lnTo>
                    <a:pt x="220" y="703"/>
                  </a:lnTo>
                  <a:lnTo>
                    <a:pt x="236" y="698"/>
                  </a:lnTo>
                  <a:lnTo>
                    <a:pt x="264" y="687"/>
                  </a:lnTo>
                  <a:lnTo>
                    <a:pt x="301" y="677"/>
                  </a:lnTo>
                  <a:lnTo>
                    <a:pt x="344" y="666"/>
                  </a:lnTo>
                  <a:lnTo>
                    <a:pt x="394" y="655"/>
                  </a:lnTo>
                  <a:lnTo>
                    <a:pt x="449" y="645"/>
                  </a:lnTo>
                  <a:lnTo>
                    <a:pt x="508" y="635"/>
                  </a:lnTo>
                  <a:lnTo>
                    <a:pt x="569" y="626"/>
                  </a:lnTo>
                  <a:lnTo>
                    <a:pt x="633" y="616"/>
                  </a:lnTo>
                  <a:lnTo>
                    <a:pt x="659" y="686"/>
                  </a:lnTo>
                  <a:lnTo>
                    <a:pt x="683" y="755"/>
                  </a:lnTo>
                  <a:lnTo>
                    <a:pt x="705" y="821"/>
                  </a:lnTo>
                  <a:lnTo>
                    <a:pt x="723" y="883"/>
                  </a:lnTo>
                  <a:lnTo>
                    <a:pt x="731" y="913"/>
                  </a:lnTo>
                  <a:lnTo>
                    <a:pt x="738" y="940"/>
                  </a:lnTo>
                  <a:lnTo>
                    <a:pt x="744" y="967"/>
                  </a:lnTo>
                  <a:lnTo>
                    <a:pt x="750" y="992"/>
                  </a:lnTo>
                  <a:lnTo>
                    <a:pt x="754" y="1015"/>
                  </a:lnTo>
                  <a:lnTo>
                    <a:pt x="756" y="1036"/>
                  </a:lnTo>
                  <a:lnTo>
                    <a:pt x="758" y="1055"/>
                  </a:lnTo>
                  <a:lnTo>
                    <a:pt x="758" y="1072"/>
                  </a:lnTo>
                  <a:lnTo>
                    <a:pt x="758" y="1077"/>
                  </a:lnTo>
                  <a:lnTo>
                    <a:pt x="759" y="1085"/>
                  </a:lnTo>
                  <a:lnTo>
                    <a:pt x="761" y="1090"/>
                  </a:lnTo>
                  <a:lnTo>
                    <a:pt x="763" y="1096"/>
                  </a:lnTo>
                  <a:lnTo>
                    <a:pt x="769" y="1107"/>
                  </a:lnTo>
                  <a:lnTo>
                    <a:pt x="776" y="1116"/>
                  </a:lnTo>
                  <a:lnTo>
                    <a:pt x="785" y="1125"/>
                  </a:lnTo>
                  <a:lnTo>
                    <a:pt x="796" y="1131"/>
                  </a:lnTo>
                  <a:lnTo>
                    <a:pt x="802" y="1133"/>
                  </a:lnTo>
                  <a:lnTo>
                    <a:pt x="808" y="1134"/>
                  </a:lnTo>
                  <a:lnTo>
                    <a:pt x="814" y="1135"/>
                  </a:lnTo>
                  <a:lnTo>
                    <a:pt x="821" y="1135"/>
                  </a:lnTo>
                  <a:lnTo>
                    <a:pt x="827" y="1135"/>
                  </a:lnTo>
                  <a:lnTo>
                    <a:pt x="834" y="1135"/>
                  </a:lnTo>
                  <a:lnTo>
                    <a:pt x="840" y="1133"/>
                  </a:lnTo>
                  <a:lnTo>
                    <a:pt x="846" y="1132"/>
                  </a:lnTo>
                  <a:lnTo>
                    <a:pt x="856" y="1126"/>
                  </a:lnTo>
                  <a:lnTo>
                    <a:pt x="866" y="1119"/>
                  </a:lnTo>
                  <a:lnTo>
                    <a:pt x="874" y="1109"/>
                  </a:lnTo>
                  <a:lnTo>
                    <a:pt x="880" y="1099"/>
                  </a:lnTo>
                  <a:lnTo>
                    <a:pt x="882" y="1093"/>
                  </a:lnTo>
                  <a:lnTo>
                    <a:pt x="884" y="1087"/>
                  </a:lnTo>
                  <a:lnTo>
                    <a:pt x="885" y="1081"/>
                  </a:lnTo>
                  <a:lnTo>
                    <a:pt x="886" y="1074"/>
                  </a:lnTo>
                  <a:lnTo>
                    <a:pt x="886" y="1056"/>
                  </a:lnTo>
                  <a:lnTo>
                    <a:pt x="884" y="1035"/>
                  </a:lnTo>
                  <a:lnTo>
                    <a:pt x="881" y="1012"/>
                  </a:lnTo>
                  <a:lnTo>
                    <a:pt x="878" y="988"/>
                  </a:lnTo>
                  <a:lnTo>
                    <a:pt x="873" y="962"/>
                  </a:lnTo>
                  <a:lnTo>
                    <a:pt x="867" y="933"/>
                  </a:lnTo>
                  <a:lnTo>
                    <a:pt x="860" y="904"/>
                  </a:lnTo>
                  <a:lnTo>
                    <a:pt x="852" y="874"/>
                  </a:lnTo>
                  <a:lnTo>
                    <a:pt x="834" y="809"/>
                  </a:lnTo>
                  <a:lnTo>
                    <a:pt x="813" y="742"/>
                  </a:lnTo>
                  <a:lnTo>
                    <a:pt x="789" y="672"/>
                  </a:lnTo>
                  <a:lnTo>
                    <a:pt x="763" y="601"/>
                  </a:lnTo>
                  <a:lnTo>
                    <a:pt x="780" y="600"/>
                  </a:lnTo>
                  <a:lnTo>
                    <a:pt x="796" y="597"/>
                  </a:lnTo>
                  <a:lnTo>
                    <a:pt x="865" y="591"/>
                  </a:lnTo>
                  <a:lnTo>
                    <a:pt x="930" y="587"/>
                  </a:lnTo>
                  <a:lnTo>
                    <a:pt x="991" y="584"/>
                  </a:lnTo>
                  <a:lnTo>
                    <a:pt x="1048" y="582"/>
                  </a:lnTo>
                  <a:lnTo>
                    <a:pt x="1074" y="582"/>
                  </a:lnTo>
                  <a:lnTo>
                    <a:pt x="1099" y="583"/>
                  </a:lnTo>
                  <a:lnTo>
                    <a:pt x="1121" y="584"/>
                  </a:lnTo>
                  <a:lnTo>
                    <a:pt x="1143" y="585"/>
                  </a:lnTo>
                  <a:lnTo>
                    <a:pt x="1160" y="588"/>
                  </a:lnTo>
                  <a:lnTo>
                    <a:pt x="1177" y="591"/>
                  </a:lnTo>
                  <a:lnTo>
                    <a:pt x="1191" y="594"/>
                  </a:lnTo>
                  <a:lnTo>
                    <a:pt x="1202" y="598"/>
                  </a:lnTo>
                  <a:close/>
                </a:path>
              </a:pathLst>
            </a:custGeom>
            <a:solidFill>
              <a:srgbClr val="E31E2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6653" tIns="58327" rIns="116653" bIns="58327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56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9" name="Freeform 30"/>
            <p:cNvSpPr>
              <a:spLocks/>
            </p:cNvSpPr>
            <p:nvPr/>
          </p:nvSpPr>
          <p:spPr bwMode="auto">
            <a:xfrm>
              <a:off x="1711" y="1485"/>
              <a:ext cx="202" cy="182"/>
            </a:xfrm>
            <a:custGeom>
              <a:avLst/>
              <a:gdLst>
                <a:gd name="T0" fmla="*/ 735 w 805"/>
                <a:gd name="T1" fmla="*/ 582 h 728"/>
                <a:gd name="T2" fmla="*/ 778 w 805"/>
                <a:gd name="T3" fmla="*/ 584 h 728"/>
                <a:gd name="T4" fmla="*/ 800 w 805"/>
                <a:gd name="T5" fmla="*/ 574 h 728"/>
                <a:gd name="T6" fmla="*/ 805 w 805"/>
                <a:gd name="T7" fmla="*/ 550 h 728"/>
                <a:gd name="T8" fmla="*/ 795 w 805"/>
                <a:gd name="T9" fmla="*/ 516 h 728"/>
                <a:gd name="T10" fmla="*/ 773 w 805"/>
                <a:gd name="T11" fmla="*/ 473 h 728"/>
                <a:gd name="T12" fmla="*/ 740 w 805"/>
                <a:gd name="T13" fmla="*/ 425 h 728"/>
                <a:gd name="T14" fmla="*/ 700 w 805"/>
                <a:gd name="T15" fmla="*/ 371 h 728"/>
                <a:gd name="T16" fmla="*/ 631 w 805"/>
                <a:gd name="T17" fmla="*/ 289 h 728"/>
                <a:gd name="T18" fmla="*/ 534 w 805"/>
                <a:gd name="T19" fmla="*/ 182 h 728"/>
                <a:gd name="T20" fmla="*/ 450 w 805"/>
                <a:gd name="T21" fmla="*/ 95 h 728"/>
                <a:gd name="T22" fmla="*/ 399 w 805"/>
                <a:gd name="T23" fmla="*/ 43 h 728"/>
                <a:gd name="T24" fmla="*/ 381 w 805"/>
                <a:gd name="T25" fmla="*/ 26 h 728"/>
                <a:gd name="T26" fmla="*/ 355 w 805"/>
                <a:gd name="T27" fmla="*/ 11 h 728"/>
                <a:gd name="T28" fmla="*/ 329 w 805"/>
                <a:gd name="T29" fmla="*/ 1 h 728"/>
                <a:gd name="T30" fmla="*/ 302 w 805"/>
                <a:gd name="T31" fmla="*/ 0 h 728"/>
                <a:gd name="T32" fmla="*/ 278 w 805"/>
                <a:gd name="T33" fmla="*/ 4 h 728"/>
                <a:gd name="T34" fmla="*/ 254 w 805"/>
                <a:gd name="T35" fmla="*/ 15 h 728"/>
                <a:gd name="T36" fmla="*/ 232 w 805"/>
                <a:gd name="T37" fmla="*/ 32 h 728"/>
                <a:gd name="T38" fmla="*/ 214 w 805"/>
                <a:gd name="T39" fmla="*/ 54 h 728"/>
                <a:gd name="T40" fmla="*/ 202 w 805"/>
                <a:gd name="T41" fmla="*/ 79 h 728"/>
                <a:gd name="T42" fmla="*/ 172 w 805"/>
                <a:gd name="T43" fmla="*/ 148 h 728"/>
                <a:gd name="T44" fmla="*/ 126 w 805"/>
                <a:gd name="T45" fmla="*/ 263 h 728"/>
                <a:gd name="T46" fmla="*/ 76 w 805"/>
                <a:gd name="T47" fmla="*/ 401 h 728"/>
                <a:gd name="T48" fmla="*/ 40 w 805"/>
                <a:gd name="T49" fmla="*/ 505 h 728"/>
                <a:gd name="T50" fmla="*/ 21 w 805"/>
                <a:gd name="T51" fmla="*/ 570 h 728"/>
                <a:gd name="T52" fmla="*/ 8 w 805"/>
                <a:gd name="T53" fmla="*/ 627 h 728"/>
                <a:gd name="T54" fmla="*/ 1 w 805"/>
                <a:gd name="T55" fmla="*/ 674 h 728"/>
                <a:gd name="T56" fmla="*/ 2 w 805"/>
                <a:gd name="T57" fmla="*/ 708 h 728"/>
                <a:gd name="T58" fmla="*/ 13 w 805"/>
                <a:gd name="T59" fmla="*/ 726 h 728"/>
                <a:gd name="T60" fmla="*/ 35 w 805"/>
                <a:gd name="T61" fmla="*/ 726 h 728"/>
                <a:gd name="T62" fmla="*/ 70 w 805"/>
                <a:gd name="T63" fmla="*/ 702 h 728"/>
                <a:gd name="T64" fmla="*/ 110 w 805"/>
                <a:gd name="T65" fmla="*/ 666 h 728"/>
                <a:gd name="T66" fmla="*/ 145 w 805"/>
                <a:gd name="T67" fmla="*/ 636 h 728"/>
                <a:gd name="T68" fmla="*/ 182 w 805"/>
                <a:gd name="T69" fmla="*/ 610 h 728"/>
                <a:gd name="T70" fmla="*/ 219 w 805"/>
                <a:gd name="T71" fmla="*/ 589 h 728"/>
                <a:gd name="T72" fmla="*/ 255 w 805"/>
                <a:gd name="T73" fmla="*/ 570 h 728"/>
                <a:gd name="T74" fmla="*/ 292 w 805"/>
                <a:gd name="T75" fmla="*/ 556 h 728"/>
                <a:gd name="T76" fmla="*/ 330 w 805"/>
                <a:gd name="T77" fmla="*/ 545 h 728"/>
                <a:gd name="T78" fmla="*/ 368 w 805"/>
                <a:gd name="T79" fmla="*/ 537 h 728"/>
                <a:gd name="T80" fmla="*/ 405 w 805"/>
                <a:gd name="T81" fmla="*/ 532 h 728"/>
                <a:gd name="T82" fmla="*/ 444 w 805"/>
                <a:gd name="T83" fmla="*/ 530 h 728"/>
                <a:gd name="T84" fmla="*/ 503 w 805"/>
                <a:gd name="T85" fmla="*/ 532 h 728"/>
                <a:gd name="T86" fmla="*/ 584 w 805"/>
                <a:gd name="T87" fmla="*/ 543 h 728"/>
                <a:gd name="T88" fmla="*/ 665 w 805"/>
                <a:gd name="T89" fmla="*/ 562 h 7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805" h="728">
                  <a:moveTo>
                    <a:pt x="707" y="574"/>
                  </a:moveTo>
                  <a:lnTo>
                    <a:pt x="735" y="582"/>
                  </a:lnTo>
                  <a:lnTo>
                    <a:pt x="759" y="585"/>
                  </a:lnTo>
                  <a:lnTo>
                    <a:pt x="778" y="584"/>
                  </a:lnTo>
                  <a:lnTo>
                    <a:pt x="791" y="581"/>
                  </a:lnTo>
                  <a:lnTo>
                    <a:pt x="800" y="574"/>
                  </a:lnTo>
                  <a:lnTo>
                    <a:pt x="805" y="563"/>
                  </a:lnTo>
                  <a:lnTo>
                    <a:pt x="805" y="550"/>
                  </a:lnTo>
                  <a:lnTo>
                    <a:pt x="801" y="533"/>
                  </a:lnTo>
                  <a:lnTo>
                    <a:pt x="795" y="516"/>
                  </a:lnTo>
                  <a:lnTo>
                    <a:pt x="785" y="496"/>
                  </a:lnTo>
                  <a:lnTo>
                    <a:pt x="773" y="473"/>
                  </a:lnTo>
                  <a:lnTo>
                    <a:pt x="758" y="449"/>
                  </a:lnTo>
                  <a:lnTo>
                    <a:pt x="740" y="425"/>
                  </a:lnTo>
                  <a:lnTo>
                    <a:pt x="721" y="399"/>
                  </a:lnTo>
                  <a:lnTo>
                    <a:pt x="700" y="371"/>
                  </a:lnTo>
                  <a:lnTo>
                    <a:pt x="677" y="344"/>
                  </a:lnTo>
                  <a:lnTo>
                    <a:pt x="631" y="289"/>
                  </a:lnTo>
                  <a:lnTo>
                    <a:pt x="582" y="234"/>
                  </a:lnTo>
                  <a:lnTo>
                    <a:pt x="534" y="182"/>
                  </a:lnTo>
                  <a:lnTo>
                    <a:pt x="489" y="135"/>
                  </a:lnTo>
                  <a:lnTo>
                    <a:pt x="450" y="95"/>
                  </a:lnTo>
                  <a:lnTo>
                    <a:pt x="420" y="64"/>
                  </a:lnTo>
                  <a:lnTo>
                    <a:pt x="399" y="43"/>
                  </a:lnTo>
                  <a:lnTo>
                    <a:pt x="392" y="35"/>
                  </a:lnTo>
                  <a:lnTo>
                    <a:pt x="381" y="26"/>
                  </a:lnTo>
                  <a:lnTo>
                    <a:pt x="368" y="17"/>
                  </a:lnTo>
                  <a:lnTo>
                    <a:pt x="355" y="11"/>
                  </a:lnTo>
                  <a:lnTo>
                    <a:pt x="342" y="5"/>
                  </a:lnTo>
                  <a:lnTo>
                    <a:pt x="329" y="1"/>
                  </a:lnTo>
                  <a:lnTo>
                    <a:pt x="316" y="0"/>
                  </a:lnTo>
                  <a:lnTo>
                    <a:pt x="302" y="0"/>
                  </a:lnTo>
                  <a:lnTo>
                    <a:pt x="289" y="1"/>
                  </a:lnTo>
                  <a:lnTo>
                    <a:pt x="278" y="4"/>
                  </a:lnTo>
                  <a:lnTo>
                    <a:pt x="266" y="8"/>
                  </a:lnTo>
                  <a:lnTo>
                    <a:pt x="254" y="15"/>
                  </a:lnTo>
                  <a:lnTo>
                    <a:pt x="242" y="22"/>
                  </a:lnTo>
                  <a:lnTo>
                    <a:pt x="232" y="32"/>
                  </a:lnTo>
                  <a:lnTo>
                    <a:pt x="222" y="43"/>
                  </a:lnTo>
                  <a:lnTo>
                    <a:pt x="214" y="54"/>
                  </a:lnTo>
                  <a:lnTo>
                    <a:pt x="206" y="69"/>
                  </a:lnTo>
                  <a:lnTo>
                    <a:pt x="202" y="79"/>
                  </a:lnTo>
                  <a:lnTo>
                    <a:pt x="190" y="106"/>
                  </a:lnTo>
                  <a:lnTo>
                    <a:pt x="172" y="148"/>
                  </a:lnTo>
                  <a:lnTo>
                    <a:pt x="151" y="201"/>
                  </a:lnTo>
                  <a:lnTo>
                    <a:pt x="126" y="263"/>
                  </a:lnTo>
                  <a:lnTo>
                    <a:pt x="100" y="330"/>
                  </a:lnTo>
                  <a:lnTo>
                    <a:pt x="76" y="401"/>
                  </a:lnTo>
                  <a:lnTo>
                    <a:pt x="51" y="471"/>
                  </a:lnTo>
                  <a:lnTo>
                    <a:pt x="40" y="505"/>
                  </a:lnTo>
                  <a:lnTo>
                    <a:pt x="31" y="538"/>
                  </a:lnTo>
                  <a:lnTo>
                    <a:pt x="21" y="570"/>
                  </a:lnTo>
                  <a:lnTo>
                    <a:pt x="14" y="600"/>
                  </a:lnTo>
                  <a:lnTo>
                    <a:pt x="8" y="627"/>
                  </a:lnTo>
                  <a:lnTo>
                    <a:pt x="3" y="652"/>
                  </a:lnTo>
                  <a:lnTo>
                    <a:pt x="1" y="674"/>
                  </a:lnTo>
                  <a:lnTo>
                    <a:pt x="0" y="693"/>
                  </a:lnTo>
                  <a:lnTo>
                    <a:pt x="2" y="708"/>
                  </a:lnTo>
                  <a:lnTo>
                    <a:pt x="6" y="719"/>
                  </a:lnTo>
                  <a:lnTo>
                    <a:pt x="13" y="726"/>
                  </a:lnTo>
                  <a:lnTo>
                    <a:pt x="22" y="728"/>
                  </a:lnTo>
                  <a:lnTo>
                    <a:pt x="35" y="726"/>
                  </a:lnTo>
                  <a:lnTo>
                    <a:pt x="51" y="717"/>
                  </a:lnTo>
                  <a:lnTo>
                    <a:pt x="70" y="702"/>
                  </a:lnTo>
                  <a:lnTo>
                    <a:pt x="92" y="682"/>
                  </a:lnTo>
                  <a:lnTo>
                    <a:pt x="110" y="666"/>
                  </a:lnTo>
                  <a:lnTo>
                    <a:pt x="128" y="650"/>
                  </a:lnTo>
                  <a:lnTo>
                    <a:pt x="145" y="636"/>
                  </a:lnTo>
                  <a:lnTo>
                    <a:pt x="164" y="623"/>
                  </a:lnTo>
                  <a:lnTo>
                    <a:pt x="182" y="610"/>
                  </a:lnTo>
                  <a:lnTo>
                    <a:pt x="200" y="598"/>
                  </a:lnTo>
                  <a:lnTo>
                    <a:pt x="219" y="589"/>
                  </a:lnTo>
                  <a:lnTo>
                    <a:pt x="236" y="579"/>
                  </a:lnTo>
                  <a:lnTo>
                    <a:pt x="255" y="570"/>
                  </a:lnTo>
                  <a:lnTo>
                    <a:pt x="273" y="563"/>
                  </a:lnTo>
                  <a:lnTo>
                    <a:pt x="292" y="556"/>
                  </a:lnTo>
                  <a:lnTo>
                    <a:pt x="311" y="550"/>
                  </a:lnTo>
                  <a:lnTo>
                    <a:pt x="330" y="545"/>
                  </a:lnTo>
                  <a:lnTo>
                    <a:pt x="349" y="540"/>
                  </a:lnTo>
                  <a:lnTo>
                    <a:pt x="368" y="537"/>
                  </a:lnTo>
                  <a:lnTo>
                    <a:pt x="386" y="535"/>
                  </a:lnTo>
                  <a:lnTo>
                    <a:pt x="405" y="532"/>
                  </a:lnTo>
                  <a:lnTo>
                    <a:pt x="425" y="531"/>
                  </a:lnTo>
                  <a:lnTo>
                    <a:pt x="444" y="530"/>
                  </a:lnTo>
                  <a:lnTo>
                    <a:pt x="464" y="530"/>
                  </a:lnTo>
                  <a:lnTo>
                    <a:pt x="503" y="532"/>
                  </a:lnTo>
                  <a:lnTo>
                    <a:pt x="544" y="537"/>
                  </a:lnTo>
                  <a:lnTo>
                    <a:pt x="584" y="543"/>
                  </a:lnTo>
                  <a:lnTo>
                    <a:pt x="624" y="551"/>
                  </a:lnTo>
                  <a:lnTo>
                    <a:pt x="665" y="562"/>
                  </a:lnTo>
                  <a:lnTo>
                    <a:pt x="707" y="574"/>
                  </a:lnTo>
                  <a:close/>
                </a:path>
              </a:pathLst>
            </a:custGeom>
            <a:solidFill>
              <a:srgbClr val="8675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6653" tIns="58327" rIns="116653" bIns="58327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56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0" name="Freeform 31"/>
            <p:cNvSpPr>
              <a:spLocks/>
            </p:cNvSpPr>
            <p:nvPr/>
          </p:nvSpPr>
          <p:spPr bwMode="auto">
            <a:xfrm>
              <a:off x="3278" y="2061"/>
              <a:ext cx="189" cy="199"/>
            </a:xfrm>
            <a:custGeom>
              <a:avLst/>
              <a:gdLst>
                <a:gd name="T0" fmla="*/ 700 w 755"/>
                <a:gd name="T1" fmla="*/ 442 h 793"/>
                <a:gd name="T2" fmla="*/ 739 w 755"/>
                <a:gd name="T3" fmla="*/ 457 h 793"/>
                <a:gd name="T4" fmla="*/ 755 w 755"/>
                <a:gd name="T5" fmla="*/ 478 h 793"/>
                <a:gd name="T6" fmla="*/ 749 w 755"/>
                <a:gd name="T7" fmla="*/ 501 h 793"/>
                <a:gd name="T8" fmla="*/ 725 w 755"/>
                <a:gd name="T9" fmla="*/ 527 h 793"/>
                <a:gd name="T10" fmla="*/ 686 w 755"/>
                <a:gd name="T11" fmla="*/ 556 h 793"/>
                <a:gd name="T12" fmla="*/ 636 w 755"/>
                <a:gd name="T13" fmla="*/ 585 h 793"/>
                <a:gd name="T14" fmla="*/ 577 w 755"/>
                <a:gd name="T15" fmla="*/ 616 h 793"/>
                <a:gd name="T16" fmla="*/ 479 w 755"/>
                <a:gd name="T17" fmla="*/ 661 h 793"/>
                <a:gd name="T18" fmla="*/ 345 w 755"/>
                <a:gd name="T19" fmla="*/ 715 h 793"/>
                <a:gd name="T20" fmla="*/ 233 w 755"/>
                <a:gd name="T21" fmla="*/ 758 h 793"/>
                <a:gd name="T22" fmla="*/ 165 w 755"/>
                <a:gd name="T23" fmla="*/ 783 h 793"/>
                <a:gd name="T24" fmla="*/ 140 w 755"/>
                <a:gd name="T25" fmla="*/ 790 h 793"/>
                <a:gd name="T26" fmla="*/ 110 w 755"/>
                <a:gd name="T27" fmla="*/ 793 h 793"/>
                <a:gd name="T28" fmla="*/ 83 w 755"/>
                <a:gd name="T29" fmla="*/ 790 h 793"/>
                <a:gd name="T30" fmla="*/ 58 w 755"/>
                <a:gd name="T31" fmla="*/ 780 h 793"/>
                <a:gd name="T32" fmla="*/ 37 w 755"/>
                <a:gd name="T33" fmla="*/ 765 h 793"/>
                <a:gd name="T34" fmla="*/ 20 w 755"/>
                <a:gd name="T35" fmla="*/ 745 h 793"/>
                <a:gd name="T36" fmla="*/ 9 w 755"/>
                <a:gd name="T37" fmla="*/ 721 h 793"/>
                <a:gd name="T38" fmla="*/ 1 w 755"/>
                <a:gd name="T39" fmla="*/ 692 h 793"/>
                <a:gd name="T40" fmla="*/ 1 w 755"/>
                <a:gd name="T41" fmla="*/ 666 h 793"/>
                <a:gd name="T42" fmla="*/ 5 w 755"/>
                <a:gd name="T43" fmla="*/ 590 h 793"/>
                <a:gd name="T44" fmla="*/ 13 w 755"/>
                <a:gd name="T45" fmla="*/ 467 h 793"/>
                <a:gd name="T46" fmla="*/ 26 w 755"/>
                <a:gd name="T47" fmla="*/ 320 h 793"/>
                <a:gd name="T48" fmla="*/ 39 w 755"/>
                <a:gd name="T49" fmla="*/ 210 h 793"/>
                <a:gd name="T50" fmla="*/ 50 w 755"/>
                <a:gd name="T51" fmla="*/ 144 h 793"/>
                <a:gd name="T52" fmla="*/ 63 w 755"/>
                <a:gd name="T53" fmla="*/ 86 h 793"/>
                <a:gd name="T54" fmla="*/ 77 w 755"/>
                <a:gd name="T55" fmla="*/ 41 h 793"/>
                <a:gd name="T56" fmla="*/ 92 w 755"/>
                <a:gd name="T57" fmla="*/ 12 h 793"/>
                <a:gd name="T58" fmla="*/ 110 w 755"/>
                <a:gd name="T59" fmla="*/ 0 h 793"/>
                <a:gd name="T60" fmla="*/ 130 w 755"/>
                <a:gd name="T61" fmla="*/ 9 h 793"/>
                <a:gd name="T62" fmla="*/ 152 w 755"/>
                <a:gd name="T63" fmla="*/ 45 h 793"/>
                <a:gd name="T64" fmla="*/ 172 w 755"/>
                <a:gd name="T65" fmla="*/ 96 h 793"/>
                <a:gd name="T66" fmla="*/ 191 w 755"/>
                <a:gd name="T67" fmla="*/ 138 h 793"/>
                <a:gd name="T68" fmla="*/ 213 w 755"/>
                <a:gd name="T69" fmla="*/ 177 h 793"/>
                <a:gd name="T70" fmla="*/ 236 w 755"/>
                <a:gd name="T71" fmla="*/ 213 h 793"/>
                <a:gd name="T72" fmla="*/ 262 w 755"/>
                <a:gd name="T73" fmla="*/ 245 h 793"/>
                <a:gd name="T74" fmla="*/ 289 w 755"/>
                <a:gd name="T75" fmla="*/ 274 h 793"/>
                <a:gd name="T76" fmla="*/ 318 w 755"/>
                <a:gd name="T77" fmla="*/ 300 h 793"/>
                <a:gd name="T78" fmla="*/ 349 w 755"/>
                <a:gd name="T79" fmla="*/ 323 h 793"/>
                <a:gd name="T80" fmla="*/ 381 w 755"/>
                <a:gd name="T81" fmla="*/ 344 h 793"/>
                <a:gd name="T82" fmla="*/ 415 w 755"/>
                <a:gd name="T83" fmla="*/ 363 h 793"/>
                <a:gd name="T84" fmla="*/ 470 w 755"/>
                <a:gd name="T85" fmla="*/ 387 h 793"/>
                <a:gd name="T86" fmla="*/ 546 w 755"/>
                <a:gd name="T87" fmla="*/ 411 h 793"/>
                <a:gd name="T88" fmla="*/ 628 w 755"/>
                <a:gd name="T89" fmla="*/ 429 h 7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755" h="793">
                  <a:moveTo>
                    <a:pt x="671" y="436"/>
                  </a:moveTo>
                  <a:lnTo>
                    <a:pt x="700" y="442"/>
                  </a:lnTo>
                  <a:lnTo>
                    <a:pt x="723" y="449"/>
                  </a:lnTo>
                  <a:lnTo>
                    <a:pt x="739" y="457"/>
                  </a:lnTo>
                  <a:lnTo>
                    <a:pt x="750" y="467"/>
                  </a:lnTo>
                  <a:lnTo>
                    <a:pt x="755" y="478"/>
                  </a:lnTo>
                  <a:lnTo>
                    <a:pt x="755" y="488"/>
                  </a:lnTo>
                  <a:lnTo>
                    <a:pt x="749" y="501"/>
                  </a:lnTo>
                  <a:lnTo>
                    <a:pt x="739" y="514"/>
                  </a:lnTo>
                  <a:lnTo>
                    <a:pt x="725" y="527"/>
                  </a:lnTo>
                  <a:lnTo>
                    <a:pt x="707" y="541"/>
                  </a:lnTo>
                  <a:lnTo>
                    <a:pt x="686" y="556"/>
                  </a:lnTo>
                  <a:lnTo>
                    <a:pt x="662" y="571"/>
                  </a:lnTo>
                  <a:lnTo>
                    <a:pt x="636" y="585"/>
                  </a:lnTo>
                  <a:lnTo>
                    <a:pt x="608" y="601"/>
                  </a:lnTo>
                  <a:lnTo>
                    <a:pt x="577" y="616"/>
                  </a:lnTo>
                  <a:lnTo>
                    <a:pt x="545" y="631"/>
                  </a:lnTo>
                  <a:lnTo>
                    <a:pt x="479" y="661"/>
                  </a:lnTo>
                  <a:lnTo>
                    <a:pt x="412" y="689"/>
                  </a:lnTo>
                  <a:lnTo>
                    <a:pt x="345" y="715"/>
                  </a:lnTo>
                  <a:lnTo>
                    <a:pt x="285" y="739"/>
                  </a:lnTo>
                  <a:lnTo>
                    <a:pt x="233" y="758"/>
                  </a:lnTo>
                  <a:lnTo>
                    <a:pt x="192" y="773"/>
                  </a:lnTo>
                  <a:lnTo>
                    <a:pt x="165" y="783"/>
                  </a:lnTo>
                  <a:lnTo>
                    <a:pt x="155" y="786"/>
                  </a:lnTo>
                  <a:lnTo>
                    <a:pt x="140" y="790"/>
                  </a:lnTo>
                  <a:lnTo>
                    <a:pt x="124" y="792"/>
                  </a:lnTo>
                  <a:lnTo>
                    <a:pt x="110" y="793"/>
                  </a:lnTo>
                  <a:lnTo>
                    <a:pt x="96" y="792"/>
                  </a:lnTo>
                  <a:lnTo>
                    <a:pt x="83" y="790"/>
                  </a:lnTo>
                  <a:lnTo>
                    <a:pt x="70" y="785"/>
                  </a:lnTo>
                  <a:lnTo>
                    <a:pt x="58" y="780"/>
                  </a:lnTo>
                  <a:lnTo>
                    <a:pt x="48" y="773"/>
                  </a:lnTo>
                  <a:lnTo>
                    <a:pt x="37" y="765"/>
                  </a:lnTo>
                  <a:lnTo>
                    <a:pt x="29" y="755"/>
                  </a:lnTo>
                  <a:lnTo>
                    <a:pt x="20" y="745"/>
                  </a:lnTo>
                  <a:lnTo>
                    <a:pt x="14" y="733"/>
                  </a:lnTo>
                  <a:lnTo>
                    <a:pt x="9" y="721"/>
                  </a:lnTo>
                  <a:lnTo>
                    <a:pt x="5" y="707"/>
                  </a:lnTo>
                  <a:lnTo>
                    <a:pt x="1" y="692"/>
                  </a:lnTo>
                  <a:lnTo>
                    <a:pt x="0" y="676"/>
                  </a:lnTo>
                  <a:lnTo>
                    <a:pt x="1" y="666"/>
                  </a:lnTo>
                  <a:lnTo>
                    <a:pt x="3" y="635"/>
                  </a:lnTo>
                  <a:lnTo>
                    <a:pt x="5" y="590"/>
                  </a:lnTo>
                  <a:lnTo>
                    <a:pt x="9" y="533"/>
                  </a:lnTo>
                  <a:lnTo>
                    <a:pt x="13" y="467"/>
                  </a:lnTo>
                  <a:lnTo>
                    <a:pt x="19" y="395"/>
                  </a:lnTo>
                  <a:lnTo>
                    <a:pt x="26" y="320"/>
                  </a:lnTo>
                  <a:lnTo>
                    <a:pt x="35" y="247"/>
                  </a:lnTo>
                  <a:lnTo>
                    <a:pt x="39" y="210"/>
                  </a:lnTo>
                  <a:lnTo>
                    <a:pt x="45" y="177"/>
                  </a:lnTo>
                  <a:lnTo>
                    <a:pt x="50" y="144"/>
                  </a:lnTo>
                  <a:lnTo>
                    <a:pt x="56" y="115"/>
                  </a:lnTo>
                  <a:lnTo>
                    <a:pt x="63" y="86"/>
                  </a:lnTo>
                  <a:lnTo>
                    <a:pt x="70" y="62"/>
                  </a:lnTo>
                  <a:lnTo>
                    <a:pt x="77" y="41"/>
                  </a:lnTo>
                  <a:lnTo>
                    <a:pt x="84" y="23"/>
                  </a:lnTo>
                  <a:lnTo>
                    <a:pt x="92" y="12"/>
                  </a:lnTo>
                  <a:lnTo>
                    <a:pt x="101" y="2"/>
                  </a:lnTo>
                  <a:lnTo>
                    <a:pt x="110" y="0"/>
                  </a:lnTo>
                  <a:lnTo>
                    <a:pt x="120" y="2"/>
                  </a:lnTo>
                  <a:lnTo>
                    <a:pt x="130" y="9"/>
                  </a:lnTo>
                  <a:lnTo>
                    <a:pt x="140" y="25"/>
                  </a:lnTo>
                  <a:lnTo>
                    <a:pt x="152" y="45"/>
                  </a:lnTo>
                  <a:lnTo>
                    <a:pt x="163" y="73"/>
                  </a:lnTo>
                  <a:lnTo>
                    <a:pt x="172" y="96"/>
                  </a:lnTo>
                  <a:lnTo>
                    <a:pt x="181" y="118"/>
                  </a:lnTo>
                  <a:lnTo>
                    <a:pt x="191" y="138"/>
                  </a:lnTo>
                  <a:lnTo>
                    <a:pt x="201" y="158"/>
                  </a:lnTo>
                  <a:lnTo>
                    <a:pt x="213" y="177"/>
                  </a:lnTo>
                  <a:lnTo>
                    <a:pt x="224" y="195"/>
                  </a:lnTo>
                  <a:lnTo>
                    <a:pt x="236" y="213"/>
                  </a:lnTo>
                  <a:lnTo>
                    <a:pt x="249" y="229"/>
                  </a:lnTo>
                  <a:lnTo>
                    <a:pt x="262" y="245"/>
                  </a:lnTo>
                  <a:lnTo>
                    <a:pt x="275" y="260"/>
                  </a:lnTo>
                  <a:lnTo>
                    <a:pt x="289" y="274"/>
                  </a:lnTo>
                  <a:lnTo>
                    <a:pt x="303" y="287"/>
                  </a:lnTo>
                  <a:lnTo>
                    <a:pt x="318" y="300"/>
                  </a:lnTo>
                  <a:lnTo>
                    <a:pt x="332" y="312"/>
                  </a:lnTo>
                  <a:lnTo>
                    <a:pt x="349" y="323"/>
                  </a:lnTo>
                  <a:lnTo>
                    <a:pt x="364" y="334"/>
                  </a:lnTo>
                  <a:lnTo>
                    <a:pt x="381" y="344"/>
                  </a:lnTo>
                  <a:lnTo>
                    <a:pt x="398" y="353"/>
                  </a:lnTo>
                  <a:lnTo>
                    <a:pt x="415" y="363"/>
                  </a:lnTo>
                  <a:lnTo>
                    <a:pt x="433" y="371"/>
                  </a:lnTo>
                  <a:lnTo>
                    <a:pt x="470" y="387"/>
                  </a:lnTo>
                  <a:lnTo>
                    <a:pt x="506" y="400"/>
                  </a:lnTo>
                  <a:lnTo>
                    <a:pt x="546" y="411"/>
                  </a:lnTo>
                  <a:lnTo>
                    <a:pt x="587" y="421"/>
                  </a:lnTo>
                  <a:lnTo>
                    <a:pt x="628" y="429"/>
                  </a:lnTo>
                  <a:lnTo>
                    <a:pt x="671" y="436"/>
                  </a:lnTo>
                  <a:close/>
                </a:path>
              </a:pathLst>
            </a:custGeom>
            <a:solidFill>
              <a:srgbClr val="834E9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6653" tIns="58327" rIns="116653" bIns="58327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56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1" name="Freeform 32"/>
            <p:cNvSpPr>
              <a:spLocks/>
            </p:cNvSpPr>
            <p:nvPr/>
          </p:nvSpPr>
          <p:spPr bwMode="auto">
            <a:xfrm>
              <a:off x="1939" y="750"/>
              <a:ext cx="189" cy="198"/>
            </a:xfrm>
            <a:custGeom>
              <a:avLst/>
              <a:gdLst>
                <a:gd name="T0" fmla="*/ 55 w 753"/>
                <a:gd name="T1" fmla="*/ 351 h 793"/>
                <a:gd name="T2" fmla="*/ 16 w 753"/>
                <a:gd name="T3" fmla="*/ 336 h 793"/>
                <a:gd name="T4" fmla="*/ 0 w 753"/>
                <a:gd name="T5" fmla="*/ 316 h 793"/>
                <a:gd name="T6" fmla="*/ 6 w 753"/>
                <a:gd name="T7" fmla="*/ 292 h 793"/>
                <a:gd name="T8" fmla="*/ 30 w 753"/>
                <a:gd name="T9" fmla="*/ 266 h 793"/>
                <a:gd name="T10" fmla="*/ 68 w 753"/>
                <a:gd name="T11" fmla="*/ 238 h 793"/>
                <a:gd name="T12" fmla="*/ 119 w 753"/>
                <a:gd name="T13" fmla="*/ 207 h 793"/>
                <a:gd name="T14" fmla="*/ 178 w 753"/>
                <a:gd name="T15" fmla="*/ 177 h 793"/>
                <a:gd name="T16" fmla="*/ 276 w 753"/>
                <a:gd name="T17" fmla="*/ 131 h 793"/>
                <a:gd name="T18" fmla="*/ 408 w 753"/>
                <a:gd name="T19" fmla="*/ 77 h 793"/>
                <a:gd name="T20" fmla="*/ 522 w 753"/>
                <a:gd name="T21" fmla="*/ 34 h 793"/>
                <a:gd name="T22" fmla="*/ 590 w 753"/>
                <a:gd name="T23" fmla="*/ 11 h 793"/>
                <a:gd name="T24" fmla="*/ 615 w 753"/>
                <a:gd name="T25" fmla="*/ 2 h 793"/>
                <a:gd name="T26" fmla="*/ 645 w 753"/>
                <a:gd name="T27" fmla="*/ 0 h 793"/>
                <a:gd name="T28" fmla="*/ 672 w 753"/>
                <a:gd name="T29" fmla="*/ 4 h 793"/>
                <a:gd name="T30" fmla="*/ 697 w 753"/>
                <a:gd name="T31" fmla="*/ 13 h 793"/>
                <a:gd name="T32" fmla="*/ 717 w 753"/>
                <a:gd name="T33" fmla="*/ 27 h 793"/>
                <a:gd name="T34" fmla="*/ 733 w 753"/>
                <a:gd name="T35" fmla="*/ 47 h 793"/>
                <a:gd name="T36" fmla="*/ 746 w 753"/>
                <a:gd name="T37" fmla="*/ 72 h 793"/>
                <a:gd name="T38" fmla="*/ 752 w 753"/>
                <a:gd name="T39" fmla="*/ 100 h 793"/>
                <a:gd name="T40" fmla="*/ 753 w 753"/>
                <a:gd name="T41" fmla="*/ 128 h 793"/>
                <a:gd name="T42" fmla="*/ 750 w 753"/>
                <a:gd name="T43" fmla="*/ 202 h 793"/>
                <a:gd name="T44" fmla="*/ 742 w 753"/>
                <a:gd name="T45" fmla="*/ 326 h 793"/>
                <a:gd name="T46" fmla="*/ 729 w 753"/>
                <a:gd name="T47" fmla="*/ 473 h 793"/>
                <a:gd name="T48" fmla="*/ 716 w 753"/>
                <a:gd name="T49" fmla="*/ 582 h 793"/>
                <a:gd name="T50" fmla="*/ 704 w 753"/>
                <a:gd name="T51" fmla="*/ 648 h 793"/>
                <a:gd name="T52" fmla="*/ 692 w 753"/>
                <a:gd name="T53" fmla="*/ 706 h 793"/>
                <a:gd name="T54" fmla="*/ 678 w 753"/>
                <a:gd name="T55" fmla="*/ 752 h 793"/>
                <a:gd name="T56" fmla="*/ 662 w 753"/>
                <a:gd name="T57" fmla="*/ 782 h 793"/>
                <a:gd name="T58" fmla="*/ 645 w 753"/>
                <a:gd name="T59" fmla="*/ 793 h 793"/>
                <a:gd name="T60" fmla="*/ 625 w 753"/>
                <a:gd name="T61" fmla="*/ 783 h 793"/>
                <a:gd name="T62" fmla="*/ 603 w 753"/>
                <a:gd name="T63" fmla="*/ 747 h 793"/>
                <a:gd name="T64" fmla="*/ 583 w 753"/>
                <a:gd name="T65" fmla="*/ 697 h 793"/>
                <a:gd name="T66" fmla="*/ 563 w 753"/>
                <a:gd name="T67" fmla="*/ 655 h 793"/>
                <a:gd name="T68" fmla="*/ 542 w 753"/>
                <a:gd name="T69" fmla="*/ 616 h 793"/>
                <a:gd name="T70" fmla="*/ 518 w 753"/>
                <a:gd name="T71" fmla="*/ 581 h 793"/>
                <a:gd name="T72" fmla="*/ 493 w 753"/>
                <a:gd name="T73" fmla="*/ 549 h 793"/>
                <a:gd name="T74" fmla="*/ 466 w 753"/>
                <a:gd name="T75" fmla="*/ 519 h 793"/>
                <a:gd name="T76" fmla="*/ 437 w 753"/>
                <a:gd name="T77" fmla="*/ 493 h 793"/>
                <a:gd name="T78" fmla="*/ 406 w 753"/>
                <a:gd name="T79" fmla="*/ 469 h 793"/>
                <a:gd name="T80" fmla="*/ 374 w 753"/>
                <a:gd name="T81" fmla="*/ 449 h 793"/>
                <a:gd name="T82" fmla="*/ 340 w 753"/>
                <a:gd name="T83" fmla="*/ 430 h 793"/>
                <a:gd name="T84" fmla="*/ 285 w 753"/>
                <a:gd name="T85" fmla="*/ 407 h 793"/>
                <a:gd name="T86" fmla="*/ 208 w 753"/>
                <a:gd name="T87" fmla="*/ 382 h 793"/>
                <a:gd name="T88" fmla="*/ 127 w 753"/>
                <a:gd name="T89" fmla="*/ 364 h 7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753" h="793">
                  <a:moveTo>
                    <a:pt x="84" y="357"/>
                  </a:moveTo>
                  <a:lnTo>
                    <a:pt x="55" y="351"/>
                  </a:lnTo>
                  <a:lnTo>
                    <a:pt x="32" y="344"/>
                  </a:lnTo>
                  <a:lnTo>
                    <a:pt x="16" y="336"/>
                  </a:lnTo>
                  <a:lnTo>
                    <a:pt x="5" y="326"/>
                  </a:lnTo>
                  <a:lnTo>
                    <a:pt x="0" y="316"/>
                  </a:lnTo>
                  <a:lnTo>
                    <a:pt x="0" y="304"/>
                  </a:lnTo>
                  <a:lnTo>
                    <a:pt x="6" y="292"/>
                  </a:lnTo>
                  <a:lnTo>
                    <a:pt x="16" y="279"/>
                  </a:lnTo>
                  <a:lnTo>
                    <a:pt x="30" y="266"/>
                  </a:lnTo>
                  <a:lnTo>
                    <a:pt x="48" y="252"/>
                  </a:lnTo>
                  <a:lnTo>
                    <a:pt x="68" y="238"/>
                  </a:lnTo>
                  <a:lnTo>
                    <a:pt x="91" y="222"/>
                  </a:lnTo>
                  <a:lnTo>
                    <a:pt x="119" y="207"/>
                  </a:lnTo>
                  <a:lnTo>
                    <a:pt x="147" y="192"/>
                  </a:lnTo>
                  <a:lnTo>
                    <a:pt x="178" y="177"/>
                  </a:lnTo>
                  <a:lnTo>
                    <a:pt x="210" y="162"/>
                  </a:lnTo>
                  <a:lnTo>
                    <a:pt x="276" y="131"/>
                  </a:lnTo>
                  <a:lnTo>
                    <a:pt x="343" y="103"/>
                  </a:lnTo>
                  <a:lnTo>
                    <a:pt x="408" y="77"/>
                  </a:lnTo>
                  <a:lnTo>
                    <a:pt x="470" y="54"/>
                  </a:lnTo>
                  <a:lnTo>
                    <a:pt x="522" y="34"/>
                  </a:lnTo>
                  <a:lnTo>
                    <a:pt x="563" y="20"/>
                  </a:lnTo>
                  <a:lnTo>
                    <a:pt x="590" y="11"/>
                  </a:lnTo>
                  <a:lnTo>
                    <a:pt x="600" y="7"/>
                  </a:lnTo>
                  <a:lnTo>
                    <a:pt x="615" y="2"/>
                  </a:lnTo>
                  <a:lnTo>
                    <a:pt x="630" y="0"/>
                  </a:lnTo>
                  <a:lnTo>
                    <a:pt x="645" y="0"/>
                  </a:lnTo>
                  <a:lnTo>
                    <a:pt x="659" y="1"/>
                  </a:lnTo>
                  <a:lnTo>
                    <a:pt x="672" y="4"/>
                  </a:lnTo>
                  <a:lnTo>
                    <a:pt x="685" y="7"/>
                  </a:lnTo>
                  <a:lnTo>
                    <a:pt x="697" y="13"/>
                  </a:lnTo>
                  <a:lnTo>
                    <a:pt x="707" y="20"/>
                  </a:lnTo>
                  <a:lnTo>
                    <a:pt x="717" y="27"/>
                  </a:lnTo>
                  <a:lnTo>
                    <a:pt x="726" y="37"/>
                  </a:lnTo>
                  <a:lnTo>
                    <a:pt x="733" y="47"/>
                  </a:lnTo>
                  <a:lnTo>
                    <a:pt x="740" y="59"/>
                  </a:lnTo>
                  <a:lnTo>
                    <a:pt x="746" y="72"/>
                  </a:lnTo>
                  <a:lnTo>
                    <a:pt x="750" y="86"/>
                  </a:lnTo>
                  <a:lnTo>
                    <a:pt x="752" y="100"/>
                  </a:lnTo>
                  <a:lnTo>
                    <a:pt x="753" y="117"/>
                  </a:lnTo>
                  <a:lnTo>
                    <a:pt x="753" y="128"/>
                  </a:lnTo>
                  <a:lnTo>
                    <a:pt x="752" y="157"/>
                  </a:lnTo>
                  <a:lnTo>
                    <a:pt x="750" y="202"/>
                  </a:lnTo>
                  <a:lnTo>
                    <a:pt x="746" y="260"/>
                  </a:lnTo>
                  <a:lnTo>
                    <a:pt x="742" y="326"/>
                  </a:lnTo>
                  <a:lnTo>
                    <a:pt x="736" y="399"/>
                  </a:lnTo>
                  <a:lnTo>
                    <a:pt x="729" y="473"/>
                  </a:lnTo>
                  <a:lnTo>
                    <a:pt x="720" y="546"/>
                  </a:lnTo>
                  <a:lnTo>
                    <a:pt x="716" y="582"/>
                  </a:lnTo>
                  <a:lnTo>
                    <a:pt x="710" y="616"/>
                  </a:lnTo>
                  <a:lnTo>
                    <a:pt x="704" y="648"/>
                  </a:lnTo>
                  <a:lnTo>
                    <a:pt x="698" y="679"/>
                  </a:lnTo>
                  <a:lnTo>
                    <a:pt x="692" y="706"/>
                  </a:lnTo>
                  <a:lnTo>
                    <a:pt x="685" y="731"/>
                  </a:lnTo>
                  <a:lnTo>
                    <a:pt x="678" y="752"/>
                  </a:lnTo>
                  <a:lnTo>
                    <a:pt x="671" y="769"/>
                  </a:lnTo>
                  <a:lnTo>
                    <a:pt x="662" y="782"/>
                  </a:lnTo>
                  <a:lnTo>
                    <a:pt x="653" y="790"/>
                  </a:lnTo>
                  <a:lnTo>
                    <a:pt x="645" y="793"/>
                  </a:lnTo>
                  <a:lnTo>
                    <a:pt x="635" y="791"/>
                  </a:lnTo>
                  <a:lnTo>
                    <a:pt x="625" y="783"/>
                  </a:lnTo>
                  <a:lnTo>
                    <a:pt x="614" y="769"/>
                  </a:lnTo>
                  <a:lnTo>
                    <a:pt x="603" y="747"/>
                  </a:lnTo>
                  <a:lnTo>
                    <a:pt x="591" y="720"/>
                  </a:lnTo>
                  <a:lnTo>
                    <a:pt x="583" y="697"/>
                  </a:lnTo>
                  <a:lnTo>
                    <a:pt x="574" y="675"/>
                  </a:lnTo>
                  <a:lnTo>
                    <a:pt x="563" y="655"/>
                  </a:lnTo>
                  <a:lnTo>
                    <a:pt x="552" y="635"/>
                  </a:lnTo>
                  <a:lnTo>
                    <a:pt x="542" y="616"/>
                  </a:lnTo>
                  <a:lnTo>
                    <a:pt x="530" y="598"/>
                  </a:lnTo>
                  <a:lnTo>
                    <a:pt x="518" y="581"/>
                  </a:lnTo>
                  <a:lnTo>
                    <a:pt x="506" y="564"/>
                  </a:lnTo>
                  <a:lnTo>
                    <a:pt x="493" y="549"/>
                  </a:lnTo>
                  <a:lnTo>
                    <a:pt x="480" y="533"/>
                  </a:lnTo>
                  <a:lnTo>
                    <a:pt x="466" y="519"/>
                  </a:lnTo>
                  <a:lnTo>
                    <a:pt x="452" y="506"/>
                  </a:lnTo>
                  <a:lnTo>
                    <a:pt x="437" y="493"/>
                  </a:lnTo>
                  <a:lnTo>
                    <a:pt x="421" y="481"/>
                  </a:lnTo>
                  <a:lnTo>
                    <a:pt x="406" y="469"/>
                  </a:lnTo>
                  <a:lnTo>
                    <a:pt x="389" y="459"/>
                  </a:lnTo>
                  <a:lnTo>
                    <a:pt x="374" y="449"/>
                  </a:lnTo>
                  <a:lnTo>
                    <a:pt x="356" y="439"/>
                  </a:lnTo>
                  <a:lnTo>
                    <a:pt x="340" y="430"/>
                  </a:lnTo>
                  <a:lnTo>
                    <a:pt x="322" y="422"/>
                  </a:lnTo>
                  <a:lnTo>
                    <a:pt x="285" y="407"/>
                  </a:lnTo>
                  <a:lnTo>
                    <a:pt x="247" y="394"/>
                  </a:lnTo>
                  <a:lnTo>
                    <a:pt x="208" y="382"/>
                  </a:lnTo>
                  <a:lnTo>
                    <a:pt x="168" y="372"/>
                  </a:lnTo>
                  <a:lnTo>
                    <a:pt x="127" y="364"/>
                  </a:lnTo>
                  <a:lnTo>
                    <a:pt x="84" y="357"/>
                  </a:lnTo>
                  <a:close/>
                </a:path>
              </a:pathLst>
            </a:custGeom>
            <a:solidFill>
              <a:srgbClr val="CC6F3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6653" tIns="58327" rIns="116653" bIns="58327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56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2" name="Freeform 33"/>
            <p:cNvSpPr>
              <a:spLocks/>
            </p:cNvSpPr>
            <p:nvPr/>
          </p:nvSpPr>
          <p:spPr bwMode="auto">
            <a:xfrm>
              <a:off x="3569" y="985"/>
              <a:ext cx="191" cy="193"/>
            </a:xfrm>
            <a:custGeom>
              <a:avLst/>
              <a:gdLst>
                <a:gd name="T0" fmla="*/ 664 w 763"/>
                <a:gd name="T1" fmla="*/ 33 h 776"/>
                <a:gd name="T2" fmla="*/ 696 w 763"/>
                <a:gd name="T3" fmla="*/ 5 h 776"/>
                <a:gd name="T4" fmla="*/ 721 w 763"/>
                <a:gd name="T5" fmla="*/ 0 h 776"/>
                <a:gd name="T6" fmla="*/ 738 w 763"/>
                <a:gd name="T7" fmla="*/ 17 h 776"/>
                <a:gd name="T8" fmla="*/ 751 w 763"/>
                <a:gd name="T9" fmla="*/ 50 h 776"/>
                <a:gd name="T10" fmla="*/ 759 w 763"/>
                <a:gd name="T11" fmla="*/ 97 h 776"/>
                <a:gd name="T12" fmla="*/ 762 w 763"/>
                <a:gd name="T13" fmla="*/ 155 h 776"/>
                <a:gd name="T14" fmla="*/ 762 w 763"/>
                <a:gd name="T15" fmla="*/ 221 h 776"/>
                <a:gd name="T16" fmla="*/ 757 w 763"/>
                <a:gd name="T17" fmla="*/ 330 h 776"/>
                <a:gd name="T18" fmla="*/ 744 w 763"/>
                <a:gd name="T19" fmla="*/ 473 h 776"/>
                <a:gd name="T20" fmla="*/ 730 w 763"/>
                <a:gd name="T21" fmla="*/ 593 h 776"/>
                <a:gd name="T22" fmla="*/ 721 w 763"/>
                <a:gd name="T23" fmla="*/ 665 h 776"/>
                <a:gd name="T24" fmla="*/ 716 w 763"/>
                <a:gd name="T25" fmla="*/ 691 h 776"/>
                <a:gd name="T26" fmla="*/ 705 w 763"/>
                <a:gd name="T27" fmla="*/ 718 h 776"/>
                <a:gd name="T28" fmla="*/ 690 w 763"/>
                <a:gd name="T29" fmla="*/ 740 h 776"/>
                <a:gd name="T30" fmla="*/ 670 w 763"/>
                <a:gd name="T31" fmla="*/ 758 h 776"/>
                <a:gd name="T32" fmla="*/ 647 w 763"/>
                <a:gd name="T33" fmla="*/ 770 h 776"/>
                <a:gd name="T34" fmla="*/ 621 w 763"/>
                <a:gd name="T35" fmla="*/ 776 h 776"/>
                <a:gd name="T36" fmla="*/ 594 w 763"/>
                <a:gd name="T37" fmla="*/ 775 h 776"/>
                <a:gd name="T38" fmla="*/ 566 w 763"/>
                <a:gd name="T39" fmla="*/ 768 h 776"/>
                <a:gd name="T40" fmla="*/ 541 w 763"/>
                <a:gd name="T41" fmla="*/ 756 h 776"/>
                <a:gd name="T42" fmla="*/ 477 w 763"/>
                <a:gd name="T43" fmla="*/ 718 h 776"/>
                <a:gd name="T44" fmla="*/ 371 w 763"/>
                <a:gd name="T45" fmla="*/ 654 h 776"/>
                <a:gd name="T46" fmla="*/ 247 w 763"/>
                <a:gd name="T47" fmla="*/ 576 h 776"/>
                <a:gd name="T48" fmla="*/ 156 w 763"/>
                <a:gd name="T49" fmla="*/ 513 h 776"/>
                <a:gd name="T50" fmla="*/ 101 w 763"/>
                <a:gd name="T51" fmla="*/ 473 h 776"/>
                <a:gd name="T52" fmla="*/ 56 w 763"/>
                <a:gd name="T53" fmla="*/ 435 h 776"/>
                <a:gd name="T54" fmla="*/ 22 w 763"/>
                <a:gd name="T55" fmla="*/ 402 h 776"/>
                <a:gd name="T56" fmla="*/ 3 w 763"/>
                <a:gd name="T57" fmla="*/ 375 h 776"/>
                <a:gd name="T58" fmla="*/ 1 w 763"/>
                <a:gd name="T59" fmla="*/ 354 h 776"/>
                <a:gd name="T60" fmla="*/ 18 w 763"/>
                <a:gd name="T61" fmla="*/ 341 h 776"/>
                <a:gd name="T62" fmla="*/ 60 w 763"/>
                <a:gd name="T63" fmla="*/ 338 h 776"/>
                <a:gd name="T64" fmla="*/ 114 w 763"/>
                <a:gd name="T65" fmla="*/ 343 h 776"/>
                <a:gd name="T66" fmla="*/ 160 w 763"/>
                <a:gd name="T67" fmla="*/ 345 h 776"/>
                <a:gd name="T68" fmla="*/ 205 w 763"/>
                <a:gd name="T69" fmla="*/ 344 h 776"/>
                <a:gd name="T70" fmla="*/ 247 w 763"/>
                <a:gd name="T71" fmla="*/ 339 h 776"/>
                <a:gd name="T72" fmla="*/ 287 w 763"/>
                <a:gd name="T73" fmla="*/ 331 h 776"/>
                <a:gd name="T74" fmla="*/ 326 w 763"/>
                <a:gd name="T75" fmla="*/ 321 h 776"/>
                <a:gd name="T76" fmla="*/ 362 w 763"/>
                <a:gd name="T77" fmla="*/ 306 h 776"/>
                <a:gd name="T78" fmla="*/ 397 w 763"/>
                <a:gd name="T79" fmla="*/ 290 h 776"/>
                <a:gd name="T80" fmla="*/ 431 w 763"/>
                <a:gd name="T81" fmla="*/ 271 h 776"/>
                <a:gd name="T82" fmla="*/ 463 w 763"/>
                <a:gd name="T83" fmla="*/ 250 h 776"/>
                <a:gd name="T84" fmla="*/ 509 w 763"/>
                <a:gd name="T85" fmla="*/ 212 h 776"/>
                <a:gd name="T86" fmla="*/ 566 w 763"/>
                <a:gd name="T87" fmla="*/ 155 h 776"/>
                <a:gd name="T88" fmla="*/ 619 w 763"/>
                <a:gd name="T89" fmla="*/ 91 h 7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763" h="776">
                  <a:moveTo>
                    <a:pt x="645" y="57"/>
                  </a:moveTo>
                  <a:lnTo>
                    <a:pt x="664" y="33"/>
                  </a:lnTo>
                  <a:lnTo>
                    <a:pt x="680" y="15"/>
                  </a:lnTo>
                  <a:lnTo>
                    <a:pt x="696" y="5"/>
                  </a:lnTo>
                  <a:lnTo>
                    <a:pt x="709" y="0"/>
                  </a:lnTo>
                  <a:lnTo>
                    <a:pt x="721" y="0"/>
                  </a:lnTo>
                  <a:lnTo>
                    <a:pt x="730" y="6"/>
                  </a:lnTo>
                  <a:lnTo>
                    <a:pt x="738" y="17"/>
                  </a:lnTo>
                  <a:lnTo>
                    <a:pt x="746" y="31"/>
                  </a:lnTo>
                  <a:lnTo>
                    <a:pt x="751" y="50"/>
                  </a:lnTo>
                  <a:lnTo>
                    <a:pt x="756" y="71"/>
                  </a:lnTo>
                  <a:lnTo>
                    <a:pt x="759" y="97"/>
                  </a:lnTo>
                  <a:lnTo>
                    <a:pt x="761" y="124"/>
                  </a:lnTo>
                  <a:lnTo>
                    <a:pt x="762" y="155"/>
                  </a:lnTo>
                  <a:lnTo>
                    <a:pt x="763" y="188"/>
                  </a:lnTo>
                  <a:lnTo>
                    <a:pt x="762" y="221"/>
                  </a:lnTo>
                  <a:lnTo>
                    <a:pt x="761" y="257"/>
                  </a:lnTo>
                  <a:lnTo>
                    <a:pt x="757" y="330"/>
                  </a:lnTo>
                  <a:lnTo>
                    <a:pt x="751" y="403"/>
                  </a:lnTo>
                  <a:lnTo>
                    <a:pt x="744" y="473"/>
                  </a:lnTo>
                  <a:lnTo>
                    <a:pt x="737" y="537"/>
                  </a:lnTo>
                  <a:lnTo>
                    <a:pt x="730" y="593"/>
                  </a:lnTo>
                  <a:lnTo>
                    <a:pt x="724" y="636"/>
                  </a:lnTo>
                  <a:lnTo>
                    <a:pt x="721" y="665"/>
                  </a:lnTo>
                  <a:lnTo>
                    <a:pt x="720" y="675"/>
                  </a:lnTo>
                  <a:lnTo>
                    <a:pt x="716" y="691"/>
                  </a:lnTo>
                  <a:lnTo>
                    <a:pt x="711" y="705"/>
                  </a:lnTo>
                  <a:lnTo>
                    <a:pt x="705" y="718"/>
                  </a:lnTo>
                  <a:lnTo>
                    <a:pt x="698" y="730"/>
                  </a:lnTo>
                  <a:lnTo>
                    <a:pt x="690" y="740"/>
                  </a:lnTo>
                  <a:lnTo>
                    <a:pt x="680" y="750"/>
                  </a:lnTo>
                  <a:lnTo>
                    <a:pt x="670" y="758"/>
                  </a:lnTo>
                  <a:lnTo>
                    <a:pt x="659" y="765"/>
                  </a:lnTo>
                  <a:lnTo>
                    <a:pt x="647" y="770"/>
                  </a:lnTo>
                  <a:lnTo>
                    <a:pt x="634" y="773"/>
                  </a:lnTo>
                  <a:lnTo>
                    <a:pt x="621" y="776"/>
                  </a:lnTo>
                  <a:lnTo>
                    <a:pt x="608" y="776"/>
                  </a:lnTo>
                  <a:lnTo>
                    <a:pt x="594" y="775"/>
                  </a:lnTo>
                  <a:lnTo>
                    <a:pt x="580" y="772"/>
                  </a:lnTo>
                  <a:lnTo>
                    <a:pt x="566" y="768"/>
                  </a:lnTo>
                  <a:lnTo>
                    <a:pt x="550" y="762"/>
                  </a:lnTo>
                  <a:lnTo>
                    <a:pt x="541" y="756"/>
                  </a:lnTo>
                  <a:lnTo>
                    <a:pt x="516" y="742"/>
                  </a:lnTo>
                  <a:lnTo>
                    <a:pt x="477" y="718"/>
                  </a:lnTo>
                  <a:lnTo>
                    <a:pt x="427" y="688"/>
                  </a:lnTo>
                  <a:lnTo>
                    <a:pt x="371" y="654"/>
                  </a:lnTo>
                  <a:lnTo>
                    <a:pt x="309" y="616"/>
                  </a:lnTo>
                  <a:lnTo>
                    <a:pt x="247" y="576"/>
                  </a:lnTo>
                  <a:lnTo>
                    <a:pt x="185" y="535"/>
                  </a:lnTo>
                  <a:lnTo>
                    <a:pt x="156" y="513"/>
                  </a:lnTo>
                  <a:lnTo>
                    <a:pt x="127" y="493"/>
                  </a:lnTo>
                  <a:lnTo>
                    <a:pt x="101" y="473"/>
                  </a:lnTo>
                  <a:lnTo>
                    <a:pt x="78" y="454"/>
                  </a:lnTo>
                  <a:lnTo>
                    <a:pt x="56" y="435"/>
                  </a:lnTo>
                  <a:lnTo>
                    <a:pt x="37" y="419"/>
                  </a:lnTo>
                  <a:lnTo>
                    <a:pt x="22" y="402"/>
                  </a:lnTo>
                  <a:lnTo>
                    <a:pt x="10" y="388"/>
                  </a:lnTo>
                  <a:lnTo>
                    <a:pt x="3" y="375"/>
                  </a:lnTo>
                  <a:lnTo>
                    <a:pt x="0" y="363"/>
                  </a:lnTo>
                  <a:lnTo>
                    <a:pt x="1" y="354"/>
                  </a:lnTo>
                  <a:lnTo>
                    <a:pt x="7" y="345"/>
                  </a:lnTo>
                  <a:lnTo>
                    <a:pt x="18" y="341"/>
                  </a:lnTo>
                  <a:lnTo>
                    <a:pt x="36" y="338"/>
                  </a:lnTo>
                  <a:lnTo>
                    <a:pt x="60" y="338"/>
                  </a:lnTo>
                  <a:lnTo>
                    <a:pt x="91" y="341"/>
                  </a:lnTo>
                  <a:lnTo>
                    <a:pt x="114" y="343"/>
                  </a:lnTo>
                  <a:lnTo>
                    <a:pt x="138" y="344"/>
                  </a:lnTo>
                  <a:lnTo>
                    <a:pt x="160" y="345"/>
                  </a:lnTo>
                  <a:lnTo>
                    <a:pt x="183" y="345"/>
                  </a:lnTo>
                  <a:lnTo>
                    <a:pt x="205" y="344"/>
                  </a:lnTo>
                  <a:lnTo>
                    <a:pt x="227" y="342"/>
                  </a:lnTo>
                  <a:lnTo>
                    <a:pt x="247" y="339"/>
                  </a:lnTo>
                  <a:lnTo>
                    <a:pt x="268" y="336"/>
                  </a:lnTo>
                  <a:lnTo>
                    <a:pt x="287" y="331"/>
                  </a:lnTo>
                  <a:lnTo>
                    <a:pt x="307" y="326"/>
                  </a:lnTo>
                  <a:lnTo>
                    <a:pt x="326" y="321"/>
                  </a:lnTo>
                  <a:lnTo>
                    <a:pt x="345" y="315"/>
                  </a:lnTo>
                  <a:lnTo>
                    <a:pt x="362" y="306"/>
                  </a:lnTo>
                  <a:lnTo>
                    <a:pt x="380" y="299"/>
                  </a:lnTo>
                  <a:lnTo>
                    <a:pt x="397" y="290"/>
                  </a:lnTo>
                  <a:lnTo>
                    <a:pt x="414" y="280"/>
                  </a:lnTo>
                  <a:lnTo>
                    <a:pt x="431" y="271"/>
                  </a:lnTo>
                  <a:lnTo>
                    <a:pt x="446" y="260"/>
                  </a:lnTo>
                  <a:lnTo>
                    <a:pt x="463" y="250"/>
                  </a:lnTo>
                  <a:lnTo>
                    <a:pt x="478" y="238"/>
                  </a:lnTo>
                  <a:lnTo>
                    <a:pt x="509" y="212"/>
                  </a:lnTo>
                  <a:lnTo>
                    <a:pt x="537" y="185"/>
                  </a:lnTo>
                  <a:lnTo>
                    <a:pt x="566" y="155"/>
                  </a:lnTo>
                  <a:lnTo>
                    <a:pt x="593" y="124"/>
                  </a:lnTo>
                  <a:lnTo>
                    <a:pt x="619" y="91"/>
                  </a:lnTo>
                  <a:lnTo>
                    <a:pt x="645" y="57"/>
                  </a:lnTo>
                  <a:close/>
                </a:path>
              </a:pathLst>
            </a:custGeom>
            <a:solidFill>
              <a:srgbClr val="B723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6653" tIns="58327" rIns="116653" bIns="58327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56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3" name="Freeform 34"/>
            <p:cNvSpPr>
              <a:spLocks/>
            </p:cNvSpPr>
            <p:nvPr/>
          </p:nvSpPr>
          <p:spPr bwMode="auto">
            <a:xfrm>
              <a:off x="1197" y="1174"/>
              <a:ext cx="1096" cy="282"/>
            </a:xfrm>
            <a:custGeom>
              <a:avLst/>
              <a:gdLst>
                <a:gd name="T0" fmla="*/ 4161 w 4381"/>
                <a:gd name="T1" fmla="*/ 0 h 1129"/>
                <a:gd name="T2" fmla="*/ 4205 w 4381"/>
                <a:gd name="T3" fmla="*/ 5 h 1129"/>
                <a:gd name="T4" fmla="*/ 4247 w 4381"/>
                <a:gd name="T5" fmla="*/ 18 h 1129"/>
                <a:gd name="T6" fmla="*/ 4284 w 4381"/>
                <a:gd name="T7" fmla="*/ 38 h 1129"/>
                <a:gd name="T8" fmla="*/ 4316 w 4381"/>
                <a:gd name="T9" fmla="*/ 65 h 1129"/>
                <a:gd name="T10" fmla="*/ 4343 w 4381"/>
                <a:gd name="T11" fmla="*/ 97 h 1129"/>
                <a:gd name="T12" fmla="*/ 4364 w 4381"/>
                <a:gd name="T13" fmla="*/ 135 h 1129"/>
                <a:gd name="T14" fmla="*/ 4377 w 4381"/>
                <a:gd name="T15" fmla="*/ 175 h 1129"/>
                <a:gd name="T16" fmla="*/ 4381 w 4381"/>
                <a:gd name="T17" fmla="*/ 220 h 1129"/>
                <a:gd name="T18" fmla="*/ 4380 w 4381"/>
                <a:gd name="T19" fmla="*/ 932 h 1129"/>
                <a:gd name="T20" fmla="*/ 4371 w 4381"/>
                <a:gd name="T21" fmla="*/ 974 h 1129"/>
                <a:gd name="T22" fmla="*/ 4354 w 4381"/>
                <a:gd name="T23" fmla="*/ 1013 h 1129"/>
                <a:gd name="T24" fmla="*/ 4330 w 4381"/>
                <a:gd name="T25" fmla="*/ 1049 h 1129"/>
                <a:gd name="T26" fmla="*/ 4301 w 4381"/>
                <a:gd name="T27" fmla="*/ 1078 h 1129"/>
                <a:gd name="T28" fmla="*/ 4265 w 4381"/>
                <a:gd name="T29" fmla="*/ 1102 h 1129"/>
                <a:gd name="T30" fmla="*/ 4226 w 4381"/>
                <a:gd name="T31" fmla="*/ 1119 h 1129"/>
                <a:gd name="T32" fmla="*/ 4184 w 4381"/>
                <a:gd name="T33" fmla="*/ 1128 h 1129"/>
                <a:gd name="T34" fmla="*/ 219 w 4381"/>
                <a:gd name="T35" fmla="*/ 1129 h 1129"/>
                <a:gd name="T36" fmla="*/ 175 w 4381"/>
                <a:gd name="T37" fmla="*/ 1125 h 1129"/>
                <a:gd name="T38" fmla="*/ 134 w 4381"/>
                <a:gd name="T39" fmla="*/ 1112 h 1129"/>
                <a:gd name="T40" fmla="*/ 97 w 4381"/>
                <a:gd name="T41" fmla="*/ 1091 h 1129"/>
                <a:gd name="T42" fmla="*/ 64 w 4381"/>
                <a:gd name="T43" fmla="*/ 1064 h 1129"/>
                <a:gd name="T44" fmla="*/ 38 w 4381"/>
                <a:gd name="T45" fmla="*/ 1032 h 1129"/>
                <a:gd name="T46" fmla="*/ 16 w 4381"/>
                <a:gd name="T47" fmla="*/ 994 h 1129"/>
                <a:gd name="T48" fmla="*/ 5 w 4381"/>
                <a:gd name="T49" fmla="*/ 953 h 1129"/>
                <a:gd name="T50" fmla="*/ 0 w 4381"/>
                <a:gd name="T51" fmla="*/ 909 h 1129"/>
                <a:gd name="T52" fmla="*/ 1 w 4381"/>
                <a:gd name="T53" fmla="*/ 197 h 1129"/>
                <a:gd name="T54" fmla="*/ 9 w 4381"/>
                <a:gd name="T55" fmla="*/ 155 h 1129"/>
                <a:gd name="T56" fmla="*/ 26 w 4381"/>
                <a:gd name="T57" fmla="*/ 115 h 1129"/>
                <a:gd name="T58" fmla="*/ 50 w 4381"/>
                <a:gd name="T59" fmla="*/ 80 h 1129"/>
                <a:gd name="T60" fmla="*/ 79 w 4381"/>
                <a:gd name="T61" fmla="*/ 51 h 1129"/>
                <a:gd name="T62" fmla="*/ 115 w 4381"/>
                <a:gd name="T63" fmla="*/ 27 h 1129"/>
                <a:gd name="T64" fmla="*/ 154 w 4381"/>
                <a:gd name="T65" fmla="*/ 11 h 1129"/>
                <a:gd name="T66" fmla="*/ 196 w 4381"/>
                <a:gd name="T67" fmla="*/ 1 h 1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4381" h="1129">
                  <a:moveTo>
                    <a:pt x="219" y="0"/>
                  </a:moveTo>
                  <a:lnTo>
                    <a:pt x="4161" y="0"/>
                  </a:lnTo>
                  <a:lnTo>
                    <a:pt x="4184" y="1"/>
                  </a:lnTo>
                  <a:lnTo>
                    <a:pt x="4205" y="5"/>
                  </a:lnTo>
                  <a:lnTo>
                    <a:pt x="4226" y="11"/>
                  </a:lnTo>
                  <a:lnTo>
                    <a:pt x="4247" y="18"/>
                  </a:lnTo>
                  <a:lnTo>
                    <a:pt x="4265" y="27"/>
                  </a:lnTo>
                  <a:lnTo>
                    <a:pt x="4284" y="38"/>
                  </a:lnTo>
                  <a:lnTo>
                    <a:pt x="4301" y="51"/>
                  </a:lnTo>
                  <a:lnTo>
                    <a:pt x="4316" y="65"/>
                  </a:lnTo>
                  <a:lnTo>
                    <a:pt x="4330" y="80"/>
                  </a:lnTo>
                  <a:lnTo>
                    <a:pt x="4343" y="97"/>
                  </a:lnTo>
                  <a:lnTo>
                    <a:pt x="4354" y="115"/>
                  </a:lnTo>
                  <a:lnTo>
                    <a:pt x="4364" y="135"/>
                  </a:lnTo>
                  <a:lnTo>
                    <a:pt x="4371" y="155"/>
                  </a:lnTo>
                  <a:lnTo>
                    <a:pt x="4377" y="175"/>
                  </a:lnTo>
                  <a:lnTo>
                    <a:pt x="4380" y="197"/>
                  </a:lnTo>
                  <a:lnTo>
                    <a:pt x="4381" y="220"/>
                  </a:lnTo>
                  <a:lnTo>
                    <a:pt x="4381" y="909"/>
                  </a:lnTo>
                  <a:lnTo>
                    <a:pt x="4380" y="932"/>
                  </a:lnTo>
                  <a:lnTo>
                    <a:pt x="4377" y="953"/>
                  </a:lnTo>
                  <a:lnTo>
                    <a:pt x="4371" y="974"/>
                  </a:lnTo>
                  <a:lnTo>
                    <a:pt x="4364" y="994"/>
                  </a:lnTo>
                  <a:lnTo>
                    <a:pt x="4354" y="1013"/>
                  </a:lnTo>
                  <a:lnTo>
                    <a:pt x="4343" y="1032"/>
                  </a:lnTo>
                  <a:lnTo>
                    <a:pt x="4330" y="1049"/>
                  </a:lnTo>
                  <a:lnTo>
                    <a:pt x="4316" y="1064"/>
                  </a:lnTo>
                  <a:lnTo>
                    <a:pt x="4301" y="1078"/>
                  </a:lnTo>
                  <a:lnTo>
                    <a:pt x="4284" y="1091"/>
                  </a:lnTo>
                  <a:lnTo>
                    <a:pt x="4265" y="1102"/>
                  </a:lnTo>
                  <a:lnTo>
                    <a:pt x="4247" y="1112"/>
                  </a:lnTo>
                  <a:lnTo>
                    <a:pt x="4226" y="1119"/>
                  </a:lnTo>
                  <a:lnTo>
                    <a:pt x="4205" y="1125"/>
                  </a:lnTo>
                  <a:lnTo>
                    <a:pt x="4184" y="1128"/>
                  </a:lnTo>
                  <a:lnTo>
                    <a:pt x="4161" y="1129"/>
                  </a:lnTo>
                  <a:lnTo>
                    <a:pt x="219" y="1129"/>
                  </a:lnTo>
                  <a:lnTo>
                    <a:pt x="196" y="1128"/>
                  </a:lnTo>
                  <a:lnTo>
                    <a:pt x="175" y="1125"/>
                  </a:lnTo>
                  <a:lnTo>
                    <a:pt x="154" y="1119"/>
                  </a:lnTo>
                  <a:lnTo>
                    <a:pt x="134" y="1112"/>
                  </a:lnTo>
                  <a:lnTo>
                    <a:pt x="115" y="1102"/>
                  </a:lnTo>
                  <a:lnTo>
                    <a:pt x="97" y="1091"/>
                  </a:lnTo>
                  <a:lnTo>
                    <a:pt x="79" y="1078"/>
                  </a:lnTo>
                  <a:lnTo>
                    <a:pt x="64" y="1064"/>
                  </a:lnTo>
                  <a:lnTo>
                    <a:pt x="50" y="1049"/>
                  </a:lnTo>
                  <a:lnTo>
                    <a:pt x="38" y="1032"/>
                  </a:lnTo>
                  <a:lnTo>
                    <a:pt x="26" y="1013"/>
                  </a:lnTo>
                  <a:lnTo>
                    <a:pt x="16" y="994"/>
                  </a:lnTo>
                  <a:lnTo>
                    <a:pt x="9" y="974"/>
                  </a:lnTo>
                  <a:lnTo>
                    <a:pt x="5" y="953"/>
                  </a:lnTo>
                  <a:lnTo>
                    <a:pt x="1" y="932"/>
                  </a:lnTo>
                  <a:lnTo>
                    <a:pt x="0" y="909"/>
                  </a:lnTo>
                  <a:lnTo>
                    <a:pt x="0" y="220"/>
                  </a:lnTo>
                  <a:lnTo>
                    <a:pt x="1" y="197"/>
                  </a:lnTo>
                  <a:lnTo>
                    <a:pt x="5" y="175"/>
                  </a:lnTo>
                  <a:lnTo>
                    <a:pt x="9" y="155"/>
                  </a:lnTo>
                  <a:lnTo>
                    <a:pt x="16" y="135"/>
                  </a:lnTo>
                  <a:lnTo>
                    <a:pt x="26" y="115"/>
                  </a:lnTo>
                  <a:lnTo>
                    <a:pt x="38" y="97"/>
                  </a:lnTo>
                  <a:lnTo>
                    <a:pt x="50" y="80"/>
                  </a:lnTo>
                  <a:lnTo>
                    <a:pt x="64" y="65"/>
                  </a:lnTo>
                  <a:lnTo>
                    <a:pt x="79" y="51"/>
                  </a:lnTo>
                  <a:lnTo>
                    <a:pt x="97" y="38"/>
                  </a:lnTo>
                  <a:lnTo>
                    <a:pt x="115" y="27"/>
                  </a:lnTo>
                  <a:lnTo>
                    <a:pt x="134" y="18"/>
                  </a:lnTo>
                  <a:lnTo>
                    <a:pt x="154" y="11"/>
                  </a:lnTo>
                  <a:lnTo>
                    <a:pt x="175" y="5"/>
                  </a:lnTo>
                  <a:lnTo>
                    <a:pt x="196" y="1"/>
                  </a:lnTo>
                  <a:lnTo>
                    <a:pt x="219" y="0"/>
                  </a:lnTo>
                  <a:close/>
                </a:path>
              </a:pathLst>
            </a:cu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6653" tIns="58327" rIns="116653" bIns="58327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56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4" name="Freeform 35"/>
            <p:cNvSpPr>
              <a:spLocks noEditPoints="1"/>
            </p:cNvSpPr>
            <p:nvPr/>
          </p:nvSpPr>
          <p:spPr bwMode="auto">
            <a:xfrm>
              <a:off x="1192" y="1169"/>
              <a:ext cx="1106" cy="293"/>
            </a:xfrm>
            <a:custGeom>
              <a:avLst/>
              <a:gdLst>
                <a:gd name="T0" fmla="*/ 242 w 4426"/>
                <a:gd name="T1" fmla="*/ 43 h 1172"/>
                <a:gd name="T2" fmla="*/ 4209 w 4426"/>
                <a:gd name="T3" fmla="*/ 1 h 1172"/>
                <a:gd name="T4" fmla="*/ 4278 w 4426"/>
                <a:gd name="T5" fmla="*/ 19 h 1172"/>
                <a:gd name="T6" fmla="*/ 4355 w 4426"/>
                <a:gd name="T7" fmla="*/ 71 h 1172"/>
                <a:gd name="T8" fmla="*/ 4279 w 4426"/>
                <a:gd name="T9" fmla="*/ 67 h 1172"/>
                <a:gd name="T10" fmla="*/ 4205 w 4426"/>
                <a:gd name="T11" fmla="*/ 45 h 1172"/>
                <a:gd name="T12" fmla="*/ 4324 w 4426"/>
                <a:gd name="T13" fmla="*/ 101 h 1172"/>
                <a:gd name="T14" fmla="*/ 4370 w 4426"/>
                <a:gd name="T15" fmla="*/ 87 h 1172"/>
                <a:gd name="T16" fmla="*/ 4415 w 4426"/>
                <a:gd name="T17" fmla="*/ 169 h 1172"/>
                <a:gd name="T18" fmla="*/ 4426 w 4426"/>
                <a:gd name="T19" fmla="*/ 228 h 1172"/>
                <a:gd name="T20" fmla="*/ 4378 w 4426"/>
                <a:gd name="T21" fmla="*/ 201 h 1172"/>
                <a:gd name="T22" fmla="*/ 4349 w 4426"/>
                <a:gd name="T23" fmla="*/ 130 h 1172"/>
                <a:gd name="T24" fmla="*/ 4426 w 4426"/>
                <a:gd name="T25" fmla="*/ 241 h 1172"/>
                <a:gd name="T26" fmla="*/ 4426 w 4426"/>
                <a:gd name="T27" fmla="*/ 241 h 1172"/>
                <a:gd name="T28" fmla="*/ 4423 w 4426"/>
                <a:gd name="T29" fmla="*/ 967 h 1172"/>
                <a:gd name="T30" fmla="*/ 4396 w 4426"/>
                <a:gd name="T31" fmla="*/ 1045 h 1172"/>
                <a:gd name="T32" fmla="*/ 4324 w 4426"/>
                <a:gd name="T33" fmla="*/ 1070 h 1172"/>
                <a:gd name="T34" fmla="*/ 4366 w 4426"/>
                <a:gd name="T35" fmla="*/ 1007 h 1172"/>
                <a:gd name="T36" fmla="*/ 4382 w 4426"/>
                <a:gd name="T37" fmla="*/ 930 h 1172"/>
                <a:gd name="T38" fmla="*/ 4339 w 4426"/>
                <a:gd name="T39" fmla="*/ 1085 h 1172"/>
                <a:gd name="T40" fmla="*/ 4319 w 4426"/>
                <a:gd name="T41" fmla="*/ 1130 h 1172"/>
                <a:gd name="T42" fmla="*/ 4233 w 4426"/>
                <a:gd name="T43" fmla="*/ 1167 h 1172"/>
                <a:gd name="T44" fmla="*/ 4184 w 4426"/>
                <a:gd name="T45" fmla="*/ 1172 h 1172"/>
                <a:gd name="T46" fmla="*/ 4244 w 4426"/>
                <a:gd name="T47" fmla="*/ 1120 h 1172"/>
                <a:gd name="T48" fmla="*/ 4310 w 4426"/>
                <a:gd name="T49" fmla="*/ 1083 h 1172"/>
                <a:gd name="T50" fmla="*/ 242 w 4426"/>
                <a:gd name="T51" fmla="*/ 1172 h 1172"/>
                <a:gd name="T52" fmla="*/ 242 w 4426"/>
                <a:gd name="T53" fmla="*/ 1172 h 1172"/>
                <a:gd name="T54" fmla="*/ 193 w 4426"/>
                <a:gd name="T55" fmla="*/ 1167 h 1172"/>
                <a:gd name="T56" fmla="*/ 107 w 4426"/>
                <a:gd name="T57" fmla="*/ 1130 h 1172"/>
                <a:gd name="T58" fmla="*/ 116 w 4426"/>
                <a:gd name="T59" fmla="*/ 1083 h 1172"/>
                <a:gd name="T60" fmla="*/ 184 w 4426"/>
                <a:gd name="T61" fmla="*/ 1120 h 1172"/>
                <a:gd name="T62" fmla="*/ 242 w 4426"/>
                <a:gd name="T63" fmla="*/ 1172 h 1172"/>
                <a:gd name="T64" fmla="*/ 102 w 4426"/>
                <a:gd name="T65" fmla="*/ 1070 h 1172"/>
                <a:gd name="T66" fmla="*/ 30 w 4426"/>
                <a:gd name="T67" fmla="*/ 1045 h 1172"/>
                <a:gd name="T68" fmla="*/ 4 w 4426"/>
                <a:gd name="T69" fmla="*/ 967 h 1172"/>
                <a:gd name="T70" fmla="*/ 44 w 4426"/>
                <a:gd name="T71" fmla="*/ 930 h 1172"/>
                <a:gd name="T72" fmla="*/ 61 w 4426"/>
                <a:gd name="T73" fmla="*/ 1007 h 1172"/>
                <a:gd name="T74" fmla="*/ 102 w 4426"/>
                <a:gd name="T75" fmla="*/ 1070 h 1172"/>
                <a:gd name="T76" fmla="*/ 44 w 4426"/>
                <a:gd name="T77" fmla="*/ 241 h 1172"/>
                <a:gd name="T78" fmla="*/ 2 w 4426"/>
                <a:gd name="T79" fmla="*/ 228 h 1172"/>
                <a:gd name="T80" fmla="*/ 12 w 4426"/>
                <a:gd name="T81" fmla="*/ 169 h 1172"/>
                <a:gd name="T82" fmla="*/ 56 w 4426"/>
                <a:gd name="T83" fmla="*/ 87 h 1172"/>
                <a:gd name="T84" fmla="*/ 78 w 4426"/>
                <a:gd name="T85" fmla="*/ 130 h 1172"/>
                <a:gd name="T86" fmla="*/ 49 w 4426"/>
                <a:gd name="T87" fmla="*/ 201 h 1172"/>
                <a:gd name="T88" fmla="*/ 102 w 4426"/>
                <a:gd name="T89" fmla="*/ 101 h 1172"/>
                <a:gd name="T90" fmla="*/ 71 w 4426"/>
                <a:gd name="T91" fmla="*/ 71 h 1172"/>
                <a:gd name="T92" fmla="*/ 148 w 4426"/>
                <a:gd name="T93" fmla="*/ 19 h 1172"/>
                <a:gd name="T94" fmla="*/ 217 w 4426"/>
                <a:gd name="T95" fmla="*/ 1 h 1172"/>
                <a:gd name="T96" fmla="*/ 222 w 4426"/>
                <a:gd name="T97" fmla="*/ 45 h 1172"/>
                <a:gd name="T98" fmla="*/ 148 w 4426"/>
                <a:gd name="T99" fmla="*/ 67 h 1172"/>
                <a:gd name="T100" fmla="*/ 71 w 4426"/>
                <a:gd name="T101" fmla="*/ 71 h 1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4426" h="1172">
                  <a:moveTo>
                    <a:pt x="242" y="0"/>
                  </a:moveTo>
                  <a:lnTo>
                    <a:pt x="4184" y="0"/>
                  </a:lnTo>
                  <a:lnTo>
                    <a:pt x="4184" y="43"/>
                  </a:lnTo>
                  <a:lnTo>
                    <a:pt x="242" y="43"/>
                  </a:lnTo>
                  <a:lnTo>
                    <a:pt x="242" y="0"/>
                  </a:lnTo>
                  <a:close/>
                  <a:moveTo>
                    <a:pt x="4184" y="0"/>
                  </a:moveTo>
                  <a:lnTo>
                    <a:pt x="4197" y="0"/>
                  </a:lnTo>
                  <a:lnTo>
                    <a:pt x="4209" y="1"/>
                  </a:lnTo>
                  <a:lnTo>
                    <a:pt x="4221" y="2"/>
                  </a:lnTo>
                  <a:lnTo>
                    <a:pt x="4233" y="4"/>
                  </a:lnTo>
                  <a:lnTo>
                    <a:pt x="4257" y="10"/>
                  </a:lnTo>
                  <a:lnTo>
                    <a:pt x="4278" y="19"/>
                  </a:lnTo>
                  <a:lnTo>
                    <a:pt x="4299" y="28"/>
                  </a:lnTo>
                  <a:lnTo>
                    <a:pt x="4319" y="41"/>
                  </a:lnTo>
                  <a:lnTo>
                    <a:pt x="4338" y="54"/>
                  </a:lnTo>
                  <a:lnTo>
                    <a:pt x="4355" y="71"/>
                  </a:lnTo>
                  <a:lnTo>
                    <a:pt x="4324" y="101"/>
                  </a:lnTo>
                  <a:lnTo>
                    <a:pt x="4310" y="88"/>
                  </a:lnTo>
                  <a:lnTo>
                    <a:pt x="4294" y="77"/>
                  </a:lnTo>
                  <a:lnTo>
                    <a:pt x="4279" y="67"/>
                  </a:lnTo>
                  <a:lnTo>
                    <a:pt x="4261" y="59"/>
                  </a:lnTo>
                  <a:lnTo>
                    <a:pt x="4244" y="52"/>
                  </a:lnTo>
                  <a:lnTo>
                    <a:pt x="4225" y="47"/>
                  </a:lnTo>
                  <a:lnTo>
                    <a:pt x="4205" y="45"/>
                  </a:lnTo>
                  <a:lnTo>
                    <a:pt x="4184" y="43"/>
                  </a:lnTo>
                  <a:lnTo>
                    <a:pt x="4184" y="0"/>
                  </a:lnTo>
                  <a:close/>
                  <a:moveTo>
                    <a:pt x="4324" y="101"/>
                  </a:moveTo>
                  <a:lnTo>
                    <a:pt x="4324" y="101"/>
                  </a:lnTo>
                  <a:lnTo>
                    <a:pt x="4339" y="86"/>
                  </a:lnTo>
                  <a:lnTo>
                    <a:pt x="4324" y="101"/>
                  </a:lnTo>
                  <a:close/>
                  <a:moveTo>
                    <a:pt x="4355" y="71"/>
                  </a:moveTo>
                  <a:lnTo>
                    <a:pt x="4370" y="87"/>
                  </a:lnTo>
                  <a:lnTo>
                    <a:pt x="4384" y="106"/>
                  </a:lnTo>
                  <a:lnTo>
                    <a:pt x="4397" y="126"/>
                  </a:lnTo>
                  <a:lnTo>
                    <a:pt x="4407" y="146"/>
                  </a:lnTo>
                  <a:lnTo>
                    <a:pt x="4415" y="169"/>
                  </a:lnTo>
                  <a:lnTo>
                    <a:pt x="4421" y="192"/>
                  </a:lnTo>
                  <a:lnTo>
                    <a:pt x="4423" y="204"/>
                  </a:lnTo>
                  <a:lnTo>
                    <a:pt x="4424" y="216"/>
                  </a:lnTo>
                  <a:lnTo>
                    <a:pt x="4426" y="228"/>
                  </a:lnTo>
                  <a:lnTo>
                    <a:pt x="4426" y="241"/>
                  </a:lnTo>
                  <a:lnTo>
                    <a:pt x="4382" y="241"/>
                  </a:lnTo>
                  <a:lnTo>
                    <a:pt x="4381" y="221"/>
                  </a:lnTo>
                  <a:lnTo>
                    <a:pt x="4378" y="201"/>
                  </a:lnTo>
                  <a:lnTo>
                    <a:pt x="4374" y="182"/>
                  </a:lnTo>
                  <a:lnTo>
                    <a:pt x="4366" y="164"/>
                  </a:lnTo>
                  <a:lnTo>
                    <a:pt x="4358" y="146"/>
                  </a:lnTo>
                  <a:lnTo>
                    <a:pt x="4349" y="130"/>
                  </a:lnTo>
                  <a:lnTo>
                    <a:pt x="4337" y="116"/>
                  </a:lnTo>
                  <a:lnTo>
                    <a:pt x="4324" y="101"/>
                  </a:lnTo>
                  <a:lnTo>
                    <a:pt x="4355" y="71"/>
                  </a:lnTo>
                  <a:close/>
                  <a:moveTo>
                    <a:pt x="4426" y="241"/>
                  </a:moveTo>
                  <a:lnTo>
                    <a:pt x="4426" y="930"/>
                  </a:lnTo>
                  <a:lnTo>
                    <a:pt x="4382" y="930"/>
                  </a:lnTo>
                  <a:lnTo>
                    <a:pt x="4382" y="241"/>
                  </a:lnTo>
                  <a:lnTo>
                    <a:pt x="4426" y="241"/>
                  </a:lnTo>
                  <a:close/>
                  <a:moveTo>
                    <a:pt x="4426" y="930"/>
                  </a:moveTo>
                  <a:lnTo>
                    <a:pt x="4426" y="943"/>
                  </a:lnTo>
                  <a:lnTo>
                    <a:pt x="4424" y="955"/>
                  </a:lnTo>
                  <a:lnTo>
                    <a:pt x="4423" y="967"/>
                  </a:lnTo>
                  <a:lnTo>
                    <a:pt x="4421" y="979"/>
                  </a:lnTo>
                  <a:lnTo>
                    <a:pt x="4415" y="1002"/>
                  </a:lnTo>
                  <a:lnTo>
                    <a:pt x="4407" y="1024"/>
                  </a:lnTo>
                  <a:lnTo>
                    <a:pt x="4396" y="1045"/>
                  </a:lnTo>
                  <a:lnTo>
                    <a:pt x="4384" y="1065"/>
                  </a:lnTo>
                  <a:lnTo>
                    <a:pt x="4370" y="1084"/>
                  </a:lnTo>
                  <a:lnTo>
                    <a:pt x="4355" y="1101"/>
                  </a:lnTo>
                  <a:lnTo>
                    <a:pt x="4324" y="1070"/>
                  </a:lnTo>
                  <a:lnTo>
                    <a:pt x="4337" y="1056"/>
                  </a:lnTo>
                  <a:lnTo>
                    <a:pt x="4349" y="1040"/>
                  </a:lnTo>
                  <a:lnTo>
                    <a:pt x="4358" y="1025"/>
                  </a:lnTo>
                  <a:lnTo>
                    <a:pt x="4366" y="1007"/>
                  </a:lnTo>
                  <a:lnTo>
                    <a:pt x="4374" y="989"/>
                  </a:lnTo>
                  <a:lnTo>
                    <a:pt x="4378" y="971"/>
                  </a:lnTo>
                  <a:lnTo>
                    <a:pt x="4381" y="950"/>
                  </a:lnTo>
                  <a:lnTo>
                    <a:pt x="4382" y="930"/>
                  </a:lnTo>
                  <a:lnTo>
                    <a:pt x="4426" y="930"/>
                  </a:lnTo>
                  <a:close/>
                  <a:moveTo>
                    <a:pt x="4324" y="1070"/>
                  </a:moveTo>
                  <a:lnTo>
                    <a:pt x="4324" y="1070"/>
                  </a:lnTo>
                  <a:lnTo>
                    <a:pt x="4339" y="1085"/>
                  </a:lnTo>
                  <a:lnTo>
                    <a:pt x="4324" y="1070"/>
                  </a:lnTo>
                  <a:close/>
                  <a:moveTo>
                    <a:pt x="4355" y="1101"/>
                  </a:moveTo>
                  <a:lnTo>
                    <a:pt x="4338" y="1116"/>
                  </a:lnTo>
                  <a:lnTo>
                    <a:pt x="4319" y="1130"/>
                  </a:lnTo>
                  <a:lnTo>
                    <a:pt x="4299" y="1142"/>
                  </a:lnTo>
                  <a:lnTo>
                    <a:pt x="4278" y="1153"/>
                  </a:lnTo>
                  <a:lnTo>
                    <a:pt x="4257" y="1161"/>
                  </a:lnTo>
                  <a:lnTo>
                    <a:pt x="4233" y="1167"/>
                  </a:lnTo>
                  <a:lnTo>
                    <a:pt x="4221" y="1169"/>
                  </a:lnTo>
                  <a:lnTo>
                    <a:pt x="4209" y="1170"/>
                  </a:lnTo>
                  <a:lnTo>
                    <a:pt x="4197" y="1172"/>
                  </a:lnTo>
                  <a:lnTo>
                    <a:pt x="4184" y="1172"/>
                  </a:lnTo>
                  <a:lnTo>
                    <a:pt x="4184" y="1128"/>
                  </a:lnTo>
                  <a:lnTo>
                    <a:pt x="4205" y="1127"/>
                  </a:lnTo>
                  <a:lnTo>
                    <a:pt x="4225" y="1124"/>
                  </a:lnTo>
                  <a:lnTo>
                    <a:pt x="4244" y="1120"/>
                  </a:lnTo>
                  <a:lnTo>
                    <a:pt x="4261" y="1112"/>
                  </a:lnTo>
                  <a:lnTo>
                    <a:pt x="4279" y="1104"/>
                  </a:lnTo>
                  <a:lnTo>
                    <a:pt x="4294" y="1094"/>
                  </a:lnTo>
                  <a:lnTo>
                    <a:pt x="4310" y="1083"/>
                  </a:lnTo>
                  <a:lnTo>
                    <a:pt x="4324" y="1070"/>
                  </a:lnTo>
                  <a:lnTo>
                    <a:pt x="4355" y="1101"/>
                  </a:lnTo>
                  <a:close/>
                  <a:moveTo>
                    <a:pt x="4184" y="1172"/>
                  </a:moveTo>
                  <a:lnTo>
                    <a:pt x="242" y="1172"/>
                  </a:lnTo>
                  <a:lnTo>
                    <a:pt x="242" y="1128"/>
                  </a:lnTo>
                  <a:lnTo>
                    <a:pt x="4184" y="1128"/>
                  </a:lnTo>
                  <a:lnTo>
                    <a:pt x="4184" y="1172"/>
                  </a:lnTo>
                  <a:close/>
                  <a:moveTo>
                    <a:pt x="242" y="1172"/>
                  </a:moveTo>
                  <a:lnTo>
                    <a:pt x="230" y="1172"/>
                  </a:lnTo>
                  <a:lnTo>
                    <a:pt x="217" y="1170"/>
                  </a:lnTo>
                  <a:lnTo>
                    <a:pt x="205" y="1169"/>
                  </a:lnTo>
                  <a:lnTo>
                    <a:pt x="193" y="1167"/>
                  </a:lnTo>
                  <a:lnTo>
                    <a:pt x="171" y="1161"/>
                  </a:lnTo>
                  <a:lnTo>
                    <a:pt x="148" y="1153"/>
                  </a:lnTo>
                  <a:lnTo>
                    <a:pt x="127" y="1142"/>
                  </a:lnTo>
                  <a:lnTo>
                    <a:pt x="107" y="1130"/>
                  </a:lnTo>
                  <a:lnTo>
                    <a:pt x="89" y="1116"/>
                  </a:lnTo>
                  <a:lnTo>
                    <a:pt x="71" y="1101"/>
                  </a:lnTo>
                  <a:lnTo>
                    <a:pt x="102" y="1070"/>
                  </a:lnTo>
                  <a:lnTo>
                    <a:pt x="116" y="1083"/>
                  </a:lnTo>
                  <a:lnTo>
                    <a:pt x="132" y="1094"/>
                  </a:lnTo>
                  <a:lnTo>
                    <a:pt x="148" y="1104"/>
                  </a:lnTo>
                  <a:lnTo>
                    <a:pt x="165" y="1112"/>
                  </a:lnTo>
                  <a:lnTo>
                    <a:pt x="184" y="1120"/>
                  </a:lnTo>
                  <a:lnTo>
                    <a:pt x="203" y="1124"/>
                  </a:lnTo>
                  <a:lnTo>
                    <a:pt x="222" y="1127"/>
                  </a:lnTo>
                  <a:lnTo>
                    <a:pt x="242" y="1128"/>
                  </a:lnTo>
                  <a:lnTo>
                    <a:pt x="242" y="1172"/>
                  </a:lnTo>
                  <a:close/>
                  <a:moveTo>
                    <a:pt x="102" y="1070"/>
                  </a:moveTo>
                  <a:lnTo>
                    <a:pt x="102" y="1070"/>
                  </a:lnTo>
                  <a:lnTo>
                    <a:pt x="87" y="1085"/>
                  </a:lnTo>
                  <a:lnTo>
                    <a:pt x="102" y="1070"/>
                  </a:lnTo>
                  <a:close/>
                  <a:moveTo>
                    <a:pt x="71" y="1101"/>
                  </a:moveTo>
                  <a:lnTo>
                    <a:pt x="56" y="1084"/>
                  </a:lnTo>
                  <a:lnTo>
                    <a:pt x="42" y="1065"/>
                  </a:lnTo>
                  <a:lnTo>
                    <a:pt x="30" y="1045"/>
                  </a:lnTo>
                  <a:lnTo>
                    <a:pt x="19" y="1024"/>
                  </a:lnTo>
                  <a:lnTo>
                    <a:pt x="12" y="1002"/>
                  </a:lnTo>
                  <a:lnTo>
                    <a:pt x="5" y="979"/>
                  </a:lnTo>
                  <a:lnTo>
                    <a:pt x="4" y="967"/>
                  </a:lnTo>
                  <a:lnTo>
                    <a:pt x="2" y="955"/>
                  </a:lnTo>
                  <a:lnTo>
                    <a:pt x="2" y="943"/>
                  </a:lnTo>
                  <a:lnTo>
                    <a:pt x="0" y="930"/>
                  </a:lnTo>
                  <a:lnTo>
                    <a:pt x="44" y="930"/>
                  </a:lnTo>
                  <a:lnTo>
                    <a:pt x="45" y="950"/>
                  </a:lnTo>
                  <a:lnTo>
                    <a:pt x="49" y="971"/>
                  </a:lnTo>
                  <a:lnTo>
                    <a:pt x="54" y="989"/>
                  </a:lnTo>
                  <a:lnTo>
                    <a:pt x="61" y="1007"/>
                  </a:lnTo>
                  <a:lnTo>
                    <a:pt x="69" y="1025"/>
                  </a:lnTo>
                  <a:lnTo>
                    <a:pt x="78" y="1040"/>
                  </a:lnTo>
                  <a:lnTo>
                    <a:pt x="90" y="1056"/>
                  </a:lnTo>
                  <a:lnTo>
                    <a:pt x="102" y="1070"/>
                  </a:lnTo>
                  <a:lnTo>
                    <a:pt x="71" y="1101"/>
                  </a:lnTo>
                  <a:close/>
                  <a:moveTo>
                    <a:pt x="0" y="930"/>
                  </a:moveTo>
                  <a:lnTo>
                    <a:pt x="0" y="241"/>
                  </a:lnTo>
                  <a:lnTo>
                    <a:pt x="44" y="241"/>
                  </a:lnTo>
                  <a:lnTo>
                    <a:pt x="44" y="930"/>
                  </a:lnTo>
                  <a:lnTo>
                    <a:pt x="0" y="930"/>
                  </a:lnTo>
                  <a:close/>
                  <a:moveTo>
                    <a:pt x="0" y="241"/>
                  </a:moveTo>
                  <a:lnTo>
                    <a:pt x="2" y="228"/>
                  </a:lnTo>
                  <a:lnTo>
                    <a:pt x="2" y="216"/>
                  </a:lnTo>
                  <a:lnTo>
                    <a:pt x="4" y="204"/>
                  </a:lnTo>
                  <a:lnTo>
                    <a:pt x="5" y="192"/>
                  </a:lnTo>
                  <a:lnTo>
                    <a:pt x="12" y="169"/>
                  </a:lnTo>
                  <a:lnTo>
                    <a:pt x="19" y="146"/>
                  </a:lnTo>
                  <a:lnTo>
                    <a:pt x="30" y="126"/>
                  </a:lnTo>
                  <a:lnTo>
                    <a:pt x="42" y="106"/>
                  </a:lnTo>
                  <a:lnTo>
                    <a:pt x="56" y="87"/>
                  </a:lnTo>
                  <a:lnTo>
                    <a:pt x="71" y="71"/>
                  </a:lnTo>
                  <a:lnTo>
                    <a:pt x="102" y="101"/>
                  </a:lnTo>
                  <a:lnTo>
                    <a:pt x="90" y="116"/>
                  </a:lnTo>
                  <a:lnTo>
                    <a:pt x="78" y="130"/>
                  </a:lnTo>
                  <a:lnTo>
                    <a:pt x="69" y="146"/>
                  </a:lnTo>
                  <a:lnTo>
                    <a:pt x="61" y="164"/>
                  </a:lnTo>
                  <a:lnTo>
                    <a:pt x="54" y="182"/>
                  </a:lnTo>
                  <a:lnTo>
                    <a:pt x="49" y="201"/>
                  </a:lnTo>
                  <a:lnTo>
                    <a:pt x="45" y="221"/>
                  </a:lnTo>
                  <a:lnTo>
                    <a:pt x="44" y="241"/>
                  </a:lnTo>
                  <a:lnTo>
                    <a:pt x="0" y="241"/>
                  </a:lnTo>
                  <a:close/>
                  <a:moveTo>
                    <a:pt x="102" y="101"/>
                  </a:moveTo>
                  <a:lnTo>
                    <a:pt x="102" y="101"/>
                  </a:lnTo>
                  <a:lnTo>
                    <a:pt x="87" y="86"/>
                  </a:lnTo>
                  <a:lnTo>
                    <a:pt x="102" y="101"/>
                  </a:lnTo>
                  <a:close/>
                  <a:moveTo>
                    <a:pt x="71" y="71"/>
                  </a:moveTo>
                  <a:lnTo>
                    <a:pt x="89" y="54"/>
                  </a:lnTo>
                  <a:lnTo>
                    <a:pt x="107" y="41"/>
                  </a:lnTo>
                  <a:lnTo>
                    <a:pt x="127" y="28"/>
                  </a:lnTo>
                  <a:lnTo>
                    <a:pt x="148" y="19"/>
                  </a:lnTo>
                  <a:lnTo>
                    <a:pt x="171" y="10"/>
                  </a:lnTo>
                  <a:lnTo>
                    <a:pt x="193" y="4"/>
                  </a:lnTo>
                  <a:lnTo>
                    <a:pt x="205" y="2"/>
                  </a:lnTo>
                  <a:lnTo>
                    <a:pt x="217" y="1"/>
                  </a:lnTo>
                  <a:lnTo>
                    <a:pt x="230" y="0"/>
                  </a:lnTo>
                  <a:lnTo>
                    <a:pt x="242" y="0"/>
                  </a:lnTo>
                  <a:lnTo>
                    <a:pt x="242" y="43"/>
                  </a:lnTo>
                  <a:lnTo>
                    <a:pt x="222" y="45"/>
                  </a:lnTo>
                  <a:lnTo>
                    <a:pt x="203" y="47"/>
                  </a:lnTo>
                  <a:lnTo>
                    <a:pt x="184" y="52"/>
                  </a:lnTo>
                  <a:lnTo>
                    <a:pt x="165" y="59"/>
                  </a:lnTo>
                  <a:lnTo>
                    <a:pt x="148" y="67"/>
                  </a:lnTo>
                  <a:lnTo>
                    <a:pt x="132" y="77"/>
                  </a:lnTo>
                  <a:lnTo>
                    <a:pt x="116" y="88"/>
                  </a:lnTo>
                  <a:lnTo>
                    <a:pt x="102" y="101"/>
                  </a:lnTo>
                  <a:lnTo>
                    <a:pt x="71" y="71"/>
                  </a:lnTo>
                  <a:close/>
                </a:path>
              </a:pathLst>
            </a:custGeom>
            <a:solidFill>
              <a:srgbClr val="CC6F3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6653" tIns="58327" rIns="116653" bIns="58327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56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5" name="Freeform 36"/>
            <p:cNvSpPr>
              <a:spLocks/>
            </p:cNvSpPr>
            <p:nvPr/>
          </p:nvSpPr>
          <p:spPr bwMode="auto">
            <a:xfrm>
              <a:off x="3195" y="1180"/>
              <a:ext cx="1095" cy="283"/>
            </a:xfrm>
            <a:custGeom>
              <a:avLst/>
              <a:gdLst>
                <a:gd name="T0" fmla="*/ 218 w 4381"/>
                <a:gd name="T1" fmla="*/ 1128 h 1128"/>
                <a:gd name="T2" fmla="*/ 175 w 4381"/>
                <a:gd name="T3" fmla="*/ 1123 h 1128"/>
                <a:gd name="T4" fmla="*/ 133 w 4381"/>
                <a:gd name="T5" fmla="*/ 1110 h 1128"/>
                <a:gd name="T6" fmla="*/ 96 w 4381"/>
                <a:gd name="T7" fmla="*/ 1090 h 1128"/>
                <a:gd name="T8" fmla="*/ 63 w 4381"/>
                <a:gd name="T9" fmla="*/ 1064 h 1128"/>
                <a:gd name="T10" fmla="*/ 37 w 4381"/>
                <a:gd name="T11" fmla="*/ 1031 h 1128"/>
                <a:gd name="T12" fmla="*/ 17 w 4381"/>
                <a:gd name="T13" fmla="*/ 995 h 1128"/>
                <a:gd name="T14" fmla="*/ 4 w 4381"/>
                <a:gd name="T15" fmla="*/ 953 h 1128"/>
                <a:gd name="T16" fmla="*/ 0 w 4381"/>
                <a:gd name="T17" fmla="*/ 909 h 1128"/>
                <a:gd name="T18" fmla="*/ 1 w 4381"/>
                <a:gd name="T19" fmla="*/ 196 h 1128"/>
                <a:gd name="T20" fmla="*/ 9 w 4381"/>
                <a:gd name="T21" fmla="*/ 154 h 1128"/>
                <a:gd name="T22" fmla="*/ 26 w 4381"/>
                <a:gd name="T23" fmla="*/ 115 h 1128"/>
                <a:gd name="T24" fmla="*/ 49 w 4381"/>
                <a:gd name="T25" fmla="*/ 79 h 1128"/>
                <a:gd name="T26" fmla="*/ 80 w 4381"/>
                <a:gd name="T27" fmla="*/ 50 h 1128"/>
                <a:gd name="T28" fmla="*/ 114 w 4381"/>
                <a:gd name="T29" fmla="*/ 26 h 1128"/>
                <a:gd name="T30" fmla="*/ 153 w 4381"/>
                <a:gd name="T31" fmla="*/ 9 h 1128"/>
                <a:gd name="T32" fmla="*/ 196 w 4381"/>
                <a:gd name="T33" fmla="*/ 1 h 1128"/>
                <a:gd name="T34" fmla="*/ 4161 w 4381"/>
                <a:gd name="T35" fmla="*/ 0 h 1128"/>
                <a:gd name="T36" fmla="*/ 4206 w 4381"/>
                <a:gd name="T37" fmla="*/ 4 h 1128"/>
                <a:gd name="T38" fmla="*/ 4246 w 4381"/>
                <a:gd name="T39" fmla="*/ 17 h 1128"/>
                <a:gd name="T40" fmla="*/ 4284 w 4381"/>
                <a:gd name="T41" fmla="*/ 37 h 1128"/>
                <a:gd name="T42" fmla="*/ 4316 w 4381"/>
                <a:gd name="T43" fmla="*/ 64 h 1128"/>
                <a:gd name="T44" fmla="*/ 4343 w 4381"/>
                <a:gd name="T45" fmla="*/ 97 h 1128"/>
                <a:gd name="T46" fmla="*/ 4363 w 4381"/>
                <a:gd name="T47" fmla="*/ 134 h 1128"/>
                <a:gd name="T48" fmla="*/ 4376 w 4381"/>
                <a:gd name="T49" fmla="*/ 175 h 1128"/>
                <a:gd name="T50" fmla="*/ 4381 w 4381"/>
                <a:gd name="T51" fmla="*/ 219 h 1128"/>
                <a:gd name="T52" fmla="*/ 4380 w 4381"/>
                <a:gd name="T53" fmla="*/ 932 h 1128"/>
                <a:gd name="T54" fmla="*/ 4370 w 4381"/>
                <a:gd name="T55" fmla="*/ 974 h 1128"/>
                <a:gd name="T56" fmla="*/ 4354 w 4381"/>
                <a:gd name="T57" fmla="*/ 1013 h 1128"/>
                <a:gd name="T58" fmla="*/ 4330 w 4381"/>
                <a:gd name="T59" fmla="*/ 1048 h 1128"/>
                <a:gd name="T60" fmla="*/ 4301 w 4381"/>
                <a:gd name="T61" fmla="*/ 1078 h 1128"/>
                <a:gd name="T62" fmla="*/ 4265 w 4381"/>
                <a:gd name="T63" fmla="*/ 1102 h 1128"/>
                <a:gd name="T64" fmla="*/ 4226 w 4381"/>
                <a:gd name="T65" fmla="*/ 1119 h 1128"/>
                <a:gd name="T66" fmla="*/ 4184 w 4381"/>
                <a:gd name="T67" fmla="*/ 1127 h 1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4381" h="1128">
                  <a:moveTo>
                    <a:pt x="4161" y="1128"/>
                  </a:moveTo>
                  <a:lnTo>
                    <a:pt x="218" y="1128"/>
                  </a:lnTo>
                  <a:lnTo>
                    <a:pt x="196" y="1127"/>
                  </a:lnTo>
                  <a:lnTo>
                    <a:pt x="175" y="1123"/>
                  </a:lnTo>
                  <a:lnTo>
                    <a:pt x="153" y="1119"/>
                  </a:lnTo>
                  <a:lnTo>
                    <a:pt x="133" y="1110"/>
                  </a:lnTo>
                  <a:lnTo>
                    <a:pt x="114" y="1102"/>
                  </a:lnTo>
                  <a:lnTo>
                    <a:pt x="96" y="1090"/>
                  </a:lnTo>
                  <a:lnTo>
                    <a:pt x="80" y="1078"/>
                  </a:lnTo>
                  <a:lnTo>
                    <a:pt x="63" y="1064"/>
                  </a:lnTo>
                  <a:lnTo>
                    <a:pt x="49" y="1048"/>
                  </a:lnTo>
                  <a:lnTo>
                    <a:pt x="37" y="1031"/>
                  </a:lnTo>
                  <a:lnTo>
                    <a:pt x="26" y="1013"/>
                  </a:lnTo>
                  <a:lnTo>
                    <a:pt x="17" y="995"/>
                  </a:lnTo>
                  <a:lnTo>
                    <a:pt x="9" y="974"/>
                  </a:lnTo>
                  <a:lnTo>
                    <a:pt x="4" y="953"/>
                  </a:lnTo>
                  <a:lnTo>
                    <a:pt x="1" y="932"/>
                  </a:lnTo>
                  <a:lnTo>
                    <a:pt x="0" y="909"/>
                  </a:lnTo>
                  <a:lnTo>
                    <a:pt x="0" y="219"/>
                  </a:lnTo>
                  <a:lnTo>
                    <a:pt x="1" y="196"/>
                  </a:lnTo>
                  <a:lnTo>
                    <a:pt x="4" y="175"/>
                  </a:lnTo>
                  <a:lnTo>
                    <a:pt x="9" y="154"/>
                  </a:lnTo>
                  <a:lnTo>
                    <a:pt x="17" y="134"/>
                  </a:lnTo>
                  <a:lnTo>
                    <a:pt x="26" y="115"/>
                  </a:lnTo>
                  <a:lnTo>
                    <a:pt x="37" y="97"/>
                  </a:lnTo>
                  <a:lnTo>
                    <a:pt x="49" y="79"/>
                  </a:lnTo>
                  <a:lnTo>
                    <a:pt x="63" y="64"/>
                  </a:lnTo>
                  <a:lnTo>
                    <a:pt x="80" y="50"/>
                  </a:lnTo>
                  <a:lnTo>
                    <a:pt x="96" y="37"/>
                  </a:lnTo>
                  <a:lnTo>
                    <a:pt x="114" y="26"/>
                  </a:lnTo>
                  <a:lnTo>
                    <a:pt x="133" y="17"/>
                  </a:lnTo>
                  <a:lnTo>
                    <a:pt x="153" y="9"/>
                  </a:lnTo>
                  <a:lnTo>
                    <a:pt x="175" y="4"/>
                  </a:lnTo>
                  <a:lnTo>
                    <a:pt x="196" y="1"/>
                  </a:lnTo>
                  <a:lnTo>
                    <a:pt x="218" y="0"/>
                  </a:lnTo>
                  <a:lnTo>
                    <a:pt x="4161" y="0"/>
                  </a:lnTo>
                  <a:lnTo>
                    <a:pt x="4184" y="1"/>
                  </a:lnTo>
                  <a:lnTo>
                    <a:pt x="4206" y="4"/>
                  </a:lnTo>
                  <a:lnTo>
                    <a:pt x="4226" y="9"/>
                  </a:lnTo>
                  <a:lnTo>
                    <a:pt x="4246" y="17"/>
                  </a:lnTo>
                  <a:lnTo>
                    <a:pt x="4265" y="26"/>
                  </a:lnTo>
                  <a:lnTo>
                    <a:pt x="4284" y="37"/>
                  </a:lnTo>
                  <a:lnTo>
                    <a:pt x="4301" y="50"/>
                  </a:lnTo>
                  <a:lnTo>
                    <a:pt x="4316" y="64"/>
                  </a:lnTo>
                  <a:lnTo>
                    <a:pt x="4330" y="79"/>
                  </a:lnTo>
                  <a:lnTo>
                    <a:pt x="4343" y="97"/>
                  </a:lnTo>
                  <a:lnTo>
                    <a:pt x="4354" y="115"/>
                  </a:lnTo>
                  <a:lnTo>
                    <a:pt x="4363" y="134"/>
                  </a:lnTo>
                  <a:lnTo>
                    <a:pt x="4370" y="154"/>
                  </a:lnTo>
                  <a:lnTo>
                    <a:pt x="4376" y="175"/>
                  </a:lnTo>
                  <a:lnTo>
                    <a:pt x="4380" y="196"/>
                  </a:lnTo>
                  <a:lnTo>
                    <a:pt x="4381" y="219"/>
                  </a:lnTo>
                  <a:lnTo>
                    <a:pt x="4381" y="909"/>
                  </a:lnTo>
                  <a:lnTo>
                    <a:pt x="4380" y="932"/>
                  </a:lnTo>
                  <a:lnTo>
                    <a:pt x="4376" y="953"/>
                  </a:lnTo>
                  <a:lnTo>
                    <a:pt x="4370" y="974"/>
                  </a:lnTo>
                  <a:lnTo>
                    <a:pt x="4363" y="995"/>
                  </a:lnTo>
                  <a:lnTo>
                    <a:pt x="4354" y="1013"/>
                  </a:lnTo>
                  <a:lnTo>
                    <a:pt x="4343" y="1031"/>
                  </a:lnTo>
                  <a:lnTo>
                    <a:pt x="4330" y="1048"/>
                  </a:lnTo>
                  <a:lnTo>
                    <a:pt x="4316" y="1064"/>
                  </a:lnTo>
                  <a:lnTo>
                    <a:pt x="4301" y="1078"/>
                  </a:lnTo>
                  <a:lnTo>
                    <a:pt x="4284" y="1090"/>
                  </a:lnTo>
                  <a:lnTo>
                    <a:pt x="4265" y="1102"/>
                  </a:lnTo>
                  <a:lnTo>
                    <a:pt x="4246" y="1110"/>
                  </a:lnTo>
                  <a:lnTo>
                    <a:pt x="4226" y="1119"/>
                  </a:lnTo>
                  <a:lnTo>
                    <a:pt x="4206" y="1123"/>
                  </a:lnTo>
                  <a:lnTo>
                    <a:pt x="4184" y="1127"/>
                  </a:lnTo>
                  <a:lnTo>
                    <a:pt x="4161" y="1128"/>
                  </a:lnTo>
                  <a:close/>
                </a:path>
              </a:pathLst>
            </a:cu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6653" tIns="58327" rIns="116653" bIns="58327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56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6" name="Freeform 37"/>
            <p:cNvSpPr>
              <a:spLocks noEditPoints="1"/>
            </p:cNvSpPr>
            <p:nvPr/>
          </p:nvSpPr>
          <p:spPr bwMode="auto">
            <a:xfrm>
              <a:off x="3189" y="1175"/>
              <a:ext cx="1107" cy="293"/>
            </a:xfrm>
            <a:custGeom>
              <a:avLst/>
              <a:gdLst>
                <a:gd name="T0" fmla="*/ 4184 w 4425"/>
                <a:gd name="T1" fmla="*/ 1129 h 1173"/>
                <a:gd name="T2" fmla="*/ 218 w 4425"/>
                <a:gd name="T3" fmla="*/ 1171 h 1173"/>
                <a:gd name="T4" fmla="*/ 148 w 4425"/>
                <a:gd name="T5" fmla="*/ 1154 h 1173"/>
                <a:gd name="T6" fmla="*/ 71 w 4425"/>
                <a:gd name="T7" fmla="*/ 1102 h 1173"/>
                <a:gd name="T8" fmla="*/ 148 w 4425"/>
                <a:gd name="T9" fmla="*/ 1104 h 1173"/>
                <a:gd name="T10" fmla="*/ 221 w 4425"/>
                <a:gd name="T11" fmla="*/ 1128 h 1173"/>
                <a:gd name="T12" fmla="*/ 56 w 4425"/>
                <a:gd name="T13" fmla="*/ 1084 h 1173"/>
                <a:gd name="T14" fmla="*/ 12 w 4425"/>
                <a:gd name="T15" fmla="*/ 1002 h 1173"/>
                <a:gd name="T16" fmla="*/ 1 w 4425"/>
                <a:gd name="T17" fmla="*/ 943 h 1173"/>
                <a:gd name="T18" fmla="*/ 49 w 4425"/>
                <a:gd name="T19" fmla="*/ 970 h 1173"/>
                <a:gd name="T20" fmla="*/ 78 w 4425"/>
                <a:gd name="T21" fmla="*/ 1041 h 1173"/>
                <a:gd name="T22" fmla="*/ 0 w 4425"/>
                <a:gd name="T23" fmla="*/ 931 h 1173"/>
                <a:gd name="T24" fmla="*/ 0 w 4425"/>
                <a:gd name="T25" fmla="*/ 931 h 1173"/>
                <a:gd name="T26" fmla="*/ 4 w 4425"/>
                <a:gd name="T27" fmla="*/ 204 h 1173"/>
                <a:gd name="T28" fmla="*/ 30 w 4425"/>
                <a:gd name="T29" fmla="*/ 126 h 1173"/>
                <a:gd name="T30" fmla="*/ 102 w 4425"/>
                <a:gd name="T31" fmla="*/ 101 h 1173"/>
                <a:gd name="T32" fmla="*/ 60 w 4425"/>
                <a:gd name="T33" fmla="*/ 164 h 1173"/>
                <a:gd name="T34" fmla="*/ 44 w 4425"/>
                <a:gd name="T35" fmla="*/ 241 h 1173"/>
                <a:gd name="T36" fmla="*/ 86 w 4425"/>
                <a:gd name="T37" fmla="*/ 86 h 1173"/>
                <a:gd name="T38" fmla="*/ 106 w 4425"/>
                <a:gd name="T39" fmla="*/ 41 h 1173"/>
                <a:gd name="T40" fmla="*/ 193 w 4425"/>
                <a:gd name="T41" fmla="*/ 4 h 1173"/>
                <a:gd name="T42" fmla="*/ 241 w 4425"/>
                <a:gd name="T43" fmla="*/ 0 h 1173"/>
                <a:gd name="T44" fmla="*/ 183 w 4425"/>
                <a:gd name="T45" fmla="*/ 53 h 1173"/>
                <a:gd name="T46" fmla="*/ 116 w 4425"/>
                <a:gd name="T47" fmla="*/ 88 h 1173"/>
                <a:gd name="T48" fmla="*/ 4184 w 4425"/>
                <a:gd name="T49" fmla="*/ 0 h 1173"/>
                <a:gd name="T50" fmla="*/ 4184 w 4425"/>
                <a:gd name="T51" fmla="*/ 0 h 1173"/>
                <a:gd name="T52" fmla="*/ 4233 w 4425"/>
                <a:gd name="T53" fmla="*/ 4 h 1173"/>
                <a:gd name="T54" fmla="*/ 4319 w 4425"/>
                <a:gd name="T55" fmla="*/ 41 h 1173"/>
                <a:gd name="T56" fmla="*/ 4309 w 4425"/>
                <a:gd name="T57" fmla="*/ 88 h 1173"/>
                <a:gd name="T58" fmla="*/ 4243 w 4425"/>
                <a:gd name="T59" fmla="*/ 53 h 1173"/>
                <a:gd name="T60" fmla="*/ 4184 w 4425"/>
                <a:gd name="T61" fmla="*/ 0 h 1173"/>
                <a:gd name="T62" fmla="*/ 4324 w 4425"/>
                <a:gd name="T63" fmla="*/ 101 h 1173"/>
                <a:gd name="T64" fmla="*/ 4397 w 4425"/>
                <a:gd name="T65" fmla="*/ 126 h 1173"/>
                <a:gd name="T66" fmla="*/ 4423 w 4425"/>
                <a:gd name="T67" fmla="*/ 204 h 1173"/>
                <a:gd name="T68" fmla="*/ 4382 w 4425"/>
                <a:gd name="T69" fmla="*/ 241 h 1173"/>
                <a:gd name="T70" fmla="*/ 4366 w 4425"/>
                <a:gd name="T71" fmla="*/ 164 h 1173"/>
                <a:gd name="T72" fmla="*/ 4324 w 4425"/>
                <a:gd name="T73" fmla="*/ 101 h 1173"/>
                <a:gd name="T74" fmla="*/ 4382 w 4425"/>
                <a:gd name="T75" fmla="*/ 931 h 1173"/>
                <a:gd name="T76" fmla="*/ 4425 w 4425"/>
                <a:gd name="T77" fmla="*/ 943 h 1173"/>
                <a:gd name="T78" fmla="*/ 4415 w 4425"/>
                <a:gd name="T79" fmla="*/ 1002 h 1173"/>
                <a:gd name="T80" fmla="*/ 4370 w 4425"/>
                <a:gd name="T81" fmla="*/ 1084 h 1173"/>
                <a:gd name="T82" fmla="*/ 4348 w 4425"/>
                <a:gd name="T83" fmla="*/ 1041 h 1173"/>
                <a:gd name="T84" fmla="*/ 4378 w 4425"/>
                <a:gd name="T85" fmla="*/ 970 h 1173"/>
                <a:gd name="T86" fmla="*/ 4324 w 4425"/>
                <a:gd name="T87" fmla="*/ 1071 h 1173"/>
                <a:gd name="T88" fmla="*/ 4354 w 4425"/>
                <a:gd name="T89" fmla="*/ 1102 h 1173"/>
                <a:gd name="T90" fmla="*/ 4279 w 4425"/>
                <a:gd name="T91" fmla="*/ 1154 h 1173"/>
                <a:gd name="T92" fmla="*/ 4209 w 4425"/>
                <a:gd name="T93" fmla="*/ 1171 h 1173"/>
                <a:gd name="T94" fmla="*/ 4204 w 4425"/>
                <a:gd name="T95" fmla="*/ 1128 h 1173"/>
                <a:gd name="T96" fmla="*/ 4279 w 4425"/>
                <a:gd name="T97" fmla="*/ 1104 h 1173"/>
                <a:gd name="T98" fmla="*/ 4354 w 4425"/>
                <a:gd name="T99" fmla="*/ 1102 h 11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4425" h="1173">
                  <a:moveTo>
                    <a:pt x="4184" y="1173"/>
                  </a:moveTo>
                  <a:lnTo>
                    <a:pt x="241" y="1173"/>
                  </a:lnTo>
                  <a:lnTo>
                    <a:pt x="241" y="1129"/>
                  </a:lnTo>
                  <a:lnTo>
                    <a:pt x="4184" y="1129"/>
                  </a:lnTo>
                  <a:lnTo>
                    <a:pt x="4184" y="1173"/>
                  </a:lnTo>
                  <a:close/>
                  <a:moveTo>
                    <a:pt x="241" y="1173"/>
                  </a:moveTo>
                  <a:lnTo>
                    <a:pt x="229" y="1171"/>
                  </a:lnTo>
                  <a:lnTo>
                    <a:pt x="218" y="1171"/>
                  </a:lnTo>
                  <a:lnTo>
                    <a:pt x="205" y="1169"/>
                  </a:lnTo>
                  <a:lnTo>
                    <a:pt x="193" y="1168"/>
                  </a:lnTo>
                  <a:lnTo>
                    <a:pt x="170" y="1161"/>
                  </a:lnTo>
                  <a:lnTo>
                    <a:pt x="148" y="1154"/>
                  </a:lnTo>
                  <a:lnTo>
                    <a:pt x="127" y="1143"/>
                  </a:lnTo>
                  <a:lnTo>
                    <a:pt x="106" y="1131"/>
                  </a:lnTo>
                  <a:lnTo>
                    <a:pt x="89" y="1117"/>
                  </a:lnTo>
                  <a:lnTo>
                    <a:pt x="71" y="1102"/>
                  </a:lnTo>
                  <a:lnTo>
                    <a:pt x="102" y="1071"/>
                  </a:lnTo>
                  <a:lnTo>
                    <a:pt x="116" y="1083"/>
                  </a:lnTo>
                  <a:lnTo>
                    <a:pt x="131" y="1095"/>
                  </a:lnTo>
                  <a:lnTo>
                    <a:pt x="148" y="1104"/>
                  </a:lnTo>
                  <a:lnTo>
                    <a:pt x="166" y="1112"/>
                  </a:lnTo>
                  <a:lnTo>
                    <a:pt x="183" y="1119"/>
                  </a:lnTo>
                  <a:lnTo>
                    <a:pt x="202" y="1124"/>
                  </a:lnTo>
                  <a:lnTo>
                    <a:pt x="221" y="1128"/>
                  </a:lnTo>
                  <a:lnTo>
                    <a:pt x="241" y="1129"/>
                  </a:lnTo>
                  <a:lnTo>
                    <a:pt x="241" y="1173"/>
                  </a:lnTo>
                  <a:close/>
                  <a:moveTo>
                    <a:pt x="71" y="1102"/>
                  </a:moveTo>
                  <a:lnTo>
                    <a:pt x="56" y="1084"/>
                  </a:lnTo>
                  <a:lnTo>
                    <a:pt x="41" y="1066"/>
                  </a:lnTo>
                  <a:lnTo>
                    <a:pt x="30" y="1046"/>
                  </a:lnTo>
                  <a:lnTo>
                    <a:pt x="19" y="1025"/>
                  </a:lnTo>
                  <a:lnTo>
                    <a:pt x="12" y="1002"/>
                  </a:lnTo>
                  <a:lnTo>
                    <a:pt x="5" y="980"/>
                  </a:lnTo>
                  <a:lnTo>
                    <a:pt x="4" y="968"/>
                  </a:lnTo>
                  <a:lnTo>
                    <a:pt x="1" y="955"/>
                  </a:lnTo>
                  <a:lnTo>
                    <a:pt x="1" y="943"/>
                  </a:lnTo>
                  <a:lnTo>
                    <a:pt x="0" y="931"/>
                  </a:lnTo>
                  <a:lnTo>
                    <a:pt x="44" y="931"/>
                  </a:lnTo>
                  <a:lnTo>
                    <a:pt x="45" y="951"/>
                  </a:lnTo>
                  <a:lnTo>
                    <a:pt x="49" y="970"/>
                  </a:lnTo>
                  <a:lnTo>
                    <a:pt x="53" y="989"/>
                  </a:lnTo>
                  <a:lnTo>
                    <a:pt x="60" y="1007"/>
                  </a:lnTo>
                  <a:lnTo>
                    <a:pt x="69" y="1025"/>
                  </a:lnTo>
                  <a:lnTo>
                    <a:pt x="78" y="1041"/>
                  </a:lnTo>
                  <a:lnTo>
                    <a:pt x="90" y="1057"/>
                  </a:lnTo>
                  <a:lnTo>
                    <a:pt x="102" y="1071"/>
                  </a:lnTo>
                  <a:lnTo>
                    <a:pt x="71" y="1102"/>
                  </a:lnTo>
                  <a:close/>
                  <a:moveTo>
                    <a:pt x="0" y="931"/>
                  </a:moveTo>
                  <a:lnTo>
                    <a:pt x="0" y="241"/>
                  </a:lnTo>
                  <a:lnTo>
                    <a:pt x="44" y="241"/>
                  </a:lnTo>
                  <a:lnTo>
                    <a:pt x="44" y="931"/>
                  </a:lnTo>
                  <a:lnTo>
                    <a:pt x="0" y="931"/>
                  </a:lnTo>
                  <a:close/>
                  <a:moveTo>
                    <a:pt x="0" y="241"/>
                  </a:moveTo>
                  <a:lnTo>
                    <a:pt x="1" y="229"/>
                  </a:lnTo>
                  <a:lnTo>
                    <a:pt x="1" y="216"/>
                  </a:lnTo>
                  <a:lnTo>
                    <a:pt x="4" y="204"/>
                  </a:lnTo>
                  <a:lnTo>
                    <a:pt x="5" y="192"/>
                  </a:lnTo>
                  <a:lnTo>
                    <a:pt x="12" y="170"/>
                  </a:lnTo>
                  <a:lnTo>
                    <a:pt x="19" y="147"/>
                  </a:lnTo>
                  <a:lnTo>
                    <a:pt x="30" y="126"/>
                  </a:lnTo>
                  <a:lnTo>
                    <a:pt x="41" y="106"/>
                  </a:lnTo>
                  <a:lnTo>
                    <a:pt x="56" y="88"/>
                  </a:lnTo>
                  <a:lnTo>
                    <a:pt x="71" y="70"/>
                  </a:lnTo>
                  <a:lnTo>
                    <a:pt x="102" y="101"/>
                  </a:lnTo>
                  <a:lnTo>
                    <a:pt x="90" y="115"/>
                  </a:lnTo>
                  <a:lnTo>
                    <a:pt x="78" y="131"/>
                  </a:lnTo>
                  <a:lnTo>
                    <a:pt x="69" y="147"/>
                  </a:lnTo>
                  <a:lnTo>
                    <a:pt x="60" y="164"/>
                  </a:lnTo>
                  <a:lnTo>
                    <a:pt x="53" y="183"/>
                  </a:lnTo>
                  <a:lnTo>
                    <a:pt x="49" y="202"/>
                  </a:lnTo>
                  <a:lnTo>
                    <a:pt x="45" y="221"/>
                  </a:lnTo>
                  <a:lnTo>
                    <a:pt x="44" y="241"/>
                  </a:lnTo>
                  <a:lnTo>
                    <a:pt x="0" y="241"/>
                  </a:lnTo>
                  <a:close/>
                  <a:moveTo>
                    <a:pt x="102" y="101"/>
                  </a:moveTo>
                  <a:lnTo>
                    <a:pt x="102" y="101"/>
                  </a:lnTo>
                  <a:lnTo>
                    <a:pt x="86" y="86"/>
                  </a:lnTo>
                  <a:lnTo>
                    <a:pt x="102" y="101"/>
                  </a:lnTo>
                  <a:close/>
                  <a:moveTo>
                    <a:pt x="71" y="70"/>
                  </a:moveTo>
                  <a:lnTo>
                    <a:pt x="89" y="55"/>
                  </a:lnTo>
                  <a:lnTo>
                    <a:pt x="106" y="41"/>
                  </a:lnTo>
                  <a:lnTo>
                    <a:pt x="127" y="29"/>
                  </a:lnTo>
                  <a:lnTo>
                    <a:pt x="148" y="18"/>
                  </a:lnTo>
                  <a:lnTo>
                    <a:pt x="170" y="10"/>
                  </a:lnTo>
                  <a:lnTo>
                    <a:pt x="193" y="4"/>
                  </a:lnTo>
                  <a:lnTo>
                    <a:pt x="205" y="3"/>
                  </a:lnTo>
                  <a:lnTo>
                    <a:pt x="218" y="1"/>
                  </a:lnTo>
                  <a:lnTo>
                    <a:pt x="229" y="0"/>
                  </a:lnTo>
                  <a:lnTo>
                    <a:pt x="241" y="0"/>
                  </a:lnTo>
                  <a:lnTo>
                    <a:pt x="241" y="43"/>
                  </a:lnTo>
                  <a:lnTo>
                    <a:pt x="221" y="44"/>
                  </a:lnTo>
                  <a:lnTo>
                    <a:pt x="202" y="48"/>
                  </a:lnTo>
                  <a:lnTo>
                    <a:pt x="183" y="53"/>
                  </a:lnTo>
                  <a:lnTo>
                    <a:pt x="164" y="59"/>
                  </a:lnTo>
                  <a:lnTo>
                    <a:pt x="148" y="67"/>
                  </a:lnTo>
                  <a:lnTo>
                    <a:pt x="131" y="78"/>
                  </a:lnTo>
                  <a:lnTo>
                    <a:pt x="116" y="88"/>
                  </a:lnTo>
                  <a:lnTo>
                    <a:pt x="102" y="101"/>
                  </a:lnTo>
                  <a:lnTo>
                    <a:pt x="71" y="70"/>
                  </a:lnTo>
                  <a:close/>
                  <a:moveTo>
                    <a:pt x="241" y="0"/>
                  </a:moveTo>
                  <a:lnTo>
                    <a:pt x="4184" y="0"/>
                  </a:lnTo>
                  <a:lnTo>
                    <a:pt x="4184" y="43"/>
                  </a:lnTo>
                  <a:lnTo>
                    <a:pt x="241" y="43"/>
                  </a:lnTo>
                  <a:lnTo>
                    <a:pt x="241" y="0"/>
                  </a:lnTo>
                  <a:close/>
                  <a:moveTo>
                    <a:pt x="4184" y="0"/>
                  </a:moveTo>
                  <a:lnTo>
                    <a:pt x="4197" y="0"/>
                  </a:lnTo>
                  <a:lnTo>
                    <a:pt x="4209" y="1"/>
                  </a:lnTo>
                  <a:lnTo>
                    <a:pt x="4221" y="3"/>
                  </a:lnTo>
                  <a:lnTo>
                    <a:pt x="4233" y="4"/>
                  </a:lnTo>
                  <a:lnTo>
                    <a:pt x="4256" y="10"/>
                  </a:lnTo>
                  <a:lnTo>
                    <a:pt x="4277" y="18"/>
                  </a:lnTo>
                  <a:lnTo>
                    <a:pt x="4299" y="29"/>
                  </a:lnTo>
                  <a:lnTo>
                    <a:pt x="4319" y="41"/>
                  </a:lnTo>
                  <a:lnTo>
                    <a:pt x="4338" y="55"/>
                  </a:lnTo>
                  <a:lnTo>
                    <a:pt x="4354" y="70"/>
                  </a:lnTo>
                  <a:lnTo>
                    <a:pt x="4324" y="101"/>
                  </a:lnTo>
                  <a:lnTo>
                    <a:pt x="4309" y="88"/>
                  </a:lnTo>
                  <a:lnTo>
                    <a:pt x="4294" y="78"/>
                  </a:lnTo>
                  <a:lnTo>
                    <a:pt x="4279" y="67"/>
                  </a:lnTo>
                  <a:lnTo>
                    <a:pt x="4261" y="59"/>
                  </a:lnTo>
                  <a:lnTo>
                    <a:pt x="4243" y="53"/>
                  </a:lnTo>
                  <a:lnTo>
                    <a:pt x="4224" y="48"/>
                  </a:lnTo>
                  <a:lnTo>
                    <a:pt x="4204" y="44"/>
                  </a:lnTo>
                  <a:lnTo>
                    <a:pt x="4184" y="43"/>
                  </a:lnTo>
                  <a:lnTo>
                    <a:pt x="4184" y="0"/>
                  </a:lnTo>
                  <a:close/>
                  <a:moveTo>
                    <a:pt x="4324" y="101"/>
                  </a:moveTo>
                  <a:lnTo>
                    <a:pt x="4324" y="101"/>
                  </a:lnTo>
                  <a:lnTo>
                    <a:pt x="4339" y="86"/>
                  </a:lnTo>
                  <a:lnTo>
                    <a:pt x="4324" y="101"/>
                  </a:lnTo>
                  <a:close/>
                  <a:moveTo>
                    <a:pt x="4354" y="70"/>
                  </a:moveTo>
                  <a:lnTo>
                    <a:pt x="4370" y="88"/>
                  </a:lnTo>
                  <a:lnTo>
                    <a:pt x="4384" y="106"/>
                  </a:lnTo>
                  <a:lnTo>
                    <a:pt x="4397" y="126"/>
                  </a:lnTo>
                  <a:lnTo>
                    <a:pt x="4406" y="147"/>
                  </a:lnTo>
                  <a:lnTo>
                    <a:pt x="4415" y="170"/>
                  </a:lnTo>
                  <a:lnTo>
                    <a:pt x="4421" y="192"/>
                  </a:lnTo>
                  <a:lnTo>
                    <a:pt x="4423" y="204"/>
                  </a:lnTo>
                  <a:lnTo>
                    <a:pt x="4424" y="216"/>
                  </a:lnTo>
                  <a:lnTo>
                    <a:pt x="4425" y="229"/>
                  </a:lnTo>
                  <a:lnTo>
                    <a:pt x="4425" y="241"/>
                  </a:lnTo>
                  <a:lnTo>
                    <a:pt x="4382" y="241"/>
                  </a:lnTo>
                  <a:lnTo>
                    <a:pt x="4380" y="221"/>
                  </a:lnTo>
                  <a:lnTo>
                    <a:pt x="4378" y="202"/>
                  </a:lnTo>
                  <a:lnTo>
                    <a:pt x="4373" y="183"/>
                  </a:lnTo>
                  <a:lnTo>
                    <a:pt x="4366" y="164"/>
                  </a:lnTo>
                  <a:lnTo>
                    <a:pt x="4358" y="147"/>
                  </a:lnTo>
                  <a:lnTo>
                    <a:pt x="4348" y="131"/>
                  </a:lnTo>
                  <a:lnTo>
                    <a:pt x="4337" y="115"/>
                  </a:lnTo>
                  <a:lnTo>
                    <a:pt x="4324" y="101"/>
                  </a:lnTo>
                  <a:lnTo>
                    <a:pt x="4354" y="70"/>
                  </a:lnTo>
                  <a:close/>
                  <a:moveTo>
                    <a:pt x="4425" y="241"/>
                  </a:moveTo>
                  <a:lnTo>
                    <a:pt x="4425" y="931"/>
                  </a:lnTo>
                  <a:lnTo>
                    <a:pt x="4382" y="931"/>
                  </a:lnTo>
                  <a:lnTo>
                    <a:pt x="4382" y="241"/>
                  </a:lnTo>
                  <a:lnTo>
                    <a:pt x="4425" y="241"/>
                  </a:lnTo>
                  <a:close/>
                  <a:moveTo>
                    <a:pt x="4425" y="931"/>
                  </a:moveTo>
                  <a:lnTo>
                    <a:pt x="4425" y="943"/>
                  </a:lnTo>
                  <a:lnTo>
                    <a:pt x="4424" y="955"/>
                  </a:lnTo>
                  <a:lnTo>
                    <a:pt x="4423" y="968"/>
                  </a:lnTo>
                  <a:lnTo>
                    <a:pt x="4421" y="980"/>
                  </a:lnTo>
                  <a:lnTo>
                    <a:pt x="4415" y="1002"/>
                  </a:lnTo>
                  <a:lnTo>
                    <a:pt x="4406" y="1025"/>
                  </a:lnTo>
                  <a:lnTo>
                    <a:pt x="4397" y="1046"/>
                  </a:lnTo>
                  <a:lnTo>
                    <a:pt x="4384" y="1066"/>
                  </a:lnTo>
                  <a:lnTo>
                    <a:pt x="4370" y="1084"/>
                  </a:lnTo>
                  <a:lnTo>
                    <a:pt x="4354" y="1102"/>
                  </a:lnTo>
                  <a:lnTo>
                    <a:pt x="4324" y="1071"/>
                  </a:lnTo>
                  <a:lnTo>
                    <a:pt x="4337" y="1057"/>
                  </a:lnTo>
                  <a:lnTo>
                    <a:pt x="4348" y="1041"/>
                  </a:lnTo>
                  <a:lnTo>
                    <a:pt x="4358" y="1025"/>
                  </a:lnTo>
                  <a:lnTo>
                    <a:pt x="4366" y="1008"/>
                  </a:lnTo>
                  <a:lnTo>
                    <a:pt x="4373" y="989"/>
                  </a:lnTo>
                  <a:lnTo>
                    <a:pt x="4378" y="970"/>
                  </a:lnTo>
                  <a:lnTo>
                    <a:pt x="4380" y="951"/>
                  </a:lnTo>
                  <a:lnTo>
                    <a:pt x="4382" y="931"/>
                  </a:lnTo>
                  <a:lnTo>
                    <a:pt x="4425" y="931"/>
                  </a:lnTo>
                  <a:close/>
                  <a:moveTo>
                    <a:pt x="4324" y="1071"/>
                  </a:moveTo>
                  <a:lnTo>
                    <a:pt x="4324" y="1071"/>
                  </a:lnTo>
                  <a:lnTo>
                    <a:pt x="4339" y="1086"/>
                  </a:lnTo>
                  <a:lnTo>
                    <a:pt x="4324" y="1071"/>
                  </a:lnTo>
                  <a:close/>
                  <a:moveTo>
                    <a:pt x="4354" y="1102"/>
                  </a:moveTo>
                  <a:lnTo>
                    <a:pt x="4338" y="1117"/>
                  </a:lnTo>
                  <a:lnTo>
                    <a:pt x="4319" y="1131"/>
                  </a:lnTo>
                  <a:lnTo>
                    <a:pt x="4299" y="1143"/>
                  </a:lnTo>
                  <a:lnTo>
                    <a:pt x="4279" y="1154"/>
                  </a:lnTo>
                  <a:lnTo>
                    <a:pt x="4256" y="1161"/>
                  </a:lnTo>
                  <a:lnTo>
                    <a:pt x="4233" y="1168"/>
                  </a:lnTo>
                  <a:lnTo>
                    <a:pt x="4221" y="1169"/>
                  </a:lnTo>
                  <a:lnTo>
                    <a:pt x="4209" y="1171"/>
                  </a:lnTo>
                  <a:lnTo>
                    <a:pt x="4197" y="1171"/>
                  </a:lnTo>
                  <a:lnTo>
                    <a:pt x="4184" y="1173"/>
                  </a:lnTo>
                  <a:lnTo>
                    <a:pt x="4184" y="1129"/>
                  </a:lnTo>
                  <a:lnTo>
                    <a:pt x="4204" y="1128"/>
                  </a:lnTo>
                  <a:lnTo>
                    <a:pt x="4224" y="1124"/>
                  </a:lnTo>
                  <a:lnTo>
                    <a:pt x="4243" y="1119"/>
                  </a:lnTo>
                  <a:lnTo>
                    <a:pt x="4261" y="1112"/>
                  </a:lnTo>
                  <a:lnTo>
                    <a:pt x="4279" y="1104"/>
                  </a:lnTo>
                  <a:lnTo>
                    <a:pt x="4294" y="1095"/>
                  </a:lnTo>
                  <a:lnTo>
                    <a:pt x="4309" y="1083"/>
                  </a:lnTo>
                  <a:lnTo>
                    <a:pt x="4324" y="1071"/>
                  </a:lnTo>
                  <a:lnTo>
                    <a:pt x="4354" y="1102"/>
                  </a:lnTo>
                  <a:close/>
                </a:path>
              </a:pathLst>
            </a:custGeom>
            <a:solidFill>
              <a:srgbClr val="834E9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6653" tIns="58327" rIns="116653" bIns="58327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56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7" name="Freeform 38"/>
            <p:cNvSpPr>
              <a:spLocks/>
            </p:cNvSpPr>
            <p:nvPr/>
          </p:nvSpPr>
          <p:spPr bwMode="auto">
            <a:xfrm>
              <a:off x="2183" y="2279"/>
              <a:ext cx="1096" cy="282"/>
            </a:xfrm>
            <a:custGeom>
              <a:avLst/>
              <a:gdLst>
                <a:gd name="T0" fmla="*/ 218 w 4381"/>
                <a:gd name="T1" fmla="*/ 0 h 1128"/>
                <a:gd name="T2" fmla="*/ 175 w 4381"/>
                <a:gd name="T3" fmla="*/ 4 h 1128"/>
                <a:gd name="T4" fmla="*/ 133 w 4381"/>
                <a:gd name="T5" fmla="*/ 17 h 1128"/>
                <a:gd name="T6" fmla="*/ 97 w 4381"/>
                <a:gd name="T7" fmla="*/ 37 h 1128"/>
                <a:gd name="T8" fmla="*/ 64 w 4381"/>
                <a:gd name="T9" fmla="*/ 64 h 1128"/>
                <a:gd name="T10" fmla="*/ 38 w 4381"/>
                <a:gd name="T11" fmla="*/ 97 h 1128"/>
                <a:gd name="T12" fmla="*/ 16 w 4381"/>
                <a:gd name="T13" fmla="*/ 134 h 1128"/>
                <a:gd name="T14" fmla="*/ 4 w 4381"/>
                <a:gd name="T15" fmla="*/ 175 h 1128"/>
                <a:gd name="T16" fmla="*/ 0 w 4381"/>
                <a:gd name="T17" fmla="*/ 219 h 1128"/>
                <a:gd name="T18" fmla="*/ 1 w 4381"/>
                <a:gd name="T19" fmla="*/ 932 h 1128"/>
                <a:gd name="T20" fmla="*/ 9 w 4381"/>
                <a:gd name="T21" fmla="*/ 975 h 1128"/>
                <a:gd name="T22" fmla="*/ 26 w 4381"/>
                <a:gd name="T23" fmla="*/ 1014 h 1128"/>
                <a:gd name="T24" fmla="*/ 49 w 4381"/>
                <a:gd name="T25" fmla="*/ 1048 h 1128"/>
                <a:gd name="T26" fmla="*/ 79 w 4381"/>
                <a:gd name="T27" fmla="*/ 1079 h 1128"/>
                <a:gd name="T28" fmla="*/ 114 w 4381"/>
                <a:gd name="T29" fmla="*/ 1102 h 1128"/>
                <a:gd name="T30" fmla="*/ 153 w 4381"/>
                <a:gd name="T31" fmla="*/ 1119 h 1128"/>
                <a:gd name="T32" fmla="*/ 196 w 4381"/>
                <a:gd name="T33" fmla="*/ 1127 h 1128"/>
                <a:gd name="T34" fmla="*/ 4161 w 4381"/>
                <a:gd name="T35" fmla="*/ 1128 h 1128"/>
                <a:gd name="T36" fmla="*/ 4205 w 4381"/>
                <a:gd name="T37" fmla="*/ 1124 h 1128"/>
                <a:gd name="T38" fmla="*/ 4246 w 4381"/>
                <a:gd name="T39" fmla="*/ 1111 h 1128"/>
                <a:gd name="T40" fmla="*/ 4284 w 4381"/>
                <a:gd name="T41" fmla="*/ 1091 h 1128"/>
                <a:gd name="T42" fmla="*/ 4316 w 4381"/>
                <a:gd name="T43" fmla="*/ 1065 h 1128"/>
                <a:gd name="T44" fmla="*/ 4343 w 4381"/>
                <a:gd name="T45" fmla="*/ 1031 h 1128"/>
                <a:gd name="T46" fmla="*/ 4363 w 4381"/>
                <a:gd name="T47" fmla="*/ 995 h 1128"/>
                <a:gd name="T48" fmla="*/ 4376 w 4381"/>
                <a:gd name="T49" fmla="*/ 953 h 1128"/>
                <a:gd name="T50" fmla="*/ 4381 w 4381"/>
                <a:gd name="T51" fmla="*/ 910 h 1128"/>
                <a:gd name="T52" fmla="*/ 4380 w 4381"/>
                <a:gd name="T53" fmla="*/ 197 h 1128"/>
                <a:gd name="T54" fmla="*/ 4370 w 4381"/>
                <a:gd name="T55" fmla="*/ 154 h 1128"/>
                <a:gd name="T56" fmla="*/ 4354 w 4381"/>
                <a:gd name="T57" fmla="*/ 115 h 1128"/>
                <a:gd name="T58" fmla="*/ 4330 w 4381"/>
                <a:gd name="T59" fmla="*/ 80 h 1128"/>
                <a:gd name="T60" fmla="*/ 4301 w 4381"/>
                <a:gd name="T61" fmla="*/ 50 h 1128"/>
                <a:gd name="T62" fmla="*/ 4265 w 4381"/>
                <a:gd name="T63" fmla="*/ 26 h 1128"/>
                <a:gd name="T64" fmla="*/ 4226 w 4381"/>
                <a:gd name="T65" fmla="*/ 10 h 1128"/>
                <a:gd name="T66" fmla="*/ 4184 w 4381"/>
                <a:gd name="T67" fmla="*/ 1 h 1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4381" h="1128">
                  <a:moveTo>
                    <a:pt x="4161" y="0"/>
                  </a:moveTo>
                  <a:lnTo>
                    <a:pt x="218" y="0"/>
                  </a:lnTo>
                  <a:lnTo>
                    <a:pt x="196" y="1"/>
                  </a:lnTo>
                  <a:lnTo>
                    <a:pt x="175" y="4"/>
                  </a:lnTo>
                  <a:lnTo>
                    <a:pt x="153" y="10"/>
                  </a:lnTo>
                  <a:lnTo>
                    <a:pt x="133" y="17"/>
                  </a:lnTo>
                  <a:lnTo>
                    <a:pt x="114" y="26"/>
                  </a:lnTo>
                  <a:lnTo>
                    <a:pt x="97" y="37"/>
                  </a:lnTo>
                  <a:lnTo>
                    <a:pt x="79" y="50"/>
                  </a:lnTo>
                  <a:lnTo>
                    <a:pt x="64" y="64"/>
                  </a:lnTo>
                  <a:lnTo>
                    <a:pt x="49" y="80"/>
                  </a:lnTo>
                  <a:lnTo>
                    <a:pt x="38" y="97"/>
                  </a:lnTo>
                  <a:lnTo>
                    <a:pt x="26" y="115"/>
                  </a:lnTo>
                  <a:lnTo>
                    <a:pt x="16" y="134"/>
                  </a:lnTo>
                  <a:lnTo>
                    <a:pt x="9" y="154"/>
                  </a:lnTo>
                  <a:lnTo>
                    <a:pt x="4" y="175"/>
                  </a:lnTo>
                  <a:lnTo>
                    <a:pt x="1" y="197"/>
                  </a:lnTo>
                  <a:lnTo>
                    <a:pt x="0" y="219"/>
                  </a:lnTo>
                  <a:lnTo>
                    <a:pt x="0" y="910"/>
                  </a:lnTo>
                  <a:lnTo>
                    <a:pt x="1" y="932"/>
                  </a:lnTo>
                  <a:lnTo>
                    <a:pt x="4" y="953"/>
                  </a:lnTo>
                  <a:lnTo>
                    <a:pt x="9" y="975"/>
                  </a:lnTo>
                  <a:lnTo>
                    <a:pt x="16" y="995"/>
                  </a:lnTo>
                  <a:lnTo>
                    <a:pt x="26" y="1014"/>
                  </a:lnTo>
                  <a:lnTo>
                    <a:pt x="38" y="1031"/>
                  </a:lnTo>
                  <a:lnTo>
                    <a:pt x="49" y="1048"/>
                  </a:lnTo>
                  <a:lnTo>
                    <a:pt x="64" y="1065"/>
                  </a:lnTo>
                  <a:lnTo>
                    <a:pt x="79" y="1079"/>
                  </a:lnTo>
                  <a:lnTo>
                    <a:pt x="97" y="1091"/>
                  </a:lnTo>
                  <a:lnTo>
                    <a:pt x="114" y="1102"/>
                  </a:lnTo>
                  <a:lnTo>
                    <a:pt x="133" y="1111"/>
                  </a:lnTo>
                  <a:lnTo>
                    <a:pt x="153" y="1119"/>
                  </a:lnTo>
                  <a:lnTo>
                    <a:pt x="175" y="1124"/>
                  </a:lnTo>
                  <a:lnTo>
                    <a:pt x="196" y="1127"/>
                  </a:lnTo>
                  <a:lnTo>
                    <a:pt x="218" y="1128"/>
                  </a:lnTo>
                  <a:lnTo>
                    <a:pt x="4161" y="1128"/>
                  </a:lnTo>
                  <a:lnTo>
                    <a:pt x="4184" y="1127"/>
                  </a:lnTo>
                  <a:lnTo>
                    <a:pt x="4205" y="1124"/>
                  </a:lnTo>
                  <a:lnTo>
                    <a:pt x="4226" y="1119"/>
                  </a:lnTo>
                  <a:lnTo>
                    <a:pt x="4246" y="1111"/>
                  </a:lnTo>
                  <a:lnTo>
                    <a:pt x="4265" y="1102"/>
                  </a:lnTo>
                  <a:lnTo>
                    <a:pt x="4284" y="1091"/>
                  </a:lnTo>
                  <a:lnTo>
                    <a:pt x="4301" y="1079"/>
                  </a:lnTo>
                  <a:lnTo>
                    <a:pt x="4316" y="1065"/>
                  </a:lnTo>
                  <a:lnTo>
                    <a:pt x="4330" y="1048"/>
                  </a:lnTo>
                  <a:lnTo>
                    <a:pt x="4343" y="1031"/>
                  </a:lnTo>
                  <a:lnTo>
                    <a:pt x="4354" y="1014"/>
                  </a:lnTo>
                  <a:lnTo>
                    <a:pt x="4363" y="995"/>
                  </a:lnTo>
                  <a:lnTo>
                    <a:pt x="4370" y="975"/>
                  </a:lnTo>
                  <a:lnTo>
                    <a:pt x="4376" y="953"/>
                  </a:lnTo>
                  <a:lnTo>
                    <a:pt x="4380" y="932"/>
                  </a:lnTo>
                  <a:lnTo>
                    <a:pt x="4381" y="910"/>
                  </a:lnTo>
                  <a:lnTo>
                    <a:pt x="4381" y="219"/>
                  </a:lnTo>
                  <a:lnTo>
                    <a:pt x="4380" y="197"/>
                  </a:lnTo>
                  <a:lnTo>
                    <a:pt x="4376" y="175"/>
                  </a:lnTo>
                  <a:lnTo>
                    <a:pt x="4370" y="154"/>
                  </a:lnTo>
                  <a:lnTo>
                    <a:pt x="4363" y="134"/>
                  </a:lnTo>
                  <a:lnTo>
                    <a:pt x="4354" y="115"/>
                  </a:lnTo>
                  <a:lnTo>
                    <a:pt x="4343" y="97"/>
                  </a:lnTo>
                  <a:lnTo>
                    <a:pt x="4330" y="80"/>
                  </a:lnTo>
                  <a:lnTo>
                    <a:pt x="4316" y="64"/>
                  </a:lnTo>
                  <a:lnTo>
                    <a:pt x="4301" y="50"/>
                  </a:lnTo>
                  <a:lnTo>
                    <a:pt x="4284" y="37"/>
                  </a:lnTo>
                  <a:lnTo>
                    <a:pt x="4265" y="26"/>
                  </a:lnTo>
                  <a:lnTo>
                    <a:pt x="4246" y="17"/>
                  </a:lnTo>
                  <a:lnTo>
                    <a:pt x="4226" y="10"/>
                  </a:lnTo>
                  <a:lnTo>
                    <a:pt x="4205" y="4"/>
                  </a:lnTo>
                  <a:lnTo>
                    <a:pt x="4184" y="1"/>
                  </a:lnTo>
                  <a:lnTo>
                    <a:pt x="4161" y="0"/>
                  </a:lnTo>
                  <a:close/>
                </a:path>
              </a:pathLst>
            </a:cu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6653" tIns="58327" rIns="116653" bIns="58327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56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8" name="Freeform 39"/>
            <p:cNvSpPr>
              <a:spLocks noEditPoints="1"/>
            </p:cNvSpPr>
            <p:nvPr/>
          </p:nvSpPr>
          <p:spPr bwMode="auto">
            <a:xfrm>
              <a:off x="2178" y="2273"/>
              <a:ext cx="1106" cy="294"/>
            </a:xfrm>
            <a:custGeom>
              <a:avLst/>
              <a:gdLst>
                <a:gd name="T0" fmla="*/ 4184 w 4425"/>
                <a:gd name="T1" fmla="*/ 0 h 1173"/>
                <a:gd name="T2" fmla="*/ 202 w 4425"/>
                <a:gd name="T3" fmla="*/ 48 h 1173"/>
                <a:gd name="T4" fmla="*/ 131 w 4425"/>
                <a:gd name="T5" fmla="*/ 78 h 1173"/>
                <a:gd name="T6" fmla="*/ 89 w 4425"/>
                <a:gd name="T7" fmla="*/ 55 h 1173"/>
                <a:gd name="T8" fmla="*/ 170 w 4425"/>
                <a:gd name="T9" fmla="*/ 10 h 1173"/>
                <a:gd name="T10" fmla="*/ 230 w 4425"/>
                <a:gd name="T11" fmla="*/ 0 h 1173"/>
                <a:gd name="T12" fmla="*/ 90 w 4425"/>
                <a:gd name="T13" fmla="*/ 116 h 1173"/>
                <a:gd name="T14" fmla="*/ 53 w 4425"/>
                <a:gd name="T15" fmla="*/ 183 h 1173"/>
                <a:gd name="T16" fmla="*/ 0 w 4425"/>
                <a:gd name="T17" fmla="*/ 241 h 1173"/>
                <a:gd name="T18" fmla="*/ 5 w 4425"/>
                <a:gd name="T19" fmla="*/ 193 h 1173"/>
                <a:gd name="T20" fmla="*/ 42 w 4425"/>
                <a:gd name="T21" fmla="*/ 106 h 1173"/>
                <a:gd name="T22" fmla="*/ 44 w 4425"/>
                <a:gd name="T23" fmla="*/ 241 h 1173"/>
                <a:gd name="T24" fmla="*/ 44 w 4425"/>
                <a:gd name="T25" fmla="*/ 241 h 1173"/>
                <a:gd name="T26" fmla="*/ 53 w 4425"/>
                <a:gd name="T27" fmla="*/ 990 h 1173"/>
                <a:gd name="T28" fmla="*/ 90 w 4425"/>
                <a:gd name="T29" fmla="*/ 1057 h 1173"/>
                <a:gd name="T30" fmla="*/ 42 w 4425"/>
                <a:gd name="T31" fmla="*/ 1067 h 1173"/>
                <a:gd name="T32" fmla="*/ 5 w 4425"/>
                <a:gd name="T33" fmla="*/ 980 h 1173"/>
                <a:gd name="T34" fmla="*/ 0 w 4425"/>
                <a:gd name="T35" fmla="*/ 932 h 1173"/>
                <a:gd name="T36" fmla="*/ 131 w 4425"/>
                <a:gd name="T37" fmla="*/ 1095 h 1173"/>
                <a:gd name="T38" fmla="*/ 202 w 4425"/>
                <a:gd name="T39" fmla="*/ 1124 h 1173"/>
                <a:gd name="T40" fmla="*/ 230 w 4425"/>
                <a:gd name="T41" fmla="*/ 1172 h 1173"/>
                <a:gd name="T42" fmla="*/ 170 w 4425"/>
                <a:gd name="T43" fmla="*/ 1161 h 1173"/>
                <a:gd name="T44" fmla="*/ 89 w 4425"/>
                <a:gd name="T45" fmla="*/ 1117 h 1173"/>
                <a:gd name="T46" fmla="*/ 4184 w 4425"/>
                <a:gd name="T47" fmla="*/ 1129 h 1173"/>
                <a:gd name="T48" fmla="*/ 4184 w 4425"/>
                <a:gd name="T49" fmla="*/ 1129 h 1173"/>
                <a:gd name="T50" fmla="*/ 4261 w 4425"/>
                <a:gd name="T51" fmla="*/ 1113 h 1173"/>
                <a:gd name="T52" fmla="*/ 4324 w 4425"/>
                <a:gd name="T53" fmla="*/ 1071 h 1173"/>
                <a:gd name="T54" fmla="*/ 4299 w 4425"/>
                <a:gd name="T55" fmla="*/ 1143 h 1173"/>
                <a:gd name="T56" fmla="*/ 4221 w 4425"/>
                <a:gd name="T57" fmla="*/ 1169 h 1173"/>
                <a:gd name="T58" fmla="*/ 4184 w 4425"/>
                <a:gd name="T59" fmla="*/ 1129 h 1173"/>
                <a:gd name="T60" fmla="*/ 4324 w 4425"/>
                <a:gd name="T61" fmla="*/ 1071 h 1173"/>
                <a:gd name="T62" fmla="*/ 4358 w 4425"/>
                <a:gd name="T63" fmla="*/ 1025 h 1173"/>
                <a:gd name="T64" fmla="*/ 4380 w 4425"/>
                <a:gd name="T65" fmla="*/ 952 h 1173"/>
                <a:gd name="T66" fmla="*/ 4424 w 4425"/>
                <a:gd name="T67" fmla="*/ 955 h 1173"/>
                <a:gd name="T68" fmla="*/ 4406 w 4425"/>
                <a:gd name="T69" fmla="*/ 1025 h 1173"/>
                <a:gd name="T70" fmla="*/ 4354 w 4425"/>
                <a:gd name="T71" fmla="*/ 1102 h 1173"/>
                <a:gd name="T72" fmla="*/ 4425 w 4425"/>
                <a:gd name="T73" fmla="*/ 241 h 1173"/>
                <a:gd name="T74" fmla="*/ 4380 w 4425"/>
                <a:gd name="T75" fmla="*/ 221 h 1173"/>
                <a:gd name="T76" fmla="*/ 4358 w 4425"/>
                <a:gd name="T77" fmla="*/ 148 h 1173"/>
                <a:gd name="T78" fmla="*/ 4354 w 4425"/>
                <a:gd name="T79" fmla="*/ 71 h 1173"/>
                <a:gd name="T80" fmla="*/ 4406 w 4425"/>
                <a:gd name="T81" fmla="*/ 148 h 1173"/>
                <a:gd name="T82" fmla="*/ 4424 w 4425"/>
                <a:gd name="T83" fmla="*/ 216 h 1173"/>
                <a:gd name="T84" fmla="*/ 4324 w 4425"/>
                <a:gd name="T85" fmla="*/ 102 h 1173"/>
                <a:gd name="T86" fmla="*/ 4324 w 4425"/>
                <a:gd name="T87" fmla="*/ 102 h 1173"/>
                <a:gd name="T88" fmla="*/ 4261 w 4425"/>
                <a:gd name="T89" fmla="*/ 59 h 1173"/>
                <a:gd name="T90" fmla="*/ 4184 w 4425"/>
                <a:gd name="T91" fmla="*/ 44 h 1173"/>
                <a:gd name="T92" fmla="*/ 4221 w 4425"/>
                <a:gd name="T93" fmla="*/ 2 h 1173"/>
                <a:gd name="T94" fmla="*/ 4299 w 4425"/>
                <a:gd name="T95" fmla="*/ 29 h 1173"/>
                <a:gd name="T96" fmla="*/ 4324 w 4425"/>
                <a:gd name="T97" fmla="*/ 102 h 11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4425" h="1173">
                  <a:moveTo>
                    <a:pt x="4184" y="44"/>
                  </a:moveTo>
                  <a:lnTo>
                    <a:pt x="241" y="44"/>
                  </a:lnTo>
                  <a:lnTo>
                    <a:pt x="241" y="0"/>
                  </a:lnTo>
                  <a:lnTo>
                    <a:pt x="4184" y="0"/>
                  </a:lnTo>
                  <a:lnTo>
                    <a:pt x="4184" y="44"/>
                  </a:lnTo>
                  <a:close/>
                  <a:moveTo>
                    <a:pt x="241" y="44"/>
                  </a:moveTo>
                  <a:lnTo>
                    <a:pt x="221" y="45"/>
                  </a:lnTo>
                  <a:lnTo>
                    <a:pt x="202" y="48"/>
                  </a:lnTo>
                  <a:lnTo>
                    <a:pt x="183" y="53"/>
                  </a:lnTo>
                  <a:lnTo>
                    <a:pt x="165" y="59"/>
                  </a:lnTo>
                  <a:lnTo>
                    <a:pt x="148" y="67"/>
                  </a:lnTo>
                  <a:lnTo>
                    <a:pt x="131" y="78"/>
                  </a:lnTo>
                  <a:lnTo>
                    <a:pt x="116" y="89"/>
                  </a:lnTo>
                  <a:lnTo>
                    <a:pt x="102" y="102"/>
                  </a:lnTo>
                  <a:lnTo>
                    <a:pt x="71" y="71"/>
                  </a:lnTo>
                  <a:lnTo>
                    <a:pt x="89" y="55"/>
                  </a:lnTo>
                  <a:lnTo>
                    <a:pt x="107" y="41"/>
                  </a:lnTo>
                  <a:lnTo>
                    <a:pt x="127" y="29"/>
                  </a:lnTo>
                  <a:lnTo>
                    <a:pt x="148" y="19"/>
                  </a:lnTo>
                  <a:lnTo>
                    <a:pt x="170" y="10"/>
                  </a:lnTo>
                  <a:lnTo>
                    <a:pt x="193" y="5"/>
                  </a:lnTo>
                  <a:lnTo>
                    <a:pt x="205" y="2"/>
                  </a:lnTo>
                  <a:lnTo>
                    <a:pt x="217" y="1"/>
                  </a:lnTo>
                  <a:lnTo>
                    <a:pt x="230" y="0"/>
                  </a:lnTo>
                  <a:lnTo>
                    <a:pt x="241" y="0"/>
                  </a:lnTo>
                  <a:lnTo>
                    <a:pt x="241" y="44"/>
                  </a:lnTo>
                  <a:close/>
                  <a:moveTo>
                    <a:pt x="102" y="102"/>
                  </a:moveTo>
                  <a:lnTo>
                    <a:pt x="90" y="116"/>
                  </a:lnTo>
                  <a:lnTo>
                    <a:pt x="78" y="131"/>
                  </a:lnTo>
                  <a:lnTo>
                    <a:pt x="69" y="148"/>
                  </a:lnTo>
                  <a:lnTo>
                    <a:pt x="61" y="164"/>
                  </a:lnTo>
                  <a:lnTo>
                    <a:pt x="53" y="183"/>
                  </a:lnTo>
                  <a:lnTo>
                    <a:pt x="49" y="202"/>
                  </a:lnTo>
                  <a:lnTo>
                    <a:pt x="45" y="221"/>
                  </a:lnTo>
                  <a:lnTo>
                    <a:pt x="44" y="241"/>
                  </a:lnTo>
                  <a:lnTo>
                    <a:pt x="0" y="241"/>
                  </a:lnTo>
                  <a:lnTo>
                    <a:pt x="1" y="229"/>
                  </a:lnTo>
                  <a:lnTo>
                    <a:pt x="1" y="216"/>
                  </a:lnTo>
                  <a:lnTo>
                    <a:pt x="4" y="204"/>
                  </a:lnTo>
                  <a:lnTo>
                    <a:pt x="5" y="193"/>
                  </a:lnTo>
                  <a:lnTo>
                    <a:pt x="11" y="170"/>
                  </a:lnTo>
                  <a:lnTo>
                    <a:pt x="19" y="148"/>
                  </a:lnTo>
                  <a:lnTo>
                    <a:pt x="30" y="126"/>
                  </a:lnTo>
                  <a:lnTo>
                    <a:pt x="42" y="106"/>
                  </a:lnTo>
                  <a:lnTo>
                    <a:pt x="56" y="89"/>
                  </a:lnTo>
                  <a:lnTo>
                    <a:pt x="71" y="71"/>
                  </a:lnTo>
                  <a:lnTo>
                    <a:pt x="102" y="102"/>
                  </a:lnTo>
                  <a:close/>
                  <a:moveTo>
                    <a:pt x="44" y="241"/>
                  </a:moveTo>
                  <a:lnTo>
                    <a:pt x="44" y="932"/>
                  </a:lnTo>
                  <a:lnTo>
                    <a:pt x="0" y="932"/>
                  </a:lnTo>
                  <a:lnTo>
                    <a:pt x="0" y="241"/>
                  </a:lnTo>
                  <a:lnTo>
                    <a:pt x="44" y="241"/>
                  </a:lnTo>
                  <a:close/>
                  <a:moveTo>
                    <a:pt x="44" y="932"/>
                  </a:moveTo>
                  <a:lnTo>
                    <a:pt x="45" y="952"/>
                  </a:lnTo>
                  <a:lnTo>
                    <a:pt x="49" y="971"/>
                  </a:lnTo>
                  <a:lnTo>
                    <a:pt x="53" y="990"/>
                  </a:lnTo>
                  <a:lnTo>
                    <a:pt x="61" y="1007"/>
                  </a:lnTo>
                  <a:lnTo>
                    <a:pt x="69" y="1025"/>
                  </a:lnTo>
                  <a:lnTo>
                    <a:pt x="78" y="1042"/>
                  </a:lnTo>
                  <a:lnTo>
                    <a:pt x="90" y="1057"/>
                  </a:lnTo>
                  <a:lnTo>
                    <a:pt x="102" y="1071"/>
                  </a:lnTo>
                  <a:lnTo>
                    <a:pt x="71" y="1102"/>
                  </a:lnTo>
                  <a:lnTo>
                    <a:pt x="56" y="1084"/>
                  </a:lnTo>
                  <a:lnTo>
                    <a:pt x="42" y="1067"/>
                  </a:lnTo>
                  <a:lnTo>
                    <a:pt x="30" y="1046"/>
                  </a:lnTo>
                  <a:lnTo>
                    <a:pt x="19" y="1025"/>
                  </a:lnTo>
                  <a:lnTo>
                    <a:pt x="11" y="1003"/>
                  </a:lnTo>
                  <a:lnTo>
                    <a:pt x="5" y="980"/>
                  </a:lnTo>
                  <a:lnTo>
                    <a:pt x="4" y="968"/>
                  </a:lnTo>
                  <a:lnTo>
                    <a:pt x="1" y="955"/>
                  </a:lnTo>
                  <a:lnTo>
                    <a:pt x="1" y="944"/>
                  </a:lnTo>
                  <a:lnTo>
                    <a:pt x="0" y="932"/>
                  </a:lnTo>
                  <a:lnTo>
                    <a:pt x="44" y="932"/>
                  </a:lnTo>
                  <a:close/>
                  <a:moveTo>
                    <a:pt x="102" y="1071"/>
                  </a:moveTo>
                  <a:lnTo>
                    <a:pt x="116" y="1083"/>
                  </a:lnTo>
                  <a:lnTo>
                    <a:pt x="131" y="1095"/>
                  </a:lnTo>
                  <a:lnTo>
                    <a:pt x="148" y="1104"/>
                  </a:lnTo>
                  <a:lnTo>
                    <a:pt x="165" y="1113"/>
                  </a:lnTo>
                  <a:lnTo>
                    <a:pt x="183" y="1120"/>
                  </a:lnTo>
                  <a:lnTo>
                    <a:pt x="202" y="1124"/>
                  </a:lnTo>
                  <a:lnTo>
                    <a:pt x="221" y="1128"/>
                  </a:lnTo>
                  <a:lnTo>
                    <a:pt x="241" y="1129"/>
                  </a:lnTo>
                  <a:lnTo>
                    <a:pt x="241" y="1173"/>
                  </a:lnTo>
                  <a:lnTo>
                    <a:pt x="230" y="1172"/>
                  </a:lnTo>
                  <a:lnTo>
                    <a:pt x="217" y="1172"/>
                  </a:lnTo>
                  <a:lnTo>
                    <a:pt x="205" y="1169"/>
                  </a:lnTo>
                  <a:lnTo>
                    <a:pt x="193" y="1167"/>
                  </a:lnTo>
                  <a:lnTo>
                    <a:pt x="170" y="1161"/>
                  </a:lnTo>
                  <a:lnTo>
                    <a:pt x="148" y="1154"/>
                  </a:lnTo>
                  <a:lnTo>
                    <a:pt x="127" y="1143"/>
                  </a:lnTo>
                  <a:lnTo>
                    <a:pt x="107" y="1132"/>
                  </a:lnTo>
                  <a:lnTo>
                    <a:pt x="89" y="1117"/>
                  </a:lnTo>
                  <a:lnTo>
                    <a:pt x="71" y="1102"/>
                  </a:lnTo>
                  <a:lnTo>
                    <a:pt x="102" y="1071"/>
                  </a:lnTo>
                  <a:close/>
                  <a:moveTo>
                    <a:pt x="241" y="1129"/>
                  </a:moveTo>
                  <a:lnTo>
                    <a:pt x="4184" y="1129"/>
                  </a:lnTo>
                  <a:lnTo>
                    <a:pt x="4184" y="1173"/>
                  </a:lnTo>
                  <a:lnTo>
                    <a:pt x="241" y="1173"/>
                  </a:lnTo>
                  <a:lnTo>
                    <a:pt x="241" y="1129"/>
                  </a:lnTo>
                  <a:close/>
                  <a:moveTo>
                    <a:pt x="4184" y="1129"/>
                  </a:moveTo>
                  <a:lnTo>
                    <a:pt x="4204" y="1128"/>
                  </a:lnTo>
                  <a:lnTo>
                    <a:pt x="4224" y="1124"/>
                  </a:lnTo>
                  <a:lnTo>
                    <a:pt x="4243" y="1120"/>
                  </a:lnTo>
                  <a:lnTo>
                    <a:pt x="4261" y="1113"/>
                  </a:lnTo>
                  <a:lnTo>
                    <a:pt x="4279" y="1104"/>
                  </a:lnTo>
                  <a:lnTo>
                    <a:pt x="4294" y="1095"/>
                  </a:lnTo>
                  <a:lnTo>
                    <a:pt x="4310" y="1083"/>
                  </a:lnTo>
                  <a:lnTo>
                    <a:pt x="4324" y="1071"/>
                  </a:lnTo>
                  <a:lnTo>
                    <a:pt x="4354" y="1102"/>
                  </a:lnTo>
                  <a:lnTo>
                    <a:pt x="4338" y="1117"/>
                  </a:lnTo>
                  <a:lnTo>
                    <a:pt x="4319" y="1132"/>
                  </a:lnTo>
                  <a:lnTo>
                    <a:pt x="4299" y="1143"/>
                  </a:lnTo>
                  <a:lnTo>
                    <a:pt x="4278" y="1154"/>
                  </a:lnTo>
                  <a:lnTo>
                    <a:pt x="4256" y="1161"/>
                  </a:lnTo>
                  <a:lnTo>
                    <a:pt x="4233" y="1167"/>
                  </a:lnTo>
                  <a:lnTo>
                    <a:pt x="4221" y="1169"/>
                  </a:lnTo>
                  <a:lnTo>
                    <a:pt x="4209" y="1172"/>
                  </a:lnTo>
                  <a:lnTo>
                    <a:pt x="4197" y="1172"/>
                  </a:lnTo>
                  <a:lnTo>
                    <a:pt x="4184" y="1173"/>
                  </a:lnTo>
                  <a:lnTo>
                    <a:pt x="4184" y="1129"/>
                  </a:lnTo>
                  <a:close/>
                  <a:moveTo>
                    <a:pt x="4324" y="1071"/>
                  </a:moveTo>
                  <a:lnTo>
                    <a:pt x="4324" y="1071"/>
                  </a:lnTo>
                  <a:lnTo>
                    <a:pt x="4339" y="1087"/>
                  </a:lnTo>
                  <a:lnTo>
                    <a:pt x="4324" y="1071"/>
                  </a:lnTo>
                  <a:close/>
                  <a:moveTo>
                    <a:pt x="4324" y="1071"/>
                  </a:moveTo>
                  <a:lnTo>
                    <a:pt x="4337" y="1057"/>
                  </a:lnTo>
                  <a:lnTo>
                    <a:pt x="4349" y="1042"/>
                  </a:lnTo>
                  <a:lnTo>
                    <a:pt x="4358" y="1025"/>
                  </a:lnTo>
                  <a:lnTo>
                    <a:pt x="4366" y="1009"/>
                  </a:lnTo>
                  <a:lnTo>
                    <a:pt x="4373" y="990"/>
                  </a:lnTo>
                  <a:lnTo>
                    <a:pt x="4378" y="971"/>
                  </a:lnTo>
                  <a:lnTo>
                    <a:pt x="4380" y="952"/>
                  </a:lnTo>
                  <a:lnTo>
                    <a:pt x="4382" y="932"/>
                  </a:lnTo>
                  <a:lnTo>
                    <a:pt x="4425" y="932"/>
                  </a:lnTo>
                  <a:lnTo>
                    <a:pt x="4425" y="944"/>
                  </a:lnTo>
                  <a:lnTo>
                    <a:pt x="4424" y="955"/>
                  </a:lnTo>
                  <a:lnTo>
                    <a:pt x="4423" y="968"/>
                  </a:lnTo>
                  <a:lnTo>
                    <a:pt x="4421" y="980"/>
                  </a:lnTo>
                  <a:lnTo>
                    <a:pt x="4415" y="1003"/>
                  </a:lnTo>
                  <a:lnTo>
                    <a:pt x="4406" y="1025"/>
                  </a:lnTo>
                  <a:lnTo>
                    <a:pt x="4396" y="1046"/>
                  </a:lnTo>
                  <a:lnTo>
                    <a:pt x="4384" y="1067"/>
                  </a:lnTo>
                  <a:lnTo>
                    <a:pt x="4370" y="1084"/>
                  </a:lnTo>
                  <a:lnTo>
                    <a:pt x="4354" y="1102"/>
                  </a:lnTo>
                  <a:lnTo>
                    <a:pt x="4324" y="1071"/>
                  </a:lnTo>
                  <a:close/>
                  <a:moveTo>
                    <a:pt x="4382" y="932"/>
                  </a:moveTo>
                  <a:lnTo>
                    <a:pt x="4382" y="241"/>
                  </a:lnTo>
                  <a:lnTo>
                    <a:pt x="4425" y="241"/>
                  </a:lnTo>
                  <a:lnTo>
                    <a:pt x="4425" y="932"/>
                  </a:lnTo>
                  <a:lnTo>
                    <a:pt x="4382" y="932"/>
                  </a:lnTo>
                  <a:close/>
                  <a:moveTo>
                    <a:pt x="4382" y="241"/>
                  </a:moveTo>
                  <a:lnTo>
                    <a:pt x="4380" y="221"/>
                  </a:lnTo>
                  <a:lnTo>
                    <a:pt x="4378" y="202"/>
                  </a:lnTo>
                  <a:lnTo>
                    <a:pt x="4373" y="183"/>
                  </a:lnTo>
                  <a:lnTo>
                    <a:pt x="4366" y="164"/>
                  </a:lnTo>
                  <a:lnTo>
                    <a:pt x="4358" y="148"/>
                  </a:lnTo>
                  <a:lnTo>
                    <a:pt x="4349" y="131"/>
                  </a:lnTo>
                  <a:lnTo>
                    <a:pt x="4337" y="116"/>
                  </a:lnTo>
                  <a:lnTo>
                    <a:pt x="4324" y="102"/>
                  </a:lnTo>
                  <a:lnTo>
                    <a:pt x="4354" y="71"/>
                  </a:lnTo>
                  <a:lnTo>
                    <a:pt x="4370" y="89"/>
                  </a:lnTo>
                  <a:lnTo>
                    <a:pt x="4384" y="106"/>
                  </a:lnTo>
                  <a:lnTo>
                    <a:pt x="4396" y="126"/>
                  </a:lnTo>
                  <a:lnTo>
                    <a:pt x="4406" y="148"/>
                  </a:lnTo>
                  <a:lnTo>
                    <a:pt x="4415" y="170"/>
                  </a:lnTo>
                  <a:lnTo>
                    <a:pt x="4421" y="193"/>
                  </a:lnTo>
                  <a:lnTo>
                    <a:pt x="4423" y="204"/>
                  </a:lnTo>
                  <a:lnTo>
                    <a:pt x="4424" y="216"/>
                  </a:lnTo>
                  <a:lnTo>
                    <a:pt x="4425" y="229"/>
                  </a:lnTo>
                  <a:lnTo>
                    <a:pt x="4425" y="241"/>
                  </a:lnTo>
                  <a:lnTo>
                    <a:pt x="4382" y="241"/>
                  </a:lnTo>
                  <a:close/>
                  <a:moveTo>
                    <a:pt x="4324" y="102"/>
                  </a:moveTo>
                  <a:lnTo>
                    <a:pt x="4324" y="102"/>
                  </a:lnTo>
                  <a:lnTo>
                    <a:pt x="4339" y="86"/>
                  </a:lnTo>
                  <a:lnTo>
                    <a:pt x="4324" y="102"/>
                  </a:lnTo>
                  <a:close/>
                  <a:moveTo>
                    <a:pt x="4324" y="102"/>
                  </a:moveTo>
                  <a:lnTo>
                    <a:pt x="4310" y="89"/>
                  </a:lnTo>
                  <a:lnTo>
                    <a:pt x="4294" y="78"/>
                  </a:lnTo>
                  <a:lnTo>
                    <a:pt x="4279" y="67"/>
                  </a:lnTo>
                  <a:lnTo>
                    <a:pt x="4261" y="59"/>
                  </a:lnTo>
                  <a:lnTo>
                    <a:pt x="4243" y="53"/>
                  </a:lnTo>
                  <a:lnTo>
                    <a:pt x="4224" y="48"/>
                  </a:lnTo>
                  <a:lnTo>
                    <a:pt x="4204" y="45"/>
                  </a:lnTo>
                  <a:lnTo>
                    <a:pt x="4184" y="44"/>
                  </a:lnTo>
                  <a:lnTo>
                    <a:pt x="4184" y="0"/>
                  </a:lnTo>
                  <a:lnTo>
                    <a:pt x="4197" y="0"/>
                  </a:lnTo>
                  <a:lnTo>
                    <a:pt x="4209" y="1"/>
                  </a:lnTo>
                  <a:lnTo>
                    <a:pt x="4221" y="2"/>
                  </a:lnTo>
                  <a:lnTo>
                    <a:pt x="4233" y="5"/>
                  </a:lnTo>
                  <a:lnTo>
                    <a:pt x="4256" y="10"/>
                  </a:lnTo>
                  <a:lnTo>
                    <a:pt x="4278" y="19"/>
                  </a:lnTo>
                  <a:lnTo>
                    <a:pt x="4299" y="29"/>
                  </a:lnTo>
                  <a:lnTo>
                    <a:pt x="4319" y="41"/>
                  </a:lnTo>
                  <a:lnTo>
                    <a:pt x="4338" y="55"/>
                  </a:lnTo>
                  <a:lnTo>
                    <a:pt x="4354" y="71"/>
                  </a:lnTo>
                  <a:lnTo>
                    <a:pt x="4324" y="102"/>
                  </a:lnTo>
                  <a:close/>
                </a:path>
              </a:pathLst>
            </a:custGeom>
            <a:solidFill>
              <a:srgbClr val="8675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6653" tIns="58327" rIns="116653" bIns="58327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56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9" name="Freeform 40"/>
            <p:cNvSpPr>
              <a:spLocks/>
            </p:cNvSpPr>
            <p:nvPr/>
          </p:nvSpPr>
          <p:spPr bwMode="auto">
            <a:xfrm>
              <a:off x="1212" y="1181"/>
              <a:ext cx="1066" cy="253"/>
            </a:xfrm>
            <a:custGeom>
              <a:avLst/>
              <a:gdLst>
                <a:gd name="T0" fmla="*/ 4047 w 4264"/>
                <a:gd name="T1" fmla="*/ 0 h 1011"/>
                <a:gd name="T2" fmla="*/ 4090 w 4264"/>
                <a:gd name="T3" fmla="*/ 4 h 1011"/>
                <a:gd name="T4" fmla="*/ 4132 w 4264"/>
                <a:gd name="T5" fmla="*/ 17 h 1011"/>
                <a:gd name="T6" fmla="*/ 4168 w 4264"/>
                <a:gd name="T7" fmla="*/ 37 h 1011"/>
                <a:gd name="T8" fmla="*/ 4200 w 4264"/>
                <a:gd name="T9" fmla="*/ 64 h 1011"/>
                <a:gd name="T10" fmla="*/ 4228 w 4264"/>
                <a:gd name="T11" fmla="*/ 96 h 1011"/>
                <a:gd name="T12" fmla="*/ 4248 w 4264"/>
                <a:gd name="T13" fmla="*/ 133 h 1011"/>
                <a:gd name="T14" fmla="*/ 4261 w 4264"/>
                <a:gd name="T15" fmla="*/ 174 h 1011"/>
                <a:gd name="T16" fmla="*/ 4264 w 4264"/>
                <a:gd name="T17" fmla="*/ 218 h 1011"/>
                <a:gd name="T18" fmla="*/ 4263 w 4264"/>
                <a:gd name="T19" fmla="*/ 816 h 1011"/>
                <a:gd name="T20" fmla="*/ 4255 w 4264"/>
                <a:gd name="T21" fmla="*/ 859 h 1011"/>
                <a:gd name="T22" fmla="*/ 4238 w 4264"/>
                <a:gd name="T23" fmla="*/ 898 h 1011"/>
                <a:gd name="T24" fmla="*/ 4215 w 4264"/>
                <a:gd name="T25" fmla="*/ 932 h 1011"/>
                <a:gd name="T26" fmla="*/ 4185 w 4264"/>
                <a:gd name="T27" fmla="*/ 962 h 1011"/>
                <a:gd name="T28" fmla="*/ 4151 w 4264"/>
                <a:gd name="T29" fmla="*/ 985 h 1011"/>
                <a:gd name="T30" fmla="*/ 4112 w 4264"/>
                <a:gd name="T31" fmla="*/ 1002 h 1011"/>
                <a:gd name="T32" fmla="*/ 4069 w 4264"/>
                <a:gd name="T33" fmla="*/ 1010 h 1011"/>
                <a:gd name="T34" fmla="*/ 219 w 4264"/>
                <a:gd name="T35" fmla="*/ 1011 h 1011"/>
                <a:gd name="T36" fmla="*/ 174 w 4264"/>
                <a:gd name="T37" fmla="*/ 1006 h 1011"/>
                <a:gd name="T38" fmla="*/ 133 w 4264"/>
                <a:gd name="T39" fmla="*/ 995 h 1011"/>
                <a:gd name="T40" fmla="*/ 97 w 4264"/>
                <a:gd name="T41" fmla="*/ 975 h 1011"/>
                <a:gd name="T42" fmla="*/ 64 w 4264"/>
                <a:gd name="T43" fmla="*/ 947 h 1011"/>
                <a:gd name="T44" fmla="*/ 38 w 4264"/>
                <a:gd name="T45" fmla="*/ 915 h 1011"/>
                <a:gd name="T46" fmla="*/ 18 w 4264"/>
                <a:gd name="T47" fmla="*/ 878 h 1011"/>
                <a:gd name="T48" fmla="*/ 5 w 4264"/>
                <a:gd name="T49" fmla="*/ 837 h 1011"/>
                <a:gd name="T50" fmla="*/ 0 w 4264"/>
                <a:gd name="T51" fmla="*/ 794 h 1011"/>
                <a:gd name="T52" fmla="*/ 1 w 4264"/>
                <a:gd name="T53" fmla="*/ 195 h 1011"/>
                <a:gd name="T54" fmla="*/ 10 w 4264"/>
                <a:gd name="T55" fmla="*/ 153 h 1011"/>
                <a:gd name="T56" fmla="*/ 27 w 4264"/>
                <a:gd name="T57" fmla="*/ 114 h 1011"/>
                <a:gd name="T58" fmla="*/ 49 w 4264"/>
                <a:gd name="T59" fmla="*/ 79 h 1011"/>
                <a:gd name="T60" fmla="*/ 79 w 4264"/>
                <a:gd name="T61" fmla="*/ 50 h 1011"/>
                <a:gd name="T62" fmla="*/ 115 w 4264"/>
                <a:gd name="T63" fmla="*/ 26 h 1011"/>
                <a:gd name="T64" fmla="*/ 154 w 4264"/>
                <a:gd name="T65" fmla="*/ 10 h 1011"/>
                <a:gd name="T66" fmla="*/ 196 w 4264"/>
                <a:gd name="T67" fmla="*/ 0 h 10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4264" h="1011">
                  <a:moveTo>
                    <a:pt x="219" y="0"/>
                  </a:moveTo>
                  <a:lnTo>
                    <a:pt x="4047" y="0"/>
                  </a:lnTo>
                  <a:lnTo>
                    <a:pt x="4069" y="0"/>
                  </a:lnTo>
                  <a:lnTo>
                    <a:pt x="4090" y="4"/>
                  </a:lnTo>
                  <a:lnTo>
                    <a:pt x="4112" y="10"/>
                  </a:lnTo>
                  <a:lnTo>
                    <a:pt x="4132" y="17"/>
                  </a:lnTo>
                  <a:lnTo>
                    <a:pt x="4151" y="26"/>
                  </a:lnTo>
                  <a:lnTo>
                    <a:pt x="4168" y="37"/>
                  </a:lnTo>
                  <a:lnTo>
                    <a:pt x="4185" y="50"/>
                  </a:lnTo>
                  <a:lnTo>
                    <a:pt x="4200" y="64"/>
                  </a:lnTo>
                  <a:lnTo>
                    <a:pt x="4215" y="79"/>
                  </a:lnTo>
                  <a:lnTo>
                    <a:pt x="4228" y="96"/>
                  </a:lnTo>
                  <a:lnTo>
                    <a:pt x="4238" y="114"/>
                  </a:lnTo>
                  <a:lnTo>
                    <a:pt x="4248" y="133"/>
                  </a:lnTo>
                  <a:lnTo>
                    <a:pt x="4255" y="153"/>
                  </a:lnTo>
                  <a:lnTo>
                    <a:pt x="4261" y="174"/>
                  </a:lnTo>
                  <a:lnTo>
                    <a:pt x="4263" y="195"/>
                  </a:lnTo>
                  <a:lnTo>
                    <a:pt x="4264" y="218"/>
                  </a:lnTo>
                  <a:lnTo>
                    <a:pt x="4264" y="794"/>
                  </a:lnTo>
                  <a:lnTo>
                    <a:pt x="4263" y="816"/>
                  </a:lnTo>
                  <a:lnTo>
                    <a:pt x="4261" y="837"/>
                  </a:lnTo>
                  <a:lnTo>
                    <a:pt x="4255" y="859"/>
                  </a:lnTo>
                  <a:lnTo>
                    <a:pt x="4248" y="878"/>
                  </a:lnTo>
                  <a:lnTo>
                    <a:pt x="4238" y="898"/>
                  </a:lnTo>
                  <a:lnTo>
                    <a:pt x="4228" y="915"/>
                  </a:lnTo>
                  <a:lnTo>
                    <a:pt x="4215" y="932"/>
                  </a:lnTo>
                  <a:lnTo>
                    <a:pt x="4200" y="947"/>
                  </a:lnTo>
                  <a:lnTo>
                    <a:pt x="4185" y="962"/>
                  </a:lnTo>
                  <a:lnTo>
                    <a:pt x="4168" y="975"/>
                  </a:lnTo>
                  <a:lnTo>
                    <a:pt x="4151" y="985"/>
                  </a:lnTo>
                  <a:lnTo>
                    <a:pt x="4132" y="995"/>
                  </a:lnTo>
                  <a:lnTo>
                    <a:pt x="4112" y="1002"/>
                  </a:lnTo>
                  <a:lnTo>
                    <a:pt x="4090" y="1006"/>
                  </a:lnTo>
                  <a:lnTo>
                    <a:pt x="4069" y="1010"/>
                  </a:lnTo>
                  <a:lnTo>
                    <a:pt x="4047" y="1011"/>
                  </a:lnTo>
                  <a:lnTo>
                    <a:pt x="219" y="1011"/>
                  </a:lnTo>
                  <a:lnTo>
                    <a:pt x="196" y="1010"/>
                  </a:lnTo>
                  <a:lnTo>
                    <a:pt x="174" y="1006"/>
                  </a:lnTo>
                  <a:lnTo>
                    <a:pt x="154" y="1002"/>
                  </a:lnTo>
                  <a:lnTo>
                    <a:pt x="133" y="995"/>
                  </a:lnTo>
                  <a:lnTo>
                    <a:pt x="115" y="985"/>
                  </a:lnTo>
                  <a:lnTo>
                    <a:pt x="97" y="975"/>
                  </a:lnTo>
                  <a:lnTo>
                    <a:pt x="79" y="962"/>
                  </a:lnTo>
                  <a:lnTo>
                    <a:pt x="64" y="947"/>
                  </a:lnTo>
                  <a:lnTo>
                    <a:pt x="49" y="932"/>
                  </a:lnTo>
                  <a:lnTo>
                    <a:pt x="38" y="915"/>
                  </a:lnTo>
                  <a:lnTo>
                    <a:pt x="27" y="898"/>
                  </a:lnTo>
                  <a:lnTo>
                    <a:pt x="18" y="878"/>
                  </a:lnTo>
                  <a:lnTo>
                    <a:pt x="10" y="859"/>
                  </a:lnTo>
                  <a:lnTo>
                    <a:pt x="5" y="837"/>
                  </a:lnTo>
                  <a:lnTo>
                    <a:pt x="1" y="816"/>
                  </a:lnTo>
                  <a:lnTo>
                    <a:pt x="0" y="794"/>
                  </a:lnTo>
                  <a:lnTo>
                    <a:pt x="0" y="218"/>
                  </a:lnTo>
                  <a:lnTo>
                    <a:pt x="1" y="195"/>
                  </a:lnTo>
                  <a:lnTo>
                    <a:pt x="5" y="174"/>
                  </a:lnTo>
                  <a:lnTo>
                    <a:pt x="10" y="153"/>
                  </a:lnTo>
                  <a:lnTo>
                    <a:pt x="18" y="133"/>
                  </a:lnTo>
                  <a:lnTo>
                    <a:pt x="27" y="114"/>
                  </a:lnTo>
                  <a:lnTo>
                    <a:pt x="38" y="96"/>
                  </a:lnTo>
                  <a:lnTo>
                    <a:pt x="49" y="79"/>
                  </a:lnTo>
                  <a:lnTo>
                    <a:pt x="64" y="64"/>
                  </a:lnTo>
                  <a:lnTo>
                    <a:pt x="79" y="50"/>
                  </a:lnTo>
                  <a:lnTo>
                    <a:pt x="97" y="37"/>
                  </a:lnTo>
                  <a:lnTo>
                    <a:pt x="115" y="26"/>
                  </a:lnTo>
                  <a:lnTo>
                    <a:pt x="133" y="17"/>
                  </a:lnTo>
                  <a:lnTo>
                    <a:pt x="154" y="10"/>
                  </a:lnTo>
                  <a:lnTo>
                    <a:pt x="174" y="4"/>
                  </a:lnTo>
                  <a:lnTo>
                    <a:pt x="196" y="0"/>
                  </a:lnTo>
                  <a:lnTo>
                    <a:pt x="219" y="0"/>
                  </a:lnTo>
                  <a:close/>
                </a:path>
              </a:pathLst>
            </a:custGeom>
            <a:solidFill>
              <a:srgbClr val="CC6F3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6653" tIns="58327" rIns="116653" bIns="58327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56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0" name="Freeform 41"/>
            <p:cNvSpPr>
              <a:spLocks/>
            </p:cNvSpPr>
            <p:nvPr/>
          </p:nvSpPr>
          <p:spPr bwMode="auto">
            <a:xfrm>
              <a:off x="3209" y="1195"/>
              <a:ext cx="1066" cy="253"/>
            </a:xfrm>
            <a:custGeom>
              <a:avLst/>
              <a:gdLst>
                <a:gd name="T0" fmla="*/ 219 w 4265"/>
                <a:gd name="T1" fmla="*/ 1012 h 1012"/>
                <a:gd name="T2" fmla="*/ 175 w 4265"/>
                <a:gd name="T3" fmla="*/ 1007 h 1012"/>
                <a:gd name="T4" fmla="*/ 134 w 4265"/>
                <a:gd name="T5" fmla="*/ 994 h 1012"/>
                <a:gd name="T6" fmla="*/ 97 w 4265"/>
                <a:gd name="T7" fmla="*/ 974 h 1012"/>
                <a:gd name="T8" fmla="*/ 64 w 4265"/>
                <a:gd name="T9" fmla="*/ 948 h 1012"/>
                <a:gd name="T10" fmla="*/ 38 w 4265"/>
                <a:gd name="T11" fmla="*/ 915 h 1012"/>
                <a:gd name="T12" fmla="*/ 18 w 4265"/>
                <a:gd name="T13" fmla="*/ 879 h 1012"/>
                <a:gd name="T14" fmla="*/ 5 w 4265"/>
                <a:gd name="T15" fmla="*/ 837 h 1012"/>
                <a:gd name="T16" fmla="*/ 0 w 4265"/>
                <a:gd name="T17" fmla="*/ 793 h 1012"/>
                <a:gd name="T18" fmla="*/ 2 w 4265"/>
                <a:gd name="T19" fmla="*/ 196 h 1012"/>
                <a:gd name="T20" fmla="*/ 11 w 4265"/>
                <a:gd name="T21" fmla="*/ 154 h 1012"/>
                <a:gd name="T22" fmla="*/ 28 w 4265"/>
                <a:gd name="T23" fmla="*/ 115 h 1012"/>
                <a:gd name="T24" fmla="*/ 50 w 4265"/>
                <a:gd name="T25" fmla="*/ 79 h 1012"/>
                <a:gd name="T26" fmla="*/ 80 w 4265"/>
                <a:gd name="T27" fmla="*/ 50 h 1012"/>
                <a:gd name="T28" fmla="*/ 115 w 4265"/>
                <a:gd name="T29" fmla="*/ 26 h 1012"/>
                <a:gd name="T30" fmla="*/ 154 w 4265"/>
                <a:gd name="T31" fmla="*/ 9 h 1012"/>
                <a:gd name="T32" fmla="*/ 197 w 4265"/>
                <a:gd name="T33" fmla="*/ 1 h 1012"/>
                <a:gd name="T34" fmla="*/ 4047 w 4265"/>
                <a:gd name="T35" fmla="*/ 0 h 1012"/>
                <a:gd name="T36" fmla="*/ 4091 w 4265"/>
                <a:gd name="T37" fmla="*/ 5 h 1012"/>
                <a:gd name="T38" fmla="*/ 4132 w 4265"/>
                <a:gd name="T39" fmla="*/ 18 h 1012"/>
                <a:gd name="T40" fmla="*/ 4169 w 4265"/>
                <a:gd name="T41" fmla="*/ 38 h 1012"/>
                <a:gd name="T42" fmla="*/ 4201 w 4265"/>
                <a:gd name="T43" fmla="*/ 64 h 1012"/>
                <a:gd name="T44" fmla="*/ 4228 w 4265"/>
                <a:gd name="T45" fmla="*/ 96 h 1012"/>
                <a:gd name="T46" fmla="*/ 4248 w 4265"/>
                <a:gd name="T47" fmla="*/ 134 h 1012"/>
                <a:gd name="T48" fmla="*/ 4261 w 4265"/>
                <a:gd name="T49" fmla="*/ 174 h 1012"/>
                <a:gd name="T50" fmla="*/ 4265 w 4265"/>
                <a:gd name="T51" fmla="*/ 218 h 1012"/>
                <a:gd name="T52" fmla="*/ 4264 w 4265"/>
                <a:gd name="T53" fmla="*/ 816 h 1012"/>
                <a:gd name="T54" fmla="*/ 4255 w 4265"/>
                <a:gd name="T55" fmla="*/ 858 h 1012"/>
                <a:gd name="T56" fmla="*/ 4239 w 4265"/>
                <a:gd name="T57" fmla="*/ 897 h 1012"/>
                <a:gd name="T58" fmla="*/ 4215 w 4265"/>
                <a:gd name="T59" fmla="*/ 933 h 1012"/>
                <a:gd name="T60" fmla="*/ 4186 w 4265"/>
                <a:gd name="T61" fmla="*/ 963 h 1012"/>
                <a:gd name="T62" fmla="*/ 4151 w 4265"/>
                <a:gd name="T63" fmla="*/ 985 h 1012"/>
                <a:gd name="T64" fmla="*/ 4112 w 4265"/>
                <a:gd name="T65" fmla="*/ 1002 h 1012"/>
                <a:gd name="T66" fmla="*/ 4070 w 4265"/>
                <a:gd name="T67" fmla="*/ 1011 h 10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4265" h="1012">
                  <a:moveTo>
                    <a:pt x="4047" y="1012"/>
                  </a:moveTo>
                  <a:lnTo>
                    <a:pt x="219" y="1012"/>
                  </a:lnTo>
                  <a:lnTo>
                    <a:pt x="197" y="1011"/>
                  </a:lnTo>
                  <a:lnTo>
                    <a:pt x="175" y="1007"/>
                  </a:lnTo>
                  <a:lnTo>
                    <a:pt x="154" y="1002"/>
                  </a:lnTo>
                  <a:lnTo>
                    <a:pt x="134" y="994"/>
                  </a:lnTo>
                  <a:lnTo>
                    <a:pt x="115" y="985"/>
                  </a:lnTo>
                  <a:lnTo>
                    <a:pt x="97" y="974"/>
                  </a:lnTo>
                  <a:lnTo>
                    <a:pt x="80" y="963"/>
                  </a:lnTo>
                  <a:lnTo>
                    <a:pt x="64" y="948"/>
                  </a:lnTo>
                  <a:lnTo>
                    <a:pt x="50" y="933"/>
                  </a:lnTo>
                  <a:lnTo>
                    <a:pt x="38" y="915"/>
                  </a:lnTo>
                  <a:lnTo>
                    <a:pt x="28" y="897"/>
                  </a:lnTo>
                  <a:lnTo>
                    <a:pt x="18" y="879"/>
                  </a:lnTo>
                  <a:lnTo>
                    <a:pt x="11" y="858"/>
                  </a:lnTo>
                  <a:lnTo>
                    <a:pt x="5" y="837"/>
                  </a:lnTo>
                  <a:lnTo>
                    <a:pt x="2" y="816"/>
                  </a:lnTo>
                  <a:lnTo>
                    <a:pt x="0" y="793"/>
                  </a:lnTo>
                  <a:lnTo>
                    <a:pt x="0" y="218"/>
                  </a:lnTo>
                  <a:lnTo>
                    <a:pt x="2" y="196"/>
                  </a:lnTo>
                  <a:lnTo>
                    <a:pt x="5" y="174"/>
                  </a:lnTo>
                  <a:lnTo>
                    <a:pt x="11" y="154"/>
                  </a:lnTo>
                  <a:lnTo>
                    <a:pt x="18" y="134"/>
                  </a:lnTo>
                  <a:lnTo>
                    <a:pt x="28" y="115"/>
                  </a:lnTo>
                  <a:lnTo>
                    <a:pt x="38" y="96"/>
                  </a:lnTo>
                  <a:lnTo>
                    <a:pt x="50" y="79"/>
                  </a:lnTo>
                  <a:lnTo>
                    <a:pt x="64" y="64"/>
                  </a:lnTo>
                  <a:lnTo>
                    <a:pt x="80" y="50"/>
                  </a:lnTo>
                  <a:lnTo>
                    <a:pt x="97" y="38"/>
                  </a:lnTo>
                  <a:lnTo>
                    <a:pt x="115" y="26"/>
                  </a:lnTo>
                  <a:lnTo>
                    <a:pt x="134" y="18"/>
                  </a:lnTo>
                  <a:lnTo>
                    <a:pt x="154" y="9"/>
                  </a:lnTo>
                  <a:lnTo>
                    <a:pt x="175" y="5"/>
                  </a:lnTo>
                  <a:lnTo>
                    <a:pt x="197" y="1"/>
                  </a:lnTo>
                  <a:lnTo>
                    <a:pt x="219" y="0"/>
                  </a:lnTo>
                  <a:lnTo>
                    <a:pt x="4047" y="0"/>
                  </a:lnTo>
                  <a:lnTo>
                    <a:pt x="4070" y="1"/>
                  </a:lnTo>
                  <a:lnTo>
                    <a:pt x="4091" y="5"/>
                  </a:lnTo>
                  <a:lnTo>
                    <a:pt x="4112" y="9"/>
                  </a:lnTo>
                  <a:lnTo>
                    <a:pt x="4132" y="18"/>
                  </a:lnTo>
                  <a:lnTo>
                    <a:pt x="4151" y="26"/>
                  </a:lnTo>
                  <a:lnTo>
                    <a:pt x="4169" y="38"/>
                  </a:lnTo>
                  <a:lnTo>
                    <a:pt x="4186" y="50"/>
                  </a:lnTo>
                  <a:lnTo>
                    <a:pt x="4201" y="64"/>
                  </a:lnTo>
                  <a:lnTo>
                    <a:pt x="4215" y="79"/>
                  </a:lnTo>
                  <a:lnTo>
                    <a:pt x="4228" y="96"/>
                  </a:lnTo>
                  <a:lnTo>
                    <a:pt x="4239" y="115"/>
                  </a:lnTo>
                  <a:lnTo>
                    <a:pt x="4248" y="134"/>
                  </a:lnTo>
                  <a:lnTo>
                    <a:pt x="4255" y="154"/>
                  </a:lnTo>
                  <a:lnTo>
                    <a:pt x="4261" y="174"/>
                  </a:lnTo>
                  <a:lnTo>
                    <a:pt x="4264" y="196"/>
                  </a:lnTo>
                  <a:lnTo>
                    <a:pt x="4265" y="218"/>
                  </a:lnTo>
                  <a:lnTo>
                    <a:pt x="4265" y="793"/>
                  </a:lnTo>
                  <a:lnTo>
                    <a:pt x="4264" y="816"/>
                  </a:lnTo>
                  <a:lnTo>
                    <a:pt x="4261" y="837"/>
                  </a:lnTo>
                  <a:lnTo>
                    <a:pt x="4255" y="858"/>
                  </a:lnTo>
                  <a:lnTo>
                    <a:pt x="4248" y="879"/>
                  </a:lnTo>
                  <a:lnTo>
                    <a:pt x="4239" y="897"/>
                  </a:lnTo>
                  <a:lnTo>
                    <a:pt x="4228" y="915"/>
                  </a:lnTo>
                  <a:lnTo>
                    <a:pt x="4215" y="933"/>
                  </a:lnTo>
                  <a:lnTo>
                    <a:pt x="4201" y="948"/>
                  </a:lnTo>
                  <a:lnTo>
                    <a:pt x="4186" y="963"/>
                  </a:lnTo>
                  <a:lnTo>
                    <a:pt x="4169" y="974"/>
                  </a:lnTo>
                  <a:lnTo>
                    <a:pt x="4151" y="985"/>
                  </a:lnTo>
                  <a:lnTo>
                    <a:pt x="4132" y="994"/>
                  </a:lnTo>
                  <a:lnTo>
                    <a:pt x="4112" y="1002"/>
                  </a:lnTo>
                  <a:lnTo>
                    <a:pt x="4091" y="1007"/>
                  </a:lnTo>
                  <a:lnTo>
                    <a:pt x="4070" y="1011"/>
                  </a:lnTo>
                  <a:lnTo>
                    <a:pt x="4047" y="1012"/>
                  </a:lnTo>
                  <a:close/>
                </a:path>
              </a:pathLst>
            </a:custGeom>
            <a:solidFill>
              <a:srgbClr val="834E9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6653" tIns="58327" rIns="116653" bIns="58327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56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1" name="Freeform 42"/>
            <p:cNvSpPr>
              <a:spLocks/>
            </p:cNvSpPr>
            <p:nvPr/>
          </p:nvSpPr>
          <p:spPr bwMode="auto">
            <a:xfrm>
              <a:off x="2198" y="2294"/>
              <a:ext cx="1066" cy="253"/>
            </a:xfrm>
            <a:custGeom>
              <a:avLst/>
              <a:gdLst>
                <a:gd name="T0" fmla="*/ 218 w 4264"/>
                <a:gd name="T1" fmla="*/ 0 h 1013"/>
                <a:gd name="T2" fmla="*/ 173 w 4264"/>
                <a:gd name="T3" fmla="*/ 5 h 1013"/>
                <a:gd name="T4" fmla="*/ 133 w 4264"/>
                <a:gd name="T5" fmla="*/ 18 h 1013"/>
                <a:gd name="T6" fmla="*/ 97 w 4264"/>
                <a:gd name="T7" fmla="*/ 38 h 1013"/>
                <a:gd name="T8" fmla="*/ 63 w 4264"/>
                <a:gd name="T9" fmla="*/ 64 h 1013"/>
                <a:gd name="T10" fmla="*/ 37 w 4264"/>
                <a:gd name="T11" fmla="*/ 96 h 1013"/>
                <a:gd name="T12" fmla="*/ 17 w 4264"/>
                <a:gd name="T13" fmla="*/ 134 h 1013"/>
                <a:gd name="T14" fmla="*/ 4 w 4264"/>
                <a:gd name="T15" fmla="*/ 174 h 1013"/>
                <a:gd name="T16" fmla="*/ 0 w 4264"/>
                <a:gd name="T17" fmla="*/ 218 h 1013"/>
                <a:gd name="T18" fmla="*/ 1 w 4264"/>
                <a:gd name="T19" fmla="*/ 816 h 1013"/>
                <a:gd name="T20" fmla="*/ 10 w 4264"/>
                <a:gd name="T21" fmla="*/ 859 h 1013"/>
                <a:gd name="T22" fmla="*/ 27 w 4264"/>
                <a:gd name="T23" fmla="*/ 898 h 1013"/>
                <a:gd name="T24" fmla="*/ 49 w 4264"/>
                <a:gd name="T25" fmla="*/ 932 h 1013"/>
                <a:gd name="T26" fmla="*/ 79 w 4264"/>
                <a:gd name="T27" fmla="*/ 963 h 1013"/>
                <a:gd name="T28" fmla="*/ 114 w 4264"/>
                <a:gd name="T29" fmla="*/ 985 h 1013"/>
                <a:gd name="T30" fmla="*/ 153 w 4264"/>
                <a:gd name="T31" fmla="*/ 1002 h 1013"/>
                <a:gd name="T32" fmla="*/ 196 w 4264"/>
                <a:gd name="T33" fmla="*/ 1011 h 1013"/>
                <a:gd name="T34" fmla="*/ 4046 w 4264"/>
                <a:gd name="T35" fmla="*/ 1013 h 1013"/>
                <a:gd name="T36" fmla="*/ 4090 w 4264"/>
                <a:gd name="T37" fmla="*/ 1008 h 1013"/>
                <a:gd name="T38" fmla="*/ 4132 w 4264"/>
                <a:gd name="T39" fmla="*/ 995 h 1013"/>
                <a:gd name="T40" fmla="*/ 4168 w 4264"/>
                <a:gd name="T41" fmla="*/ 975 h 1013"/>
                <a:gd name="T42" fmla="*/ 4200 w 4264"/>
                <a:gd name="T43" fmla="*/ 949 h 1013"/>
                <a:gd name="T44" fmla="*/ 4227 w 4264"/>
                <a:gd name="T45" fmla="*/ 916 h 1013"/>
                <a:gd name="T46" fmla="*/ 4247 w 4264"/>
                <a:gd name="T47" fmla="*/ 879 h 1013"/>
                <a:gd name="T48" fmla="*/ 4260 w 4264"/>
                <a:gd name="T49" fmla="*/ 838 h 1013"/>
                <a:gd name="T50" fmla="*/ 4264 w 4264"/>
                <a:gd name="T51" fmla="*/ 794 h 1013"/>
                <a:gd name="T52" fmla="*/ 4263 w 4264"/>
                <a:gd name="T53" fmla="*/ 197 h 1013"/>
                <a:gd name="T54" fmla="*/ 4255 w 4264"/>
                <a:gd name="T55" fmla="*/ 154 h 1013"/>
                <a:gd name="T56" fmla="*/ 4238 w 4264"/>
                <a:gd name="T57" fmla="*/ 115 h 1013"/>
                <a:gd name="T58" fmla="*/ 4214 w 4264"/>
                <a:gd name="T59" fmla="*/ 79 h 1013"/>
                <a:gd name="T60" fmla="*/ 4185 w 4264"/>
                <a:gd name="T61" fmla="*/ 50 h 1013"/>
                <a:gd name="T62" fmla="*/ 4151 w 4264"/>
                <a:gd name="T63" fmla="*/ 26 h 1013"/>
                <a:gd name="T64" fmla="*/ 4112 w 4264"/>
                <a:gd name="T65" fmla="*/ 10 h 1013"/>
                <a:gd name="T66" fmla="*/ 4069 w 4264"/>
                <a:gd name="T67" fmla="*/ 1 h 10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4264" h="1013">
                  <a:moveTo>
                    <a:pt x="4046" y="0"/>
                  </a:moveTo>
                  <a:lnTo>
                    <a:pt x="218" y="0"/>
                  </a:lnTo>
                  <a:lnTo>
                    <a:pt x="196" y="1"/>
                  </a:lnTo>
                  <a:lnTo>
                    <a:pt x="173" y="5"/>
                  </a:lnTo>
                  <a:lnTo>
                    <a:pt x="153" y="10"/>
                  </a:lnTo>
                  <a:lnTo>
                    <a:pt x="133" y="18"/>
                  </a:lnTo>
                  <a:lnTo>
                    <a:pt x="114" y="26"/>
                  </a:lnTo>
                  <a:lnTo>
                    <a:pt x="97" y="38"/>
                  </a:lnTo>
                  <a:lnTo>
                    <a:pt x="79" y="50"/>
                  </a:lnTo>
                  <a:lnTo>
                    <a:pt x="63" y="64"/>
                  </a:lnTo>
                  <a:lnTo>
                    <a:pt x="49" y="79"/>
                  </a:lnTo>
                  <a:lnTo>
                    <a:pt x="37" y="96"/>
                  </a:lnTo>
                  <a:lnTo>
                    <a:pt x="27" y="115"/>
                  </a:lnTo>
                  <a:lnTo>
                    <a:pt x="17" y="134"/>
                  </a:lnTo>
                  <a:lnTo>
                    <a:pt x="10" y="154"/>
                  </a:lnTo>
                  <a:lnTo>
                    <a:pt x="4" y="174"/>
                  </a:lnTo>
                  <a:lnTo>
                    <a:pt x="1" y="197"/>
                  </a:lnTo>
                  <a:lnTo>
                    <a:pt x="0" y="218"/>
                  </a:lnTo>
                  <a:lnTo>
                    <a:pt x="0" y="794"/>
                  </a:lnTo>
                  <a:lnTo>
                    <a:pt x="1" y="816"/>
                  </a:lnTo>
                  <a:lnTo>
                    <a:pt x="4" y="838"/>
                  </a:lnTo>
                  <a:lnTo>
                    <a:pt x="10" y="859"/>
                  </a:lnTo>
                  <a:lnTo>
                    <a:pt x="17" y="879"/>
                  </a:lnTo>
                  <a:lnTo>
                    <a:pt x="27" y="898"/>
                  </a:lnTo>
                  <a:lnTo>
                    <a:pt x="37" y="916"/>
                  </a:lnTo>
                  <a:lnTo>
                    <a:pt x="49" y="932"/>
                  </a:lnTo>
                  <a:lnTo>
                    <a:pt x="63" y="949"/>
                  </a:lnTo>
                  <a:lnTo>
                    <a:pt x="79" y="963"/>
                  </a:lnTo>
                  <a:lnTo>
                    <a:pt x="97" y="975"/>
                  </a:lnTo>
                  <a:lnTo>
                    <a:pt x="114" y="985"/>
                  </a:lnTo>
                  <a:lnTo>
                    <a:pt x="133" y="995"/>
                  </a:lnTo>
                  <a:lnTo>
                    <a:pt x="153" y="1002"/>
                  </a:lnTo>
                  <a:lnTo>
                    <a:pt x="173" y="1008"/>
                  </a:lnTo>
                  <a:lnTo>
                    <a:pt x="196" y="1011"/>
                  </a:lnTo>
                  <a:lnTo>
                    <a:pt x="218" y="1013"/>
                  </a:lnTo>
                  <a:lnTo>
                    <a:pt x="4046" y="1013"/>
                  </a:lnTo>
                  <a:lnTo>
                    <a:pt x="4069" y="1011"/>
                  </a:lnTo>
                  <a:lnTo>
                    <a:pt x="4090" y="1008"/>
                  </a:lnTo>
                  <a:lnTo>
                    <a:pt x="4112" y="1002"/>
                  </a:lnTo>
                  <a:lnTo>
                    <a:pt x="4132" y="995"/>
                  </a:lnTo>
                  <a:lnTo>
                    <a:pt x="4151" y="985"/>
                  </a:lnTo>
                  <a:lnTo>
                    <a:pt x="4168" y="975"/>
                  </a:lnTo>
                  <a:lnTo>
                    <a:pt x="4185" y="963"/>
                  </a:lnTo>
                  <a:lnTo>
                    <a:pt x="4200" y="949"/>
                  </a:lnTo>
                  <a:lnTo>
                    <a:pt x="4214" y="932"/>
                  </a:lnTo>
                  <a:lnTo>
                    <a:pt x="4227" y="916"/>
                  </a:lnTo>
                  <a:lnTo>
                    <a:pt x="4238" y="898"/>
                  </a:lnTo>
                  <a:lnTo>
                    <a:pt x="4247" y="879"/>
                  </a:lnTo>
                  <a:lnTo>
                    <a:pt x="4255" y="859"/>
                  </a:lnTo>
                  <a:lnTo>
                    <a:pt x="4260" y="838"/>
                  </a:lnTo>
                  <a:lnTo>
                    <a:pt x="4263" y="816"/>
                  </a:lnTo>
                  <a:lnTo>
                    <a:pt x="4264" y="794"/>
                  </a:lnTo>
                  <a:lnTo>
                    <a:pt x="4264" y="218"/>
                  </a:lnTo>
                  <a:lnTo>
                    <a:pt x="4263" y="197"/>
                  </a:lnTo>
                  <a:lnTo>
                    <a:pt x="4260" y="174"/>
                  </a:lnTo>
                  <a:lnTo>
                    <a:pt x="4255" y="154"/>
                  </a:lnTo>
                  <a:lnTo>
                    <a:pt x="4247" y="134"/>
                  </a:lnTo>
                  <a:lnTo>
                    <a:pt x="4238" y="115"/>
                  </a:lnTo>
                  <a:lnTo>
                    <a:pt x="4227" y="96"/>
                  </a:lnTo>
                  <a:lnTo>
                    <a:pt x="4214" y="79"/>
                  </a:lnTo>
                  <a:lnTo>
                    <a:pt x="4200" y="64"/>
                  </a:lnTo>
                  <a:lnTo>
                    <a:pt x="4185" y="50"/>
                  </a:lnTo>
                  <a:lnTo>
                    <a:pt x="4168" y="38"/>
                  </a:lnTo>
                  <a:lnTo>
                    <a:pt x="4151" y="26"/>
                  </a:lnTo>
                  <a:lnTo>
                    <a:pt x="4132" y="18"/>
                  </a:lnTo>
                  <a:lnTo>
                    <a:pt x="4112" y="10"/>
                  </a:lnTo>
                  <a:lnTo>
                    <a:pt x="4090" y="5"/>
                  </a:lnTo>
                  <a:lnTo>
                    <a:pt x="4069" y="1"/>
                  </a:lnTo>
                  <a:lnTo>
                    <a:pt x="4046" y="0"/>
                  </a:lnTo>
                  <a:close/>
                </a:path>
              </a:pathLst>
            </a:custGeom>
            <a:solidFill>
              <a:srgbClr val="8675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6653" tIns="58327" rIns="116653" bIns="58327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56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2" name="Rectangle 43"/>
            <p:cNvSpPr>
              <a:spLocks noChangeArrowheads="1"/>
            </p:cNvSpPr>
            <p:nvPr/>
          </p:nvSpPr>
          <p:spPr bwMode="auto">
            <a:xfrm>
              <a:off x="1195" y="1211"/>
              <a:ext cx="1091" cy="19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ctr" defTabSz="1166567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az-Latn-AZ" altLang="ru-RU" sz="1276" b="1" i="0" u="none" strike="noStrike" kern="1200" cap="none" spc="0" normalizeH="0" baseline="0" noProof="0" dirty="0">
                  <a:ln>
                    <a:noFill/>
                  </a:ln>
                  <a:solidFill>
                    <a:srgbClr val="FEFEFE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rPr>
                <a:t>İmmun sisteminin inkişafının pozulması</a:t>
              </a:r>
              <a:endParaRPr kumimoji="0" lang="ru-RU" altLang="ru-RU" sz="2297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sp>
          <p:nvSpPr>
            <p:cNvPr id="43" name="Rectangle 44"/>
            <p:cNvSpPr>
              <a:spLocks noChangeArrowheads="1"/>
            </p:cNvSpPr>
            <p:nvPr/>
          </p:nvSpPr>
          <p:spPr bwMode="auto">
            <a:xfrm>
              <a:off x="1342" y="1309"/>
              <a:ext cx="0" cy="1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1166567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altLang="ru-RU" sz="2297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sp>
          <p:nvSpPr>
            <p:cNvPr id="44" name="Rectangle 45"/>
            <p:cNvSpPr>
              <a:spLocks noChangeArrowheads="1"/>
            </p:cNvSpPr>
            <p:nvPr/>
          </p:nvSpPr>
          <p:spPr bwMode="auto">
            <a:xfrm>
              <a:off x="3261" y="1266"/>
              <a:ext cx="962" cy="19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ctr" defTabSz="1166567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az-Latn-AZ" altLang="ru-RU" sz="1276" b="1" i="0" u="none" strike="noStrike" kern="1200" cap="none" spc="0" normalizeH="0" baseline="0" noProof="0" dirty="0">
                  <a:ln>
                    <a:noFill/>
                  </a:ln>
                  <a:solidFill>
                    <a:srgbClr val="FEFEFE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rPr>
                <a:t>Tez-tez antibiotik kursları</a:t>
              </a:r>
              <a:endParaRPr kumimoji="0" lang="ru-RU" altLang="ru-RU" sz="1276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  <a:p>
              <a:pPr marL="0" marR="0" lvl="0" indent="0" algn="ctr" defTabSz="1166567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altLang="ru-RU" sz="1276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sp>
          <p:nvSpPr>
            <p:cNvPr id="45" name="Rectangle 46"/>
            <p:cNvSpPr>
              <a:spLocks noChangeArrowheads="1"/>
            </p:cNvSpPr>
            <p:nvPr/>
          </p:nvSpPr>
          <p:spPr bwMode="auto">
            <a:xfrm>
              <a:off x="3310" y="1312"/>
              <a:ext cx="0" cy="1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1166567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altLang="ru-RU" sz="2297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sp>
          <p:nvSpPr>
            <p:cNvPr id="46" name="Rectangle 47"/>
            <p:cNvSpPr>
              <a:spLocks noChangeArrowheads="1"/>
            </p:cNvSpPr>
            <p:nvPr/>
          </p:nvSpPr>
          <p:spPr bwMode="auto">
            <a:xfrm>
              <a:off x="2300" y="2309"/>
              <a:ext cx="876" cy="29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ctr" defTabSz="1166567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az-Latn-AZ" altLang="ru-RU" sz="1276" b="1" i="0" u="none" strike="noStrike" kern="1200" cap="none" spc="0" normalizeH="0" baseline="0" noProof="0" dirty="0">
                  <a:ln>
                    <a:noFill/>
                  </a:ln>
                  <a:solidFill>
                    <a:srgbClr val="FEFEFE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rPr>
                <a:t>Bağırsaq mikroflorasının məhvi</a:t>
              </a:r>
              <a:endParaRPr kumimoji="0" lang="ru-RU" altLang="ru-RU" sz="2297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  <a:p>
              <a:pPr marL="0" marR="0" lvl="0" indent="0" algn="ctr" defTabSz="1166567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altLang="ru-RU" sz="1276" b="1" i="0" u="none" strike="noStrike" kern="1200" cap="none" spc="0" normalizeH="0" baseline="0" noProof="0" dirty="0">
                  <a:ln>
                    <a:noFill/>
                  </a:ln>
                  <a:solidFill>
                    <a:srgbClr val="FEFEFE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rPr>
                <a:t> </a:t>
              </a:r>
              <a:endParaRPr kumimoji="0" lang="ru-RU" altLang="ru-RU" sz="2297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sp>
          <p:nvSpPr>
            <p:cNvPr id="48" name="Freeform 49"/>
            <p:cNvSpPr>
              <a:spLocks/>
            </p:cNvSpPr>
            <p:nvPr/>
          </p:nvSpPr>
          <p:spPr bwMode="auto">
            <a:xfrm>
              <a:off x="2183" y="809"/>
              <a:ext cx="1096" cy="283"/>
            </a:xfrm>
            <a:custGeom>
              <a:avLst/>
              <a:gdLst>
                <a:gd name="T0" fmla="*/ 4161 w 4381"/>
                <a:gd name="T1" fmla="*/ 1129 h 1129"/>
                <a:gd name="T2" fmla="*/ 4205 w 4381"/>
                <a:gd name="T3" fmla="*/ 1124 h 1129"/>
                <a:gd name="T4" fmla="*/ 4246 w 4381"/>
                <a:gd name="T5" fmla="*/ 1111 h 1129"/>
                <a:gd name="T6" fmla="*/ 4284 w 4381"/>
                <a:gd name="T7" fmla="*/ 1091 h 1129"/>
                <a:gd name="T8" fmla="*/ 4316 w 4381"/>
                <a:gd name="T9" fmla="*/ 1064 h 1129"/>
                <a:gd name="T10" fmla="*/ 4343 w 4381"/>
                <a:gd name="T11" fmla="*/ 1032 h 1129"/>
                <a:gd name="T12" fmla="*/ 4363 w 4381"/>
                <a:gd name="T13" fmla="*/ 994 h 1129"/>
                <a:gd name="T14" fmla="*/ 4376 w 4381"/>
                <a:gd name="T15" fmla="*/ 954 h 1129"/>
                <a:gd name="T16" fmla="*/ 4381 w 4381"/>
                <a:gd name="T17" fmla="*/ 909 h 1129"/>
                <a:gd name="T18" fmla="*/ 4380 w 4381"/>
                <a:gd name="T19" fmla="*/ 197 h 1129"/>
                <a:gd name="T20" fmla="*/ 4370 w 4381"/>
                <a:gd name="T21" fmla="*/ 155 h 1129"/>
                <a:gd name="T22" fmla="*/ 4354 w 4381"/>
                <a:gd name="T23" fmla="*/ 116 h 1129"/>
                <a:gd name="T24" fmla="*/ 4330 w 4381"/>
                <a:gd name="T25" fmla="*/ 80 h 1129"/>
                <a:gd name="T26" fmla="*/ 4301 w 4381"/>
                <a:gd name="T27" fmla="*/ 51 h 1129"/>
                <a:gd name="T28" fmla="*/ 4265 w 4381"/>
                <a:gd name="T29" fmla="*/ 27 h 1129"/>
                <a:gd name="T30" fmla="*/ 4226 w 4381"/>
                <a:gd name="T31" fmla="*/ 10 h 1129"/>
                <a:gd name="T32" fmla="*/ 4184 w 4381"/>
                <a:gd name="T33" fmla="*/ 1 h 1129"/>
                <a:gd name="T34" fmla="*/ 218 w 4381"/>
                <a:gd name="T35" fmla="*/ 0 h 1129"/>
                <a:gd name="T36" fmla="*/ 175 w 4381"/>
                <a:gd name="T37" fmla="*/ 5 h 1129"/>
                <a:gd name="T38" fmla="*/ 133 w 4381"/>
                <a:gd name="T39" fmla="*/ 18 h 1129"/>
                <a:gd name="T40" fmla="*/ 97 w 4381"/>
                <a:gd name="T41" fmla="*/ 38 h 1129"/>
                <a:gd name="T42" fmla="*/ 64 w 4381"/>
                <a:gd name="T43" fmla="*/ 65 h 1129"/>
                <a:gd name="T44" fmla="*/ 38 w 4381"/>
                <a:gd name="T45" fmla="*/ 97 h 1129"/>
                <a:gd name="T46" fmla="*/ 16 w 4381"/>
                <a:gd name="T47" fmla="*/ 135 h 1129"/>
                <a:gd name="T48" fmla="*/ 4 w 4381"/>
                <a:gd name="T49" fmla="*/ 175 h 1129"/>
                <a:gd name="T50" fmla="*/ 0 w 4381"/>
                <a:gd name="T51" fmla="*/ 220 h 1129"/>
                <a:gd name="T52" fmla="*/ 1 w 4381"/>
                <a:gd name="T53" fmla="*/ 932 h 1129"/>
                <a:gd name="T54" fmla="*/ 9 w 4381"/>
                <a:gd name="T55" fmla="*/ 974 h 1129"/>
                <a:gd name="T56" fmla="*/ 26 w 4381"/>
                <a:gd name="T57" fmla="*/ 1014 h 1129"/>
                <a:gd name="T58" fmla="*/ 49 w 4381"/>
                <a:gd name="T59" fmla="*/ 1049 h 1129"/>
                <a:gd name="T60" fmla="*/ 79 w 4381"/>
                <a:gd name="T61" fmla="*/ 1078 h 1129"/>
                <a:gd name="T62" fmla="*/ 114 w 4381"/>
                <a:gd name="T63" fmla="*/ 1102 h 1129"/>
                <a:gd name="T64" fmla="*/ 153 w 4381"/>
                <a:gd name="T65" fmla="*/ 1119 h 1129"/>
                <a:gd name="T66" fmla="*/ 196 w 4381"/>
                <a:gd name="T67" fmla="*/ 1128 h 1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4381" h="1129">
                  <a:moveTo>
                    <a:pt x="218" y="1129"/>
                  </a:moveTo>
                  <a:lnTo>
                    <a:pt x="4161" y="1129"/>
                  </a:lnTo>
                  <a:lnTo>
                    <a:pt x="4184" y="1128"/>
                  </a:lnTo>
                  <a:lnTo>
                    <a:pt x="4205" y="1124"/>
                  </a:lnTo>
                  <a:lnTo>
                    <a:pt x="4226" y="1119"/>
                  </a:lnTo>
                  <a:lnTo>
                    <a:pt x="4246" y="1111"/>
                  </a:lnTo>
                  <a:lnTo>
                    <a:pt x="4265" y="1102"/>
                  </a:lnTo>
                  <a:lnTo>
                    <a:pt x="4284" y="1091"/>
                  </a:lnTo>
                  <a:lnTo>
                    <a:pt x="4301" y="1078"/>
                  </a:lnTo>
                  <a:lnTo>
                    <a:pt x="4316" y="1064"/>
                  </a:lnTo>
                  <a:lnTo>
                    <a:pt x="4330" y="1049"/>
                  </a:lnTo>
                  <a:lnTo>
                    <a:pt x="4343" y="1032"/>
                  </a:lnTo>
                  <a:lnTo>
                    <a:pt x="4354" y="1014"/>
                  </a:lnTo>
                  <a:lnTo>
                    <a:pt x="4363" y="994"/>
                  </a:lnTo>
                  <a:lnTo>
                    <a:pt x="4370" y="974"/>
                  </a:lnTo>
                  <a:lnTo>
                    <a:pt x="4376" y="954"/>
                  </a:lnTo>
                  <a:lnTo>
                    <a:pt x="4380" y="932"/>
                  </a:lnTo>
                  <a:lnTo>
                    <a:pt x="4381" y="909"/>
                  </a:lnTo>
                  <a:lnTo>
                    <a:pt x="4381" y="220"/>
                  </a:lnTo>
                  <a:lnTo>
                    <a:pt x="4380" y="197"/>
                  </a:lnTo>
                  <a:lnTo>
                    <a:pt x="4376" y="175"/>
                  </a:lnTo>
                  <a:lnTo>
                    <a:pt x="4370" y="155"/>
                  </a:lnTo>
                  <a:lnTo>
                    <a:pt x="4363" y="135"/>
                  </a:lnTo>
                  <a:lnTo>
                    <a:pt x="4354" y="116"/>
                  </a:lnTo>
                  <a:lnTo>
                    <a:pt x="4343" y="97"/>
                  </a:lnTo>
                  <a:lnTo>
                    <a:pt x="4330" y="80"/>
                  </a:lnTo>
                  <a:lnTo>
                    <a:pt x="4316" y="65"/>
                  </a:lnTo>
                  <a:lnTo>
                    <a:pt x="4301" y="51"/>
                  </a:lnTo>
                  <a:lnTo>
                    <a:pt x="4284" y="38"/>
                  </a:lnTo>
                  <a:lnTo>
                    <a:pt x="4265" y="27"/>
                  </a:lnTo>
                  <a:lnTo>
                    <a:pt x="4246" y="18"/>
                  </a:lnTo>
                  <a:lnTo>
                    <a:pt x="4226" y="10"/>
                  </a:lnTo>
                  <a:lnTo>
                    <a:pt x="4205" y="5"/>
                  </a:lnTo>
                  <a:lnTo>
                    <a:pt x="4184" y="1"/>
                  </a:lnTo>
                  <a:lnTo>
                    <a:pt x="4161" y="0"/>
                  </a:lnTo>
                  <a:lnTo>
                    <a:pt x="218" y="0"/>
                  </a:lnTo>
                  <a:lnTo>
                    <a:pt x="196" y="1"/>
                  </a:lnTo>
                  <a:lnTo>
                    <a:pt x="175" y="5"/>
                  </a:lnTo>
                  <a:lnTo>
                    <a:pt x="153" y="10"/>
                  </a:lnTo>
                  <a:lnTo>
                    <a:pt x="133" y="18"/>
                  </a:lnTo>
                  <a:lnTo>
                    <a:pt x="114" y="27"/>
                  </a:lnTo>
                  <a:lnTo>
                    <a:pt x="97" y="38"/>
                  </a:lnTo>
                  <a:lnTo>
                    <a:pt x="79" y="51"/>
                  </a:lnTo>
                  <a:lnTo>
                    <a:pt x="64" y="65"/>
                  </a:lnTo>
                  <a:lnTo>
                    <a:pt x="49" y="80"/>
                  </a:lnTo>
                  <a:lnTo>
                    <a:pt x="38" y="97"/>
                  </a:lnTo>
                  <a:lnTo>
                    <a:pt x="26" y="116"/>
                  </a:lnTo>
                  <a:lnTo>
                    <a:pt x="16" y="135"/>
                  </a:lnTo>
                  <a:lnTo>
                    <a:pt x="9" y="155"/>
                  </a:lnTo>
                  <a:lnTo>
                    <a:pt x="4" y="175"/>
                  </a:lnTo>
                  <a:lnTo>
                    <a:pt x="1" y="197"/>
                  </a:lnTo>
                  <a:lnTo>
                    <a:pt x="0" y="220"/>
                  </a:lnTo>
                  <a:lnTo>
                    <a:pt x="0" y="909"/>
                  </a:lnTo>
                  <a:lnTo>
                    <a:pt x="1" y="932"/>
                  </a:lnTo>
                  <a:lnTo>
                    <a:pt x="4" y="954"/>
                  </a:lnTo>
                  <a:lnTo>
                    <a:pt x="9" y="974"/>
                  </a:lnTo>
                  <a:lnTo>
                    <a:pt x="16" y="994"/>
                  </a:lnTo>
                  <a:lnTo>
                    <a:pt x="26" y="1014"/>
                  </a:lnTo>
                  <a:lnTo>
                    <a:pt x="38" y="1032"/>
                  </a:lnTo>
                  <a:lnTo>
                    <a:pt x="49" y="1049"/>
                  </a:lnTo>
                  <a:lnTo>
                    <a:pt x="64" y="1064"/>
                  </a:lnTo>
                  <a:lnTo>
                    <a:pt x="79" y="1078"/>
                  </a:lnTo>
                  <a:lnTo>
                    <a:pt x="97" y="1091"/>
                  </a:lnTo>
                  <a:lnTo>
                    <a:pt x="114" y="1102"/>
                  </a:lnTo>
                  <a:lnTo>
                    <a:pt x="133" y="1111"/>
                  </a:lnTo>
                  <a:lnTo>
                    <a:pt x="153" y="1119"/>
                  </a:lnTo>
                  <a:lnTo>
                    <a:pt x="175" y="1124"/>
                  </a:lnTo>
                  <a:lnTo>
                    <a:pt x="196" y="1128"/>
                  </a:lnTo>
                  <a:lnTo>
                    <a:pt x="218" y="1129"/>
                  </a:lnTo>
                  <a:close/>
                </a:path>
              </a:pathLst>
            </a:cu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6653" tIns="58327" rIns="116653" bIns="58327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56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9" name="Freeform 50"/>
            <p:cNvSpPr>
              <a:spLocks noEditPoints="1"/>
            </p:cNvSpPr>
            <p:nvPr/>
          </p:nvSpPr>
          <p:spPr bwMode="auto">
            <a:xfrm>
              <a:off x="2178" y="815"/>
              <a:ext cx="1106" cy="293"/>
            </a:xfrm>
            <a:custGeom>
              <a:avLst/>
              <a:gdLst>
                <a:gd name="T0" fmla="*/ 241 w 4425"/>
                <a:gd name="T1" fmla="*/ 1171 h 1171"/>
                <a:gd name="T2" fmla="*/ 4224 w 4425"/>
                <a:gd name="T3" fmla="*/ 1124 h 1171"/>
                <a:gd name="T4" fmla="*/ 4294 w 4425"/>
                <a:gd name="T5" fmla="*/ 1095 h 1171"/>
                <a:gd name="T6" fmla="*/ 4338 w 4425"/>
                <a:gd name="T7" fmla="*/ 1117 h 1171"/>
                <a:gd name="T8" fmla="*/ 4256 w 4425"/>
                <a:gd name="T9" fmla="*/ 1161 h 1171"/>
                <a:gd name="T10" fmla="*/ 4197 w 4425"/>
                <a:gd name="T11" fmla="*/ 1171 h 1171"/>
                <a:gd name="T12" fmla="*/ 4324 w 4425"/>
                <a:gd name="T13" fmla="*/ 1070 h 1171"/>
                <a:gd name="T14" fmla="*/ 4337 w 4425"/>
                <a:gd name="T15" fmla="*/ 1056 h 1171"/>
                <a:gd name="T16" fmla="*/ 4373 w 4425"/>
                <a:gd name="T17" fmla="*/ 989 h 1171"/>
                <a:gd name="T18" fmla="*/ 4425 w 4425"/>
                <a:gd name="T19" fmla="*/ 930 h 1171"/>
                <a:gd name="T20" fmla="*/ 4421 w 4425"/>
                <a:gd name="T21" fmla="*/ 979 h 1171"/>
                <a:gd name="T22" fmla="*/ 4384 w 4425"/>
                <a:gd name="T23" fmla="*/ 1065 h 1171"/>
                <a:gd name="T24" fmla="*/ 4382 w 4425"/>
                <a:gd name="T25" fmla="*/ 930 h 1171"/>
                <a:gd name="T26" fmla="*/ 4382 w 4425"/>
                <a:gd name="T27" fmla="*/ 930 h 1171"/>
                <a:gd name="T28" fmla="*/ 4373 w 4425"/>
                <a:gd name="T29" fmla="*/ 182 h 1171"/>
                <a:gd name="T30" fmla="*/ 4337 w 4425"/>
                <a:gd name="T31" fmla="*/ 115 h 1171"/>
                <a:gd name="T32" fmla="*/ 4384 w 4425"/>
                <a:gd name="T33" fmla="*/ 106 h 1171"/>
                <a:gd name="T34" fmla="*/ 4421 w 4425"/>
                <a:gd name="T35" fmla="*/ 192 h 1171"/>
                <a:gd name="T36" fmla="*/ 4425 w 4425"/>
                <a:gd name="T37" fmla="*/ 241 h 1171"/>
                <a:gd name="T38" fmla="*/ 4339 w 4425"/>
                <a:gd name="T39" fmla="*/ 86 h 1171"/>
                <a:gd name="T40" fmla="*/ 4294 w 4425"/>
                <a:gd name="T41" fmla="*/ 76 h 1171"/>
                <a:gd name="T42" fmla="*/ 4224 w 4425"/>
                <a:gd name="T43" fmla="*/ 47 h 1171"/>
                <a:gd name="T44" fmla="*/ 4197 w 4425"/>
                <a:gd name="T45" fmla="*/ 0 h 1171"/>
                <a:gd name="T46" fmla="*/ 4256 w 4425"/>
                <a:gd name="T47" fmla="*/ 10 h 1171"/>
                <a:gd name="T48" fmla="*/ 4338 w 4425"/>
                <a:gd name="T49" fmla="*/ 54 h 1171"/>
                <a:gd name="T50" fmla="*/ 241 w 4425"/>
                <a:gd name="T51" fmla="*/ 43 h 1171"/>
                <a:gd name="T52" fmla="*/ 241 w 4425"/>
                <a:gd name="T53" fmla="*/ 43 h 1171"/>
                <a:gd name="T54" fmla="*/ 165 w 4425"/>
                <a:gd name="T55" fmla="*/ 59 h 1171"/>
                <a:gd name="T56" fmla="*/ 102 w 4425"/>
                <a:gd name="T57" fmla="*/ 101 h 1171"/>
                <a:gd name="T58" fmla="*/ 127 w 4425"/>
                <a:gd name="T59" fmla="*/ 28 h 1171"/>
                <a:gd name="T60" fmla="*/ 205 w 4425"/>
                <a:gd name="T61" fmla="*/ 2 h 1171"/>
                <a:gd name="T62" fmla="*/ 241 w 4425"/>
                <a:gd name="T63" fmla="*/ 43 h 1171"/>
                <a:gd name="T64" fmla="*/ 102 w 4425"/>
                <a:gd name="T65" fmla="*/ 101 h 1171"/>
                <a:gd name="T66" fmla="*/ 69 w 4425"/>
                <a:gd name="T67" fmla="*/ 146 h 1171"/>
                <a:gd name="T68" fmla="*/ 45 w 4425"/>
                <a:gd name="T69" fmla="*/ 221 h 1171"/>
                <a:gd name="T70" fmla="*/ 1 w 4425"/>
                <a:gd name="T71" fmla="*/ 216 h 1171"/>
                <a:gd name="T72" fmla="*/ 19 w 4425"/>
                <a:gd name="T73" fmla="*/ 147 h 1171"/>
                <a:gd name="T74" fmla="*/ 71 w 4425"/>
                <a:gd name="T75" fmla="*/ 71 h 1171"/>
                <a:gd name="T76" fmla="*/ 0 w 4425"/>
                <a:gd name="T77" fmla="*/ 930 h 1171"/>
                <a:gd name="T78" fmla="*/ 45 w 4425"/>
                <a:gd name="T79" fmla="*/ 950 h 1171"/>
                <a:gd name="T80" fmla="*/ 69 w 4425"/>
                <a:gd name="T81" fmla="*/ 1025 h 1171"/>
                <a:gd name="T82" fmla="*/ 71 w 4425"/>
                <a:gd name="T83" fmla="*/ 1101 h 1171"/>
                <a:gd name="T84" fmla="*/ 19 w 4425"/>
                <a:gd name="T85" fmla="*/ 1025 h 1171"/>
                <a:gd name="T86" fmla="*/ 1 w 4425"/>
                <a:gd name="T87" fmla="*/ 955 h 1171"/>
                <a:gd name="T88" fmla="*/ 102 w 4425"/>
                <a:gd name="T89" fmla="*/ 1070 h 1171"/>
                <a:gd name="T90" fmla="*/ 102 w 4425"/>
                <a:gd name="T91" fmla="*/ 1070 h 1171"/>
                <a:gd name="T92" fmla="*/ 165 w 4425"/>
                <a:gd name="T93" fmla="*/ 1112 h 1171"/>
                <a:gd name="T94" fmla="*/ 241 w 4425"/>
                <a:gd name="T95" fmla="*/ 1128 h 1171"/>
                <a:gd name="T96" fmla="*/ 205 w 4425"/>
                <a:gd name="T97" fmla="*/ 1169 h 1171"/>
                <a:gd name="T98" fmla="*/ 127 w 4425"/>
                <a:gd name="T99" fmla="*/ 1143 h 1171"/>
                <a:gd name="T100" fmla="*/ 102 w 4425"/>
                <a:gd name="T101" fmla="*/ 1070 h 11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4425" h="1171">
                  <a:moveTo>
                    <a:pt x="241" y="1128"/>
                  </a:moveTo>
                  <a:lnTo>
                    <a:pt x="4184" y="1128"/>
                  </a:lnTo>
                  <a:lnTo>
                    <a:pt x="4184" y="1171"/>
                  </a:lnTo>
                  <a:lnTo>
                    <a:pt x="241" y="1171"/>
                  </a:lnTo>
                  <a:lnTo>
                    <a:pt x="241" y="1128"/>
                  </a:lnTo>
                  <a:close/>
                  <a:moveTo>
                    <a:pt x="4184" y="1128"/>
                  </a:moveTo>
                  <a:lnTo>
                    <a:pt x="4204" y="1127"/>
                  </a:lnTo>
                  <a:lnTo>
                    <a:pt x="4224" y="1124"/>
                  </a:lnTo>
                  <a:lnTo>
                    <a:pt x="4243" y="1119"/>
                  </a:lnTo>
                  <a:lnTo>
                    <a:pt x="4261" y="1112"/>
                  </a:lnTo>
                  <a:lnTo>
                    <a:pt x="4279" y="1104"/>
                  </a:lnTo>
                  <a:lnTo>
                    <a:pt x="4294" y="1095"/>
                  </a:lnTo>
                  <a:lnTo>
                    <a:pt x="4310" y="1083"/>
                  </a:lnTo>
                  <a:lnTo>
                    <a:pt x="4324" y="1070"/>
                  </a:lnTo>
                  <a:lnTo>
                    <a:pt x="4354" y="1101"/>
                  </a:lnTo>
                  <a:lnTo>
                    <a:pt x="4338" y="1117"/>
                  </a:lnTo>
                  <a:lnTo>
                    <a:pt x="4319" y="1130"/>
                  </a:lnTo>
                  <a:lnTo>
                    <a:pt x="4299" y="1143"/>
                  </a:lnTo>
                  <a:lnTo>
                    <a:pt x="4278" y="1153"/>
                  </a:lnTo>
                  <a:lnTo>
                    <a:pt x="4256" y="1161"/>
                  </a:lnTo>
                  <a:lnTo>
                    <a:pt x="4233" y="1167"/>
                  </a:lnTo>
                  <a:lnTo>
                    <a:pt x="4221" y="1169"/>
                  </a:lnTo>
                  <a:lnTo>
                    <a:pt x="4209" y="1170"/>
                  </a:lnTo>
                  <a:lnTo>
                    <a:pt x="4197" y="1171"/>
                  </a:lnTo>
                  <a:lnTo>
                    <a:pt x="4184" y="1171"/>
                  </a:lnTo>
                  <a:lnTo>
                    <a:pt x="4184" y="1128"/>
                  </a:lnTo>
                  <a:close/>
                  <a:moveTo>
                    <a:pt x="4324" y="1070"/>
                  </a:moveTo>
                  <a:lnTo>
                    <a:pt x="4324" y="1070"/>
                  </a:lnTo>
                  <a:lnTo>
                    <a:pt x="4339" y="1085"/>
                  </a:lnTo>
                  <a:lnTo>
                    <a:pt x="4324" y="1070"/>
                  </a:lnTo>
                  <a:close/>
                  <a:moveTo>
                    <a:pt x="4324" y="1070"/>
                  </a:moveTo>
                  <a:lnTo>
                    <a:pt x="4337" y="1056"/>
                  </a:lnTo>
                  <a:lnTo>
                    <a:pt x="4349" y="1040"/>
                  </a:lnTo>
                  <a:lnTo>
                    <a:pt x="4358" y="1025"/>
                  </a:lnTo>
                  <a:lnTo>
                    <a:pt x="4366" y="1007"/>
                  </a:lnTo>
                  <a:lnTo>
                    <a:pt x="4373" y="989"/>
                  </a:lnTo>
                  <a:lnTo>
                    <a:pt x="4378" y="970"/>
                  </a:lnTo>
                  <a:lnTo>
                    <a:pt x="4380" y="950"/>
                  </a:lnTo>
                  <a:lnTo>
                    <a:pt x="4382" y="930"/>
                  </a:lnTo>
                  <a:lnTo>
                    <a:pt x="4425" y="930"/>
                  </a:lnTo>
                  <a:lnTo>
                    <a:pt x="4425" y="943"/>
                  </a:lnTo>
                  <a:lnTo>
                    <a:pt x="4424" y="955"/>
                  </a:lnTo>
                  <a:lnTo>
                    <a:pt x="4423" y="967"/>
                  </a:lnTo>
                  <a:lnTo>
                    <a:pt x="4421" y="979"/>
                  </a:lnTo>
                  <a:lnTo>
                    <a:pt x="4415" y="1002"/>
                  </a:lnTo>
                  <a:lnTo>
                    <a:pt x="4406" y="1025"/>
                  </a:lnTo>
                  <a:lnTo>
                    <a:pt x="4397" y="1045"/>
                  </a:lnTo>
                  <a:lnTo>
                    <a:pt x="4384" y="1065"/>
                  </a:lnTo>
                  <a:lnTo>
                    <a:pt x="4370" y="1084"/>
                  </a:lnTo>
                  <a:lnTo>
                    <a:pt x="4354" y="1101"/>
                  </a:lnTo>
                  <a:lnTo>
                    <a:pt x="4324" y="1070"/>
                  </a:lnTo>
                  <a:close/>
                  <a:moveTo>
                    <a:pt x="4382" y="930"/>
                  </a:moveTo>
                  <a:lnTo>
                    <a:pt x="4382" y="241"/>
                  </a:lnTo>
                  <a:lnTo>
                    <a:pt x="4425" y="241"/>
                  </a:lnTo>
                  <a:lnTo>
                    <a:pt x="4425" y="930"/>
                  </a:lnTo>
                  <a:lnTo>
                    <a:pt x="4382" y="930"/>
                  </a:lnTo>
                  <a:close/>
                  <a:moveTo>
                    <a:pt x="4382" y="241"/>
                  </a:moveTo>
                  <a:lnTo>
                    <a:pt x="4380" y="221"/>
                  </a:lnTo>
                  <a:lnTo>
                    <a:pt x="4378" y="201"/>
                  </a:lnTo>
                  <a:lnTo>
                    <a:pt x="4373" y="182"/>
                  </a:lnTo>
                  <a:lnTo>
                    <a:pt x="4366" y="164"/>
                  </a:lnTo>
                  <a:lnTo>
                    <a:pt x="4358" y="146"/>
                  </a:lnTo>
                  <a:lnTo>
                    <a:pt x="4349" y="131"/>
                  </a:lnTo>
                  <a:lnTo>
                    <a:pt x="4337" y="115"/>
                  </a:lnTo>
                  <a:lnTo>
                    <a:pt x="4324" y="101"/>
                  </a:lnTo>
                  <a:lnTo>
                    <a:pt x="4354" y="71"/>
                  </a:lnTo>
                  <a:lnTo>
                    <a:pt x="4370" y="87"/>
                  </a:lnTo>
                  <a:lnTo>
                    <a:pt x="4384" y="106"/>
                  </a:lnTo>
                  <a:lnTo>
                    <a:pt x="4396" y="126"/>
                  </a:lnTo>
                  <a:lnTo>
                    <a:pt x="4406" y="147"/>
                  </a:lnTo>
                  <a:lnTo>
                    <a:pt x="4415" y="169"/>
                  </a:lnTo>
                  <a:lnTo>
                    <a:pt x="4421" y="192"/>
                  </a:lnTo>
                  <a:lnTo>
                    <a:pt x="4423" y="204"/>
                  </a:lnTo>
                  <a:lnTo>
                    <a:pt x="4424" y="216"/>
                  </a:lnTo>
                  <a:lnTo>
                    <a:pt x="4425" y="228"/>
                  </a:lnTo>
                  <a:lnTo>
                    <a:pt x="4425" y="241"/>
                  </a:lnTo>
                  <a:lnTo>
                    <a:pt x="4382" y="241"/>
                  </a:lnTo>
                  <a:close/>
                  <a:moveTo>
                    <a:pt x="4324" y="101"/>
                  </a:moveTo>
                  <a:lnTo>
                    <a:pt x="4324" y="101"/>
                  </a:lnTo>
                  <a:lnTo>
                    <a:pt x="4339" y="86"/>
                  </a:lnTo>
                  <a:lnTo>
                    <a:pt x="4324" y="101"/>
                  </a:lnTo>
                  <a:close/>
                  <a:moveTo>
                    <a:pt x="4324" y="101"/>
                  </a:moveTo>
                  <a:lnTo>
                    <a:pt x="4310" y="88"/>
                  </a:lnTo>
                  <a:lnTo>
                    <a:pt x="4294" y="76"/>
                  </a:lnTo>
                  <a:lnTo>
                    <a:pt x="4279" y="67"/>
                  </a:lnTo>
                  <a:lnTo>
                    <a:pt x="4261" y="59"/>
                  </a:lnTo>
                  <a:lnTo>
                    <a:pt x="4243" y="52"/>
                  </a:lnTo>
                  <a:lnTo>
                    <a:pt x="4224" y="47"/>
                  </a:lnTo>
                  <a:lnTo>
                    <a:pt x="4204" y="44"/>
                  </a:lnTo>
                  <a:lnTo>
                    <a:pt x="4184" y="43"/>
                  </a:lnTo>
                  <a:lnTo>
                    <a:pt x="4184" y="0"/>
                  </a:lnTo>
                  <a:lnTo>
                    <a:pt x="4197" y="0"/>
                  </a:lnTo>
                  <a:lnTo>
                    <a:pt x="4209" y="1"/>
                  </a:lnTo>
                  <a:lnTo>
                    <a:pt x="4221" y="2"/>
                  </a:lnTo>
                  <a:lnTo>
                    <a:pt x="4233" y="4"/>
                  </a:lnTo>
                  <a:lnTo>
                    <a:pt x="4256" y="10"/>
                  </a:lnTo>
                  <a:lnTo>
                    <a:pt x="4278" y="18"/>
                  </a:lnTo>
                  <a:lnTo>
                    <a:pt x="4299" y="28"/>
                  </a:lnTo>
                  <a:lnTo>
                    <a:pt x="4319" y="41"/>
                  </a:lnTo>
                  <a:lnTo>
                    <a:pt x="4338" y="54"/>
                  </a:lnTo>
                  <a:lnTo>
                    <a:pt x="4354" y="71"/>
                  </a:lnTo>
                  <a:lnTo>
                    <a:pt x="4324" y="101"/>
                  </a:lnTo>
                  <a:close/>
                  <a:moveTo>
                    <a:pt x="4184" y="43"/>
                  </a:moveTo>
                  <a:lnTo>
                    <a:pt x="241" y="43"/>
                  </a:lnTo>
                  <a:lnTo>
                    <a:pt x="241" y="0"/>
                  </a:lnTo>
                  <a:lnTo>
                    <a:pt x="4184" y="0"/>
                  </a:lnTo>
                  <a:lnTo>
                    <a:pt x="4184" y="43"/>
                  </a:lnTo>
                  <a:close/>
                  <a:moveTo>
                    <a:pt x="241" y="43"/>
                  </a:moveTo>
                  <a:lnTo>
                    <a:pt x="221" y="44"/>
                  </a:lnTo>
                  <a:lnTo>
                    <a:pt x="202" y="47"/>
                  </a:lnTo>
                  <a:lnTo>
                    <a:pt x="183" y="52"/>
                  </a:lnTo>
                  <a:lnTo>
                    <a:pt x="165" y="59"/>
                  </a:lnTo>
                  <a:lnTo>
                    <a:pt x="148" y="67"/>
                  </a:lnTo>
                  <a:lnTo>
                    <a:pt x="131" y="76"/>
                  </a:lnTo>
                  <a:lnTo>
                    <a:pt x="116" y="88"/>
                  </a:lnTo>
                  <a:lnTo>
                    <a:pt x="102" y="101"/>
                  </a:lnTo>
                  <a:lnTo>
                    <a:pt x="71" y="71"/>
                  </a:lnTo>
                  <a:lnTo>
                    <a:pt x="89" y="54"/>
                  </a:lnTo>
                  <a:lnTo>
                    <a:pt x="107" y="41"/>
                  </a:lnTo>
                  <a:lnTo>
                    <a:pt x="127" y="28"/>
                  </a:lnTo>
                  <a:lnTo>
                    <a:pt x="148" y="18"/>
                  </a:lnTo>
                  <a:lnTo>
                    <a:pt x="170" y="10"/>
                  </a:lnTo>
                  <a:lnTo>
                    <a:pt x="193" y="4"/>
                  </a:lnTo>
                  <a:lnTo>
                    <a:pt x="205" y="2"/>
                  </a:lnTo>
                  <a:lnTo>
                    <a:pt x="217" y="1"/>
                  </a:lnTo>
                  <a:lnTo>
                    <a:pt x="230" y="0"/>
                  </a:lnTo>
                  <a:lnTo>
                    <a:pt x="241" y="0"/>
                  </a:lnTo>
                  <a:lnTo>
                    <a:pt x="241" y="43"/>
                  </a:lnTo>
                  <a:close/>
                  <a:moveTo>
                    <a:pt x="102" y="101"/>
                  </a:moveTo>
                  <a:lnTo>
                    <a:pt x="102" y="101"/>
                  </a:lnTo>
                  <a:lnTo>
                    <a:pt x="87" y="86"/>
                  </a:lnTo>
                  <a:lnTo>
                    <a:pt x="102" y="101"/>
                  </a:lnTo>
                  <a:close/>
                  <a:moveTo>
                    <a:pt x="102" y="101"/>
                  </a:moveTo>
                  <a:lnTo>
                    <a:pt x="90" y="115"/>
                  </a:lnTo>
                  <a:lnTo>
                    <a:pt x="78" y="131"/>
                  </a:lnTo>
                  <a:lnTo>
                    <a:pt x="69" y="146"/>
                  </a:lnTo>
                  <a:lnTo>
                    <a:pt x="61" y="164"/>
                  </a:lnTo>
                  <a:lnTo>
                    <a:pt x="53" y="182"/>
                  </a:lnTo>
                  <a:lnTo>
                    <a:pt x="49" y="201"/>
                  </a:lnTo>
                  <a:lnTo>
                    <a:pt x="45" y="221"/>
                  </a:lnTo>
                  <a:lnTo>
                    <a:pt x="44" y="241"/>
                  </a:lnTo>
                  <a:lnTo>
                    <a:pt x="0" y="241"/>
                  </a:lnTo>
                  <a:lnTo>
                    <a:pt x="1" y="228"/>
                  </a:lnTo>
                  <a:lnTo>
                    <a:pt x="1" y="216"/>
                  </a:lnTo>
                  <a:lnTo>
                    <a:pt x="4" y="204"/>
                  </a:lnTo>
                  <a:lnTo>
                    <a:pt x="5" y="192"/>
                  </a:lnTo>
                  <a:lnTo>
                    <a:pt x="12" y="169"/>
                  </a:lnTo>
                  <a:lnTo>
                    <a:pt x="19" y="147"/>
                  </a:lnTo>
                  <a:lnTo>
                    <a:pt x="30" y="126"/>
                  </a:lnTo>
                  <a:lnTo>
                    <a:pt x="42" y="106"/>
                  </a:lnTo>
                  <a:lnTo>
                    <a:pt x="56" y="87"/>
                  </a:lnTo>
                  <a:lnTo>
                    <a:pt x="71" y="71"/>
                  </a:lnTo>
                  <a:lnTo>
                    <a:pt x="102" y="101"/>
                  </a:lnTo>
                  <a:close/>
                  <a:moveTo>
                    <a:pt x="44" y="241"/>
                  </a:moveTo>
                  <a:lnTo>
                    <a:pt x="44" y="930"/>
                  </a:lnTo>
                  <a:lnTo>
                    <a:pt x="0" y="930"/>
                  </a:lnTo>
                  <a:lnTo>
                    <a:pt x="0" y="241"/>
                  </a:lnTo>
                  <a:lnTo>
                    <a:pt x="44" y="241"/>
                  </a:lnTo>
                  <a:close/>
                  <a:moveTo>
                    <a:pt x="44" y="930"/>
                  </a:moveTo>
                  <a:lnTo>
                    <a:pt x="45" y="950"/>
                  </a:lnTo>
                  <a:lnTo>
                    <a:pt x="49" y="970"/>
                  </a:lnTo>
                  <a:lnTo>
                    <a:pt x="53" y="989"/>
                  </a:lnTo>
                  <a:lnTo>
                    <a:pt x="61" y="1007"/>
                  </a:lnTo>
                  <a:lnTo>
                    <a:pt x="69" y="1025"/>
                  </a:lnTo>
                  <a:lnTo>
                    <a:pt x="78" y="1040"/>
                  </a:lnTo>
                  <a:lnTo>
                    <a:pt x="90" y="1056"/>
                  </a:lnTo>
                  <a:lnTo>
                    <a:pt x="102" y="1070"/>
                  </a:lnTo>
                  <a:lnTo>
                    <a:pt x="71" y="1101"/>
                  </a:lnTo>
                  <a:lnTo>
                    <a:pt x="56" y="1084"/>
                  </a:lnTo>
                  <a:lnTo>
                    <a:pt x="42" y="1065"/>
                  </a:lnTo>
                  <a:lnTo>
                    <a:pt x="30" y="1045"/>
                  </a:lnTo>
                  <a:lnTo>
                    <a:pt x="19" y="1025"/>
                  </a:lnTo>
                  <a:lnTo>
                    <a:pt x="12" y="1002"/>
                  </a:lnTo>
                  <a:lnTo>
                    <a:pt x="5" y="979"/>
                  </a:lnTo>
                  <a:lnTo>
                    <a:pt x="4" y="967"/>
                  </a:lnTo>
                  <a:lnTo>
                    <a:pt x="1" y="955"/>
                  </a:lnTo>
                  <a:lnTo>
                    <a:pt x="1" y="943"/>
                  </a:lnTo>
                  <a:lnTo>
                    <a:pt x="0" y="930"/>
                  </a:lnTo>
                  <a:lnTo>
                    <a:pt x="44" y="930"/>
                  </a:lnTo>
                  <a:close/>
                  <a:moveTo>
                    <a:pt x="102" y="1070"/>
                  </a:moveTo>
                  <a:lnTo>
                    <a:pt x="102" y="1070"/>
                  </a:lnTo>
                  <a:lnTo>
                    <a:pt x="87" y="1085"/>
                  </a:lnTo>
                  <a:lnTo>
                    <a:pt x="102" y="1070"/>
                  </a:lnTo>
                  <a:close/>
                  <a:moveTo>
                    <a:pt x="102" y="1070"/>
                  </a:moveTo>
                  <a:lnTo>
                    <a:pt x="116" y="1083"/>
                  </a:lnTo>
                  <a:lnTo>
                    <a:pt x="131" y="1095"/>
                  </a:lnTo>
                  <a:lnTo>
                    <a:pt x="148" y="1104"/>
                  </a:lnTo>
                  <a:lnTo>
                    <a:pt x="165" y="1112"/>
                  </a:lnTo>
                  <a:lnTo>
                    <a:pt x="183" y="1119"/>
                  </a:lnTo>
                  <a:lnTo>
                    <a:pt x="202" y="1124"/>
                  </a:lnTo>
                  <a:lnTo>
                    <a:pt x="221" y="1127"/>
                  </a:lnTo>
                  <a:lnTo>
                    <a:pt x="241" y="1128"/>
                  </a:lnTo>
                  <a:lnTo>
                    <a:pt x="241" y="1171"/>
                  </a:lnTo>
                  <a:lnTo>
                    <a:pt x="230" y="1171"/>
                  </a:lnTo>
                  <a:lnTo>
                    <a:pt x="217" y="1170"/>
                  </a:lnTo>
                  <a:lnTo>
                    <a:pt x="205" y="1169"/>
                  </a:lnTo>
                  <a:lnTo>
                    <a:pt x="193" y="1167"/>
                  </a:lnTo>
                  <a:lnTo>
                    <a:pt x="170" y="1161"/>
                  </a:lnTo>
                  <a:lnTo>
                    <a:pt x="148" y="1153"/>
                  </a:lnTo>
                  <a:lnTo>
                    <a:pt x="127" y="1143"/>
                  </a:lnTo>
                  <a:lnTo>
                    <a:pt x="107" y="1130"/>
                  </a:lnTo>
                  <a:lnTo>
                    <a:pt x="89" y="1117"/>
                  </a:lnTo>
                  <a:lnTo>
                    <a:pt x="71" y="1101"/>
                  </a:lnTo>
                  <a:lnTo>
                    <a:pt x="102" y="1070"/>
                  </a:lnTo>
                  <a:close/>
                </a:path>
              </a:pathLst>
            </a:custGeom>
            <a:solidFill>
              <a:srgbClr val="B723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6653" tIns="58327" rIns="116653" bIns="58327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56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0" name="Freeform 51"/>
            <p:cNvSpPr>
              <a:spLocks/>
            </p:cNvSpPr>
            <p:nvPr/>
          </p:nvSpPr>
          <p:spPr bwMode="auto">
            <a:xfrm>
              <a:off x="2198" y="835"/>
              <a:ext cx="1066" cy="253"/>
            </a:xfrm>
            <a:custGeom>
              <a:avLst/>
              <a:gdLst>
                <a:gd name="T0" fmla="*/ 4046 w 4264"/>
                <a:gd name="T1" fmla="*/ 1011 h 1011"/>
                <a:gd name="T2" fmla="*/ 4090 w 4264"/>
                <a:gd name="T3" fmla="*/ 1008 h 1011"/>
                <a:gd name="T4" fmla="*/ 4132 w 4264"/>
                <a:gd name="T5" fmla="*/ 995 h 1011"/>
                <a:gd name="T6" fmla="*/ 4168 w 4264"/>
                <a:gd name="T7" fmla="*/ 974 h 1011"/>
                <a:gd name="T8" fmla="*/ 4200 w 4264"/>
                <a:gd name="T9" fmla="*/ 947 h 1011"/>
                <a:gd name="T10" fmla="*/ 4227 w 4264"/>
                <a:gd name="T11" fmla="*/ 915 h 1011"/>
                <a:gd name="T12" fmla="*/ 4247 w 4264"/>
                <a:gd name="T13" fmla="*/ 879 h 1011"/>
                <a:gd name="T14" fmla="*/ 4260 w 4264"/>
                <a:gd name="T15" fmla="*/ 837 h 1011"/>
                <a:gd name="T16" fmla="*/ 4264 w 4264"/>
                <a:gd name="T17" fmla="*/ 793 h 1011"/>
                <a:gd name="T18" fmla="*/ 4263 w 4264"/>
                <a:gd name="T19" fmla="*/ 195 h 1011"/>
                <a:gd name="T20" fmla="*/ 4255 w 4264"/>
                <a:gd name="T21" fmla="*/ 153 h 1011"/>
                <a:gd name="T22" fmla="*/ 4238 w 4264"/>
                <a:gd name="T23" fmla="*/ 113 h 1011"/>
                <a:gd name="T24" fmla="*/ 4214 w 4264"/>
                <a:gd name="T25" fmla="*/ 79 h 1011"/>
                <a:gd name="T26" fmla="*/ 4185 w 4264"/>
                <a:gd name="T27" fmla="*/ 50 h 1011"/>
                <a:gd name="T28" fmla="*/ 4151 w 4264"/>
                <a:gd name="T29" fmla="*/ 26 h 1011"/>
                <a:gd name="T30" fmla="*/ 4112 w 4264"/>
                <a:gd name="T31" fmla="*/ 9 h 1011"/>
                <a:gd name="T32" fmla="*/ 4069 w 4264"/>
                <a:gd name="T33" fmla="*/ 1 h 1011"/>
                <a:gd name="T34" fmla="*/ 217 w 4264"/>
                <a:gd name="T35" fmla="*/ 0 h 1011"/>
                <a:gd name="T36" fmla="*/ 173 w 4264"/>
                <a:gd name="T37" fmla="*/ 4 h 1011"/>
                <a:gd name="T38" fmla="*/ 133 w 4264"/>
                <a:gd name="T39" fmla="*/ 17 h 1011"/>
                <a:gd name="T40" fmla="*/ 97 w 4264"/>
                <a:gd name="T41" fmla="*/ 37 h 1011"/>
                <a:gd name="T42" fmla="*/ 63 w 4264"/>
                <a:gd name="T43" fmla="*/ 64 h 1011"/>
                <a:gd name="T44" fmla="*/ 37 w 4264"/>
                <a:gd name="T45" fmla="*/ 96 h 1011"/>
                <a:gd name="T46" fmla="*/ 17 w 4264"/>
                <a:gd name="T47" fmla="*/ 132 h 1011"/>
                <a:gd name="T48" fmla="*/ 4 w 4264"/>
                <a:gd name="T49" fmla="*/ 174 h 1011"/>
                <a:gd name="T50" fmla="*/ 0 w 4264"/>
                <a:gd name="T51" fmla="*/ 218 h 1011"/>
                <a:gd name="T52" fmla="*/ 1 w 4264"/>
                <a:gd name="T53" fmla="*/ 816 h 1011"/>
                <a:gd name="T54" fmla="*/ 10 w 4264"/>
                <a:gd name="T55" fmla="*/ 859 h 1011"/>
                <a:gd name="T56" fmla="*/ 27 w 4264"/>
                <a:gd name="T57" fmla="*/ 898 h 1011"/>
                <a:gd name="T58" fmla="*/ 49 w 4264"/>
                <a:gd name="T59" fmla="*/ 932 h 1011"/>
                <a:gd name="T60" fmla="*/ 79 w 4264"/>
                <a:gd name="T61" fmla="*/ 961 h 1011"/>
                <a:gd name="T62" fmla="*/ 114 w 4264"/>
                <a:gd name="T63" fmla="*/ 985 h 1011"/>
                <a:gd name="T64" fmla="*/ 153 w 4264"/>
                <a:gd name="T65" fmla="*/ 1002 h 1011"/>
                <a:gd name="T66" fmla="*/ 196 w 4264"/>
                <a:gd name="T67" fmla="*/ 1010 h 10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4264" h="1011">
                  <a:moveTo>
                    <a:pt x="217" y="1011"/>
                  </a:moveTo>
                  <a:lnTo>
                    <a:pt x="4046" y="1011"/>
                  </a:lnTo>
                  <a:lnTo>
                    <a:pt x="4069" y="1010"/>
                  </a:lnTo>
                  <a:lnTo>
                    <a:pt x="4090" y="1008"/>
                  </a:lnTo>
                  <a:lnTo>
                    <a:pt x="4112" y="1002"/>
                  </a:lnTo>
                  <a:lnTo>
                    <a:pt x="4132" y="995"/>
                  </a:lnTo>
                  <a:lnTo>
                    <a:pt x="4151" y="985"/>
                  </a:lnTo>
                  <a:lnTo>
                    <a:pt x="4168" y="974"/>
                  </a:lnTo>
                  <a:lnTo>
                    <a:pt x="4185" y="961"/>
                  </a:lnTo>
                  <a:lnTo>
                    <a:pt x="4200" y="947"/>
                  </a:lnTo>
                  <a:lnTo>
                    <a:pt x="4214" y="932"/>
                  </a:lnTo>
                  <a:lnTo>
                    <a:pt x="4227" y="915"/>
                  </a:lnTo>
                  <a:lnTo>
                    <a:pt x="4238" y="898"/>
                  </a:lnTo>
                  <a:lnTo>
                    <a:pt x="4247" y="879"/>
                  </a:lnTo>
                  <a:lnTo>
                    <a:pt x="4255" y="859"/>
                  </a:lnTo>
                  <a:lnTo>
                    <a:pt x="4260" y="837"/>
                  </a:lnTo>
                  <a:lnTo>
                    <a:pt x="4263" y="816"/>
                  </a:lnTo>
                  <a:lnTo>
                    <a:pt x="4264" y="793"/>
                  </a:lnTo>
                  <a:lnTo>
                    <a:pt x="4264" y="218"/>
                  </a:lnTo>
                  <a:lnTo>
                    <a:pt x="4263" y="195"/>
                  </a:lnTo>
                  <a:lnTo>
                    <a:pt x="4260" y="174"/>
                  </a:lnTo>
                  <a:lnTo>
                    <a:pt x="4255" y="153"/>
                  </a:lnTo>
                  <a:lnTo>
                    <a:pt x="4247" y="132"/>
                  </a:lnTo>
                  <a:lnTo>
                    <a:pt x="4238" y="113"/>
                  </a:lnTo>
                  <a:lnTo>
                    <a:pt x="4227" y="96"/>
                  </a:lnTo>
                  <a:lnTo>
                    <a:pt x="4214" y="79"/>
                  </a:lnTo>
                  <a:lnTo>
                    <a:pt x="4200" y="64"/>
                  </a:lnTo>
                  <a:lnTo>
                    <a:pt x="4185" y="50"/>
                  </a:lnTo>
                  <a:lnTo>
                    <a:pt x="4168" y="37"/>
                  </a:lnTo>
                  <a:lnTo>
                    <a:pt x="4151" y="26"/>
                  </a:lnTo>
                  <a:lnTo>
                    <a:pt x="4132" y="17"/>
                  </a:lnTo>
                  <a:lnTo>
                    <a:pt x="4112" y="9"/>
                  </a:lnTo>
                  <a:lnTo>
                    <a:pt x="4090" y="4"/>
                  </a:lnTo>
                  <a:lnTo>
                    <a:pt x="4069" y="1"/>
                  </a:lnTo>
                  <a:lnTo>
                    <a:pt x="4046" y="0"/>
                  </a:lnTo>
                  <a:lnTo>
                    <a:pt x="217" y="0"/>
                  </a:lnTo>
                  <a:lnTo>
                    <a:pt x="196" y="1"/>
                  </a:lnTo>
                  <a:lnTo>
                    <a:pt x="173" y="4"/>
                  </a:lnTo>
                  <a:lnTo>
                    <a:pt x="153" y="9"/>
                  </a:lnTo>
                  <a:lnTo>
                    <a:pt x="133" y="17"/>
                  </a:lnTo>
                  <a:lnTo>
                    <a:pt x="114" y="26"/>
                  </a:lnTo>
                  <a:lnTo>
                    <a:pt x="97" y="37"/>
                  </a:lnTo>
                  <a:lnTo>
                    <a:pt x="79" y="50"/>
                  </a:lnTo>
                  <a:lnTo>
                    <a:pt x="63" y="64"/>
                  </a:lnTo>
                  <a:lnTo>
                    <a:pt x="49" y="79"/>
                  </a:lnTo>
                  <a:lnTo>
                    <a:pt x="37" y="96"/>
                  </a:lnTo>
                  <a:lnTo>
                    <a:pt x="27" y="113"/>
                  </a:lnTo>
                  <a:lnTo>
                    <a:pt x="17" y="132"/>
                  </a:lnTo>
                  <a:lnTo>
                    <a:pt x="10" y="153"/>
                  </a:lnTo>
                  <a:lnTo>
                    <a:pt x="4" y="174"/>
                  </a:lnTo>
                  <a:lnTo>
                    <a:pt x="1" y="195"/>
                  </a:lnTo>
                  <a:lnTo>
                    <a:pt x="0" y="218"/>
                  </a:lnTo>
                  <a:lnTo>
                    <a:pt x="0" y="793"/>
                  </a:lnTo>
                  <a:lnTo>
                    <a:pt x="1" y="816"/>
                  </a:lnTo>
                  <a:lnTo>
                    <a:pt x="4" y="837"/>
                  </a:lnTo>
                  <a:lnTo>
                    <a:pt x="10" y="859"/>
                  </a:lnTo>
                  <a:lnTo>
                    <a:pt x="17" y="879"/>
                  </a:lnTo>
                  <a:lnTo>
                    <a:pt x="27" y="898"/>
                  </a:lnTo>
                  <a:lnTo>
                    <a:pt x="37" y="915"/>
                  </a:lnTo>
                  <a:lnTo>
                    <a:pt x="49" y="932"/>
                  </a:lnTo>
                  <a:lnTo>
                    <a:pt x="63" y="947"/>
                  </a:lnTo>
                  <a:lnTo>
                    <a:pt x="79" y="961"/>
                  </a:lnTo>
                  <a:lnTo>
                    <a:pt x="97" y="974"/>
                  </a:lnTo>
                  <a:lnTo>
                    <a:pt x="114" y="985"/>
                  </a:lnTo>
                  <a:lnTo>
                    <a:pt x="133" y="995"/>
                  </a:lnTo>
                  <a:lnTo>
                    <a:pt x="153" y="1002"/>
                  </a:lnTo>
                  <a:lnTo>
                    <a:pt x="173" y="1008"/>
                  </a:lnTo>
                  <a:lnTo>
                    <a:pt x="196" y="1010"/>
                  </a:lnTo>
                  <a:lnTo>
                    <a:pt x="217" y="1011"/>
                  </a:lnTo>
                  <a:close/>
                </a:path>
              </a:pathLst>
            </a:custGeom>
            <a:solidFill>
              <a:srgbClr val="B723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6653" tIns="58327" rIns="116653" bIns="58327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56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1" name="Rectangle 52"/>
            <p:cNvSpPr>
              <a:spLocks noChangeArrowheads="1"/>
            </p:cNvSpPr>
            <p:nvPr/>
          </p:nvSpPr>
          <p:spPr bwMode="auto">
            <a:xfrm>
              <a:off x="2236" y="859"/>
              <a:ext cx="859" cy="19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1166567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az-Latn-AZ" altLang="ru-RU" sz="2552" b="1" i="0" u="none" strike="noStrike" kern="1200" cap="none" spc="0" normalizeH="0" baseline="0" noProof="0" dirty="0">
                  <a:ln>
                    <a:noFill/>
                  </a:ln>
                  <a:solidFill>
                    <a:srgbClr val="FEFEFE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rPr>
                <a:t>Tez-tez KRİ</a:t>
              </a:r>
              <a:endParaRPr kumimoji="0" lang="ru-RU" altLang="ru-RU" sz="2297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pic>
          <p:nvPicPr>
            <p:cNvPr id="10295" name="Picture 55"/>
            <p:cNvPicPr>
              <a:picLocks noChangeAspect="1" noChangeArrowheads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702" t="3702" r="3702" b="3702"/>
            <a:stretch/>
          </p:blipFill>
          <p:spPr bwMode="auto">
            <a:xfrm>
              <a:off x="308" y="218"/>
              <a:ext cx="879" cy="878"/>
            </a:xfrm>
            <a:prstGeom prst="ellipse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62" name="Rectangle 11"/>
          <p:cNvSpPr>
            <a:spLocks noChangeArrowheads="1"/>
          </p:cNvSpPr>
          <p:nvPr/>
        </p:nvSpPr>
        <p:spPr bwMode="auto">
          <a:xfrm>
            <a:off x="4037054" y="327577"/>
            <a:ext cx="6886604" cy="7125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116656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2315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88,1% </a:t>
            </a:r>
            <a:r>
              <a:rPr kumimoji="0" lang="az-Latn-AZ" altLang="ru-RU" sz="2315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tez –tez xəstələnən uşaqlarda bağırsaq mikroflorasının pozulması aşkar edilib</a:t>
            </a:r>
            <a:r>
              <a:rPr kumimoji="0" lang="ru-RU" altLang="ru-RU" sz="2315" b="1" i="0" u="none" strike="noStrike" kern="1200" cap="none" spc="0" normalizeH="0" baseline="3000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1</a:t>
            </a:r>
          </a:p>
        </p:txBody>
      </p:sp>
      <p:sp>
        <p:nvSpPr>
          <p:cNvPr id="54" name="Freeform 16"/>
          <p:cNvSpPr>
            <a:spLocks/>
          </p:cNvSpPr>
          <p:nvPr/>
        </p:nvSpPr>
        <p:spPr bwMode="auto">
          <a:xfrm>
            <a:off x="1598989" y="2287742"/>
            <a:ext cx="2098133" cy="1952317"/>
          </a:xfrm>
          <a:custGeom>
            <a:avLst/>
            <a:gdLst>
              <a:gd name="T0" fmla="*/ 1155 w 3850"/>
              <a:gd name="T1" fmla="*/ 2719 h 3071"/>
              <a:gd name="T2" fmla="*/ 1280 w 3850"/>
              <a:gd name="T3" fmla="*/ 2714 h 3071"/>
              <a:gd name="T4" fmla="*/ 1403 w 3850"/>
              <a:gd name="T5" fmla="*/ 2696 h 3071"/>
              <a:gd name="T6" fmla="*/ 1522 w 3850"/>
              <a:gd name="T7" fmla="*/ 2664 h 3071"/>
              <a:gd name="T8" fmla="*/ 1613 w 3850"/>
              <a:gd name="T9" fmla="*/ 2716 h 3071"/>
              <a:gd name="T10" fmla="*/ 1701 w 3850"/>
              <a:gd name="T11" fmla="*/ 2792 h 3071"/>
              <a:gd name="T12" fmla="*/ 1797 w 3850"/>
              <a:gd name="T13" fmla="*/ 2859 h 3071"/>
              <a:gd name="T14" fmla="*/ 1899 w 3850"/>
              <a:gd name="T15" fmla="*/ 2920 h 3071"/>
              <a:gd name="T16" fmla="*/ 2006 w 3850"/>
              <a:gd name="T17" fmla="*/ 2969 h 3071"/>
              <a:gd name="T18" fmla="*/ 2120 w 3850"/>
              <a:gd name="T19" fmla="*/ 3011 h 3071"/>
              <a:gd name="T20" fmla="*/ 2237 w 3850"/>
              <a:gd name="T21" fmla="*/ 3041 h 3071"/>
              <a:gd name="T22" fmla="*/ 2360 w 3850"/>
              <a:gd name="T23" fmla="*/ 3062 h 3071"/>
              <a:gd name="T24" fmla="*/ 2594 w 3850"/>
              <a:gd name="T25" fmla="*/ 3069 h 3071"/>
              <a:gd name="T26" fmla="*/ 2854 w 3850"/>
              <a:gd name="T27" fmla="*/ 3028 h 3071"/>
              <a:gd name="T28" fmla="*/ 3096 w 3850"/>
              <a:gd name="T29" fmla="*/ 2939 h 3071"/>
              <a:gd name="T30" fmla="*/ 3315 w 3850"/>
              <a:gd name="T31" fmla="*/ 2806 h 3071"/>
              <a:gd name="T32" fmla="*/ 3503 w 3850"/>
              <a:gd name="T33" fmla="*/ 2633 h 3071"/>
              <a:gd name="T34" fmla="*/ 3657 w 3850"/>
              <a:gd name="T35" fmla="*/ 2428 h 3071"/>
              <a:gd name="T36" fmla="*/ 3769 w 3850"/>
              <a:gd name="T37" fmla="*/ 2192 h 3071"/>
              <a:gd name="T38" fmla="*/ 3834 w 3850"/>
              <a:gd name="T39" fmla="*/ 1933 h 3071"/>
              <a:gd name="T40" fmla="*/ 3847 w 3850"/>
              <a:gd name="T41" fmla="*/ 1676 h 3071"/>
              <a:gd name="T42" fmla="*/ 3813 w 3850"/>
              <a:gd name="T43" fmla="*/ 1431 h 3071"/>
              <a:gd name="T44" fmla="*/ 3736 w 3850"/>
              <a:gd name="T45" fmla="*/ 1203 h 3071"/>
              <a:gd name="T46" fmla="*/ 3620 w 3850"/>
              <a:gd name="T47" fmla="*/ 993 h 3071"/>
              <a:gd name="T48" fmla="*/ 3470 w 3850"/>
              <a:gd name="T49" fmla="*/ 808 h 3071"/>
              <a:gd name="T50" fmla="*/ 3288 w 3850"/>
              <a:gd name="T51" fmla="*/ 653 h 3071"/>
              <a:gd name="T52" fmla="*/ 3080 w 3850"/>
              <a:gd name="T53" fmla="*/ 531 h 3071"/>
              <a:gd name="T54" fmla="*/ 2848 w 3850"/>
              <a:gd name="T55" fmla="*/ 448 h 3071"/>
              <a:gd name="T56" fmla="*/ 2730 w 3850"/>
              <a:gd name="T57" fmla="*/ 370 h 3071"/>
              <a:gd name="T58" fmla="*/ 2648 w 3850"/>
              <a:gd name="T59" fmla="*/ 291 h 3071"/>
              <a:gd name="T60" fmla="*/ 2560 w 3850"/>
              <a:gd name="T61" fmla="*/ 220 h 3071"/>
              <a:gd name="T62" fmla="*/ 2463 w 3850"/>
              <a:gd name="T63" fmla="*/ 157 h 3071"/>
              <a:gd name="T64" fmla="*/ 2360 w 3850"/>
              <a:gd name="T65" fmla="*/ 104 h 3071"/>
              <a:gd name="T66" fmla="*/ 2252 w 3850"/>
              <a:gd name="T67" fmla="*/ 61 h 3071"/>
              <a:gd name="T68" fmla="*/ 2138 w 3850"/>
              <a:gd name="T69" fmla="*/ 29 h 3071"/>
              <a:gd name="T70" fmla="*/ 2019 w 3850"/>
              <a:gd name="T71" fmla="*/ 8 h 3071"/>
              <a:gd name="T72" fmla="*/ 1881 w 3850"/>
              <a:gd name="T73" fmla="*/ 0 h 3071"/>
              <a:gd name="T74" fmla="*/ 1740 w 3850"/>
              <a:gd name="T75" fmla="*/ 8 h 3071"/>
              <a:gd name="T76" fmla="*/ 1604 w 3850"/>
              <a:gd name="T77" fmla="*/ 32 h 3071"/>
              <a:gd name="T78" fmla="*/ 1473 w 3850"/>
              <a:gd name="T79" fmla="*/ 72 h 3071"/>
              <a:gd name="T80" fmla="*/ 1349 w 3850"/>
              <a:gd name="T81" fmla="*/ 125 h 3071"/>
              <a:gd name="T82" fmla="*/ 1232 w 3850"/>
              <a:gd name="T83" fmla="*/ 194 h 3071"/>
              <a:gd name="T84" fmla="*/ 1124 w 3850"/>
              <a:gd name="T85" fmla="*/ 274 h 3071"/>
              <a:gd name="T86" fmla="*/ 1027 w 3850"/>
              <a:gd name="T87" fmla="*/ 367 h 3071"/>
              <a:gd name="T88" fmla="*/ 860 w 3850"/>
              <a:gd name="T89" fmla="*/ 421 h 3071"/>
              <a:gd name="T90" fmla="*/ 679 w 3850"/>
              <a:gd name="T91" fmla="*/ 488 h 3071"/>
              <a:gd name="T92" fmla="*/ 512 w 3850"/>
              <a:gd name="T93" fmla="*/ 583 h 3071"/>
              <a:gd name="T94" fmla="*/ 363 w 3850"/>
              <a:gd name="T95" fmla="*/ 704 h 3071"/>
              <a:gd name="T96" fmla="*/ 235 w 3850"/>
              <a:gd name="T97" fmla="*/ 847 h 3071"/>
              <a:gd name="T98" fmla="*/ 133 w 3850"/>
              <a:gd name="T99" fmla="*/ 1010 h 3071"/>
              <a:gd name="T100" fmla="*/ 57 w 3850"/>
              <a:gd name="T101" fmla="*/ 1191 h 3071"/>
              <a:gd name="T102" fmla="*/ 12 w 3850"/>
              <a:gd name="T103" fmla="*/ 1387 h 3071"/>
              <a:gd name="T104" fmla="*/ 2 w 3850"/>
              <a:gd name="T105" fmla="*/ 1616 h 3071"/>
              <a:gd name="T106" fmla="*/ 38 w 3850"/>
              <a:gd name="T107" fmla="*/ 1845 h 3071"/>
              <a:gd name="T108" fmla="*/ 116 w 3850"/>
              <a:gd name="T109" fmla="*/ 2058 h 3071"/>
              <a:gd name="T110" fmla="*/ 233 w 3850"/>
              <a:gd name="T111" fmla="*/ 2249 h 3071"/>
              <a:gd name="T112" fmla="*/ 384 w 3850"/>
              <a:gd name="T113" fmla="*/ 2416 h 3071"/>
              <a:gd name="T114" fmla="*/ 565 w 3850"/>
              <a:gd name="T115" fmla="*/ 2551 h 3071"/>
              <a:gd name="T116" fmla="*/ 771 w 3850"/>
              <a:gd name="T117" fmla="*/ 2649 h 3071"/>
              <a:gd name="T118" fmla="*/ 999 w 3850"/>
              <a:gd name="T119" fmla="*/ 2707 h 307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3850" h="3071">
                <a:moveTo>
                  <a:pt x="1058" y="2714"/>
                </a:moveTo>
                <a:lnTo>
                  <a:pt x="1090" y="2716"/>
                </a:lnTo>
                <a:lnTo>
                  <a:pt x="1122" y="2717"/>
                </a:lnTo>
                <a:lnTo>
                  <a:pt x="1155" y="2719"/>
                </a:lnTo>
                <a:lnTo>
                  <a:pt x="1186" y="2719"/>
                </a:lnTo>
                <a:lnTo>
                  <a:pt x="1218" y="2717"/>
                </a:lnTo>
                <a:lnTo>
                  <a:pt x="1250" y="2716"/>
                </a:lnTo>
                <a:lnTo>
                  <a:pt x="1280" y="2714"/>
                </a:lnTo>
                <a:lnTo>
                  <a:pt x="1311" y="2710"/>
                </a:lnTo>
                <a:lnTo>
                  <a:pt x="1342" y="2707"/>
                </a:lnTo>
                <a:lnTo>
                  <a:pt x="1373" y="2701"/>
                </a:lnTo>
                <a:lnTo>
                  <a:pt x="1403" y="2696"/>
                </a:lnTo>
                <a:lnTo>
                  <a:pt x="1433" y="2689"/>
                </a:lnTo>
                <a:lnTo>
                  <a:pt x="1464" y="2682"/>
                </a:lnTo>
                <a:lnTo>
                  <a:pt x="1493" y="2674"/>
                </a:lnTo>
                <a:lnTo>
                  <a:pt x="1522" y="2664"/>
                </a:lnTo>
                <a:lnTo>
                  <a:pt x="1551" y="2655"/>
                </a:lnTo>
                <a:lnTo>
                  <a:pt x="1571" y="2676"/>
                </a:lnTo>
                <a:lnTo>
                  <a:pt x="1591" y="2696"/>
                </a:lnTo>
                <a:lnTo>
                  <a:pt x="1613" y="2716"/>
                </a:lnTo>
                <a:lnTo>
                  <a:pt x="1634" y="2736"/>
                </a:lnTo>
                <a:lnTo>
                  <a:pt x="1656" y="2755"/>
                </a:lnTo>
                <a:lnTo>
                  <a:pt x="1679" y="2774"/>
                </a:lnTo>
                <a:lnTo>
                  <a:pt x="1701" y="2792"/>
                </a:lnTo>
                <a:lnTo>
                  <a:pt x="1725" y="2810"/>
                </a:lnTo>
                <a:lnTo>
                  <a:pt x="1749" y="2827"/>
                </a:lnTo>
                <a:lnTo>
                  <a:pt x="1773" y="2844"/>
                </a:lnTo>
                <a:lnTo>
                  <a:pt x="1797" y="2859"/>
                </a:lnTo>
                <a:lnTo>
                  <a:pt x="1822" y="2876"/>
                </a:lnTo>
                <a:lnTo>
                  <a:pt x="1848" y="2890"/>
                </a:lnTo>
                <a:lnTo>
                  <a:pt x="1873" y="2905"/>
                </a:lnTo>
                <a:lnTo>
                  <a:pt x="1899" y="2920"/>
                </a:lnTo>
                <a:lnTo>
                  <a:pt x="1926" y="2933"/>
                </a:lnTo>
                <a:lnTo>
                  <a:pt x="1952" y="2946"/>
                </a:lnTo>
                <a:lnTo>
                  <a:pt x="1979" y="2957"/>
                </a:lnTo>
                <a:lnTo>
                  <a:pt x="2006" y="2969"/>
                </a:lnTo>
                <a:lnTo>
                  <a:pt x="2035" y="2981"/>
                </a:lnTo>
                <a:lnTo>
                  <a:pt x="2063" y="2991"/>
                </a:lnTo>
                <a:lnTo>
                  <a:pt x="2092" y="3001"/>
                </a:lnTo>
                <a:lnTo>
                  <a:pt x="2120" y="3011"/>
                </a:lnTo>
                <a:lnTo>
                  <a:pt x="2148" y="3019"/>
                </a:lnTo>
                <a:lnTo>
                  <a:pt x="2178" y="3027"/>
                </a:lnTo>
                <a:lnTo>
                  <a:pt x="2207" y="3034"/>
                </a:lnTo>
                <a:lnTo>
                  <a:pt x="2237" y="3041"/>
                </a:lnTo>
                <a:lnTo>
                  <a:pt x="2268" y="3047"/>
                </a:lnTo>
                <a:lnTo>
                  <a:pt x="2298" y="3052"/>
                </a:lnTo>
                <a:lnTo>
                  <a:pt x="2328" y="3057"/>
                </a:lnTo>
                <a:lnTo>
                  <a:pt x="2360" y="3062"/>
                </a:lnTo>
                <a:lnTo>
                  <a:pt x="2391" y="3065"/>
                </a:lnTo>
                <a:lnTo>
                  <a:pt x="2459" y="3070"/>
                </a:lnTo>
                <a:lnTo>
                  <a:pt x="2527" y="3071"/>
                </a:lnTo>
                <a:lnTo>
                  <a:pt x="2594" y="3069"/>
                </a:lnTo>
                <a:lnTo>
                  <a:pt x="2660" y="3064"/>
                </a:lnTo>
                <a:lnTo>
                  <a:pt x="2725" y="3054"/>
                </a:lnTo>
                <a:lnTo>
                  <a:pt x="2790" y="3043"/>
                </a:lnTo>
                <a:lnTo>
                  <a:pt x="2854" y="3028"/>
                </a:lnTo>
                <a:lnTo>
                  <a:pt x="2917" y="3010"/>
                </a:lnTo>
                <a:lnTo>
                  <a:pt x="2978" y="2989"/>
                </a:lnTo>
                <a:lnTo>
                  <a:pt x="3037" y="2965"/>
                </a:lnTo>
                <a:lnTo>
                  <a:pt x="3096" y="2939"/>
                </a:lnTo>
                <a:lnTo>
                  <a:pt x="3153" y="2909"/>
                </a:lnTo>
                <a:lnTo>
                  <a:pt x="3209" y="2877"/>
                </a:lnTo>
                <a:lnTo>
                  <a:pt x="3263" y="2843"/>
                </a:lnTo>
                <a:lnTo>
                  <a:pt x="3315" y="2806"/>
                </a:lnTo>
                <a:lnTo>
                  <a:pt x="3365" y="2766"/>
                </a:lnTo>
                <a:lnTo>
                  <a:pt x="3413" y="2725"/>
                </a:lnTo>
                <a:lnTo>
                  <a:pt x="3459" y="2680"/>
                </a:lnTo>
                <a:lnTo>
                  <a:pt x="3503" y="2633"/>
                </a:lnTo>
                <a:lnTo>
                  <a:pt x="3546" y="2585"/>
                </a:lnTo>
                <a:lnTo>
                  <a:pt x="3585" y="2535"/>
                </a:lnTo>
                <a:lnTo>
                  <a:pt x="3623" y="2482"/>
                </a:lnTo>
                <a:lnTo>
                  <a:pt x="3657" y="2428"/>
                </a:lnTo>
                <a:lnTo>
                  <a:pt x="3690" y="2372"/>
                </a:lnTo>
                <a:lnTo>
                  <a:pt x="3718" y="2314"/>
                </a:lnTo>
                <a:lnTo>
                  <a:pt x="3745" y="2254"/>
                </a:lnTo>
                <a:lnTo>
                  <a:pt x="3769" y="2192"/>
                </a:lnTo>
                <a:lnTo>
                  <a:pt x="3790" y="2130"/>
                </a:lnTo>
                <a:lnTo>
                  <a:pt x="3808" y="2066"/>
                </a:lnTo>
                <a:lnTo>
                  <a:pt x="3824" y="2001"/>
                </a:lnTo>
                <a:lnTo>
                  <a:pt x="3834" y="1933"/>
                </a:lnTo>
                <a:lnTo>
                  <a:pt x="3842" y="1866"/>
                </a:lnTo>
                <a:lnTo>
                  <a:pt x="3847" y="1802"/>
                </a:lnTo>
                <a:lnTo>
                  <a:pt x="3850" y="1738"/>
                </a:lnTo>
                <a:lnTo>
                  <a:pt x="3847" y="1676"/>
                </a:lnTo>
                <a:lnTo>
                  <a:pt x="3844" y="1613"/>
                </a:lnTo>
                <a:lnTo>
                  <a:pt x="3837" y="1551"/>
                </a:lnTo>
                <a:lnTo>
                  <a:pt x="3826" y="1491"/>
                </a:lnTo>
                <a:lnTo>
                  <a:pt x="3813" y="1431"/>
                </a:lnTo>
                <a:lnTo>
                  <a:pt x="3798" y="1373"/>
                </a:lnTo>
                <a:lnTo>
                  <a:pt x="3780" y="1315"/>
                </a:lnTo>
                <a:lnTo>
                  <a:pt x="3760" y="1258"/>
                </a:lnTo>
                <a:lnTo>
                  <a:pt x="3736" y="1203"/>
                </a:lnTo>
                <a:lnTo>
                  <a:pt x="3711" y="1148"/>
                </a:lnTo>
                <a:lnTo>
                  <a:pt x="3683" y="1095"/>
                </a:lnTo>
                <a:lnTo>
                  <a:pt x="3653" y="1043"/>
                </a:lnTo>
                <a:lnTo>
                  <a:pt x="3620" y="993"/>
                </a:lnTo>
                <a:lnTo>
                  <a:pt x="3586" y="944"/>
                </a:lnTo>
                <a:lnTo>
                  <a:pt x="3549" y="897"/>
                </a:lnTo>
                <a:lnTo>
                  <a:pt x="3510" y="851"/>
                </a:lnTo>
                <a:lnTo>
                  <a:pt x="3470" y="808"/>
                </a:lnTo>
                <a:lnTo>
                  <a:pt x="3427" y="766"/>
                </a:lnTo>
                <a:lnTo>
                  <a:pt x="3383" y="726"/>
                </a:lnTo>
                <a:lnTo>
                  <a:pt x="3336" y="688"/>
                </a:lnTo>
                <a:lnTo>
                  <a:pt x="3288" y="653"/>
                </a:lnTo>
                <a:lnTo>
                  <a:pt x="3238" y="618"/>
                </a:lnTo>
                <a:lnTo>
                  <a:pt x="3186" y="588"/>
                </a:lnTo>
                <a:lnTo>
                  <a:pt x="3134" y="558"/>
                </a:lnTo>
                <a:lnTo>
                  <a:pt x="3080" y="531"/>
                </a:lnTo>
                <a:lnTo>
                  <a:pt x="3023" y="506"/>
                </a:lnTo>
                <a:lnTo>
                  <a:pt x="2966" y="485"/>
                </a:lnTo>
                <a:lnTo>
                  <a:pt x="2907" y="465"/>
                </a:lnTo>
                <a:lnTo>
                  <a:pt x="2848" y="448"/>
                </a:lnTo>
                <a:lnTo>
                  <a:pt x="2787" y="434"/>
                </a:lnTo>
                <a:lnTo>
                  <a:pt x="2768" y="413"/>
                </a:lnTo>
                <a:lnTo>
                  <a:pt x="2750" y="391"/>
                </a:lnTo>
                <a:lnTo>
                  <a:pt x="2730" y="370"/>
                </a:lnTo>
                <a:lnTo>
                  <a:pt x="2711" y="349"/>
                </a:lnTo>
                <a:lnTo>
                  <a:pt x="2691" y="330"/>
                </a:lnTo>
                <a:lnTo>
                  <a:pt x="2670" y="310"/>
                </a:lnTo>
                <a:lnTo>
                  <a:pt x="2648" y="291"/>
                </a:lnTo>
                <a:lnTo>
                  <a:pt x="2627" y="272"/>
                </a:lnTo>
                <a:lnTo>
                  <a:pt x="2605" y="254"/>
                </a:lnTo>
                <a:lnTo>
                  <a:pt x="2582" y="236"/>
                </a:lnTo>
                <a:lnTo>
                  <a:pt x="2560" y="220"/>
                </a:lnTo>
                <a:lnTo>
                  <a:pt x="2536" y="203"/>
                </a:lnTo>
                <a:lnTo>
                  <a:pt x="2512" y="187"/>
                </a:lnTo>
                <a:lnTo>
                  <a:pt x="2488" y="171"/>
                </a:lnTo>
                <a:lnTo>
                  <a:pt x="2463" y="157"/>
                </a:lnTo>
                <a:lnTo>
                  <a:pt x="2438" y="143"/>
                </a:lnTo>
                <a:lnTo>
                  <a:pt x="2413" y="129"/>
                </a:lnTo>
                <a:lnTo>
                  <a:pt x="2387" y="117"/>
                </a:lnTo>
                <a:lnTo>
                  <a:pt x="2360" y="104"/>
                </a:lnTo>
                <a:lnTo>
                  <a:pt x="2334" y="92"/>
                </a:lnTo>
                <a:lnTo>
                  <a:pt x="2307" y="82"/>
                </a:lnTo>
                <a:lnTo>
                  <a:pt x="2279" y="71"/>
                </a:lnTo>
                <a:lnTo>
                  <a:pt x="2252" y="61"/>
                </a:lnTo>
                <a:lnTo>
                  <a:pt x="2224" y="52"/>
                </a:lnTo>
                <a:lnTo>
                  <a:pt x="2196" y="44"/>
                </a:lnTo>
                <a:lnTo>
                  <a:pt x="2167" y="37"/>
                </a:lnTo>
                <a:lnTo>
                  <a:pt x="2138" y="29"/>
                </a:lnTo>
                <a:lnTo>
                  <a:pt x="2108" y="22"/>
                </a:lnTo>
                <a:lnTo>
                  <a:pt x="2079" y="18"/>
                </a:lnTo>
                <a:lnTo>
                  <a:pt x="2049" y="13"/>
                </a:lnTo>
                <a:lnTo>
                  <a:pt x="2019" y="8"/>
                </a:lnTo>
                <a:lnTo>
                  <a:pt x="1989" y="5"/>
                </a:lnTo>
                <a:lnTo>
                  <a:pt x="1952" y="2"/>
                </a:lnTo>
                <a:lnTo>
                  <a:pt x="1917" y="0"/>
                </a:lnTo>
                <a:lnTo>
                  <a:pt x="1881" y="0"/>
                </a:lnTo>
                <a:lnTo>
                  <a:pt x="1846" y="0"/>
                </a:lnTo>
                <a:lnTo>
                  <a:pt x="1810" y="1"/>
                </a:lnTo>
                <a:lnTo>
                  <a:pt x="1775" y="5"/>
                </a:lnTo>
                <a:lnTo>
                  <a:pt x="1740" y="8"/>
                </a:lnTo>
                <a:lnTo>
                  <a:pt x="1706" y="12"/>
                </a:lnTo>
                <a:lnTo>
                  <a:pt x="1672" y="18"/>
                </a:lnTo>
                <a:lnTo>
                  <a:pt x="1638" y="25"/>
                </a:lnTo>
                <a:lnTo>
                  <a:pt x="1604" y="32"/>
                </a:lnTo>
                <a:lnTo>
                  <a:pt x="1571" y="40"/>
                </a:lnTo>
                <a:lnTo>
                  <a:pt x="1538" y="50"/>
                </a:lnTo>
                <a:lnTo>
                  <a:pt x="1505" y="60"/>
                </a:lnTo>
                <a:lnTo>
                  <a:pt x="1473" y="72"/>
                </a:lnTo>
                <a:lnTo>
                  <a:pt x="1441" y="84"/>
                </a:lnTo>
                <a:lnTo>
                  <a:pt x="1411" y="97"/>
                </a:lnTo>
                <a:lnTo>
                  <a:pt x="1380" y="111"/>
                </a:lnTo>
                <a:lnTo>
                  <a:pt x="1349" y="125"/>
                </a:lnTo>
                <a:lnTo>
                  <a:pt x="1320" y="142"/>
                </a:lnTo>
                <a:lnTo>
                  <a:pt x="1290" y="158"/>
                </a:lnTo>
                <a:lnTo>
                  <a:pt x="1260" y="175"/>
                </a:lnTo>
                <a:lnTo>
                  <a:pt x="1232" y="194"/>
                </a:lnTo>
                <a:lnTo>
                  <a:pt x="1205" y="213"/>
                </a:lnTo>
                <a:lnTo>
                  <a:pt x="1178" y="233"/>
                </a:lnTo>
                <a:lnTo>
                  <a:pt x="1150" y="253"/>
                </a:lnTo>
                <a:lnTo>
                  <a:pt x="1124" y="274"/>
                </a:lnTo>
                <a:lnTo>
                  <a:pt x="1100" y="297"/>
                </a:lnTo>
                <a:lnTo>
                  <a:pt x="1075" y="319"/>
                </a:lnTo>
                <a:lnTo>
                  <a:pt x="1050" y="343"/>
                </a:lnTo>
                <a:lnTo>
                  <a:pt x="1027" y="367"/>
                </a:lnTo>
                <a:lnTo>
                  <a:pt x="1004" y="391"/>
                </a:lnTo>
                <a:lnTo>
                  <a:pt x="955" y="400"/>
                </a:lnTo>
                <a:lnTo>
                  <a:pt x="907" y="409"/>
                </a:lnTo>
                <a:lnTo>
                  <a:pt x="860" y="421"/>
                </a:lnTo>
                <a:lnTo>
                  <a:pt x="814" y="435"/>
                </a:lnTo>
                <a:lnTo>
                  <a:pt x="767" y="450"/>
                </a:lnTo>
                <a:lnTo>
                  <a:pt x="722" y="468"/>
                </a:lnTo>
                <a:lnTo>
                  <a:pt x="679" y="488"/>
                </a:lnTo>
                <a:lnTo>
                  <a:pt x="635" y="510"/>
                </a:lnTo>
                <a:lnTo>
                  <a:pt x="592" y="532"/>
                </a:lnTo>
                <a:lnTo>
                  <a:pt x="551" y="557"/>
                </a:lnTo>
                <a:lnTo>
                  <a:pt x="512" y="583"/>
                </a:lnTo>
                <a:lnTo>
                  <a:pt x="473" y="610"/>
                </a:lnTo>
                <a:lnTo>
                  <a:pt x="435" y="640"/>
                </a:lnTo>
                <a:lnTo>
                  <a:pt x="399" y="670"/>
                </a:lnTo>
                <a:lnTo>
                  <a:pt x="363" y="704"/>
                </a:lnTo>
                <a:lnTo>
                  <a:pt x="329" y="737"/>
                </a:lnTo>
                <a:lnTo>
                  <a:pt x="296" y="772"/>
                </a:lnTo>
                <a:lnTo>
                  <a:pt x="265" y="809"/>
                </a:lnTo>
                <a:lnTo>
                  <a:pt x="235" y="847"/>
                </a:lnTo>
                <a:lnTo>
                  <a:pt x="207" y="886"/>
                </a:lnTo>
                <a:lnTo>
                  <a:pt x="180" y="926"/>
                </a:lnTo>
                <a:lnTo>
                  <a:pt x="155" y="967"/>
                </a:lnTo>
                <a:lnTo>
                  <a:pt x="133" y="1010"/>
                </a:lnTo>
                <a:lnTo>
                  <a:pt x="110" y="1054"/>
                </a:lnTo>
                <a:lnTo>
                  <a:pt x="90" y="1099"/>
                </a:lnTo>
                <a:lnTo>
                  <a:pt x="72" y="1143"/>
                </a:lnTo>
                <a:lnTo>
                  <a:pt x="57" y="1191"/>
                </a:lnTo>
                <a:lnTo>
                  <a:pt x="43" y="1238"/>
                </a:lnTo>
                <a:lnTo>
                  <a:pt x="30" y="1288"/>
                </a:lnTo>
                <a:lnTo>
                  <a:pt x="20" y="1336"/>
                </a:lnTo>
                <a:lnTo>
                  <a:pt x="12" y="1387"/>
                </a:lnTo>
                <a:lnTo>
                  <a:pt x="6" y="1438"/>
                </a:lnTo>
                <a:lnTo>
                  <a:pt x="1" y="1498"/>
                </a:lnTo>
                <a:lnTo>
                  <a:pt x="0" y="1557"/>
                </a:lnTo>
                <a:lnTo>
                  <a:pt x="2" y="1616"/>
                </a:lnTo>
                <a:lnTo>
                  <a:pt x="7" y="1674"/>
                </a:lnTo>
                <a:lnTo>
                  <a:pt x="14" y="1732"/>
                </a:lnTo>
                <a:lnTo>
                  <a:pt x="25" y="1789"/>
                </a:lnTo>
                <a:lnTo>
                  <a:pt x="38" y="1845"/>
                </a:lnTo>
                <a:lnTo>
                  <a:pt x="53" y="1900"/>
                </a:lnTo>
                <a:lnTo>
                  <a:pt x="72" y="1954"/>
                </a:lnTo>
                <a:lnTo>
                  <a:pt x="94" y="2007"/>
                </a:lnTo>
                <a:lnTo>
                  <a:pt x="116" y="2058"/>
                </a:lnTo>
                <a:lnTo>
                  <a:pt x="142" y="2108"/>
                </a:lnTo>
                <a:lnTo>
                  <a:pt x="170" y="2157"/>
                </a:lnTo>
                <a:lnTo>
                  <a:pt x="201" y="2204"/>
                </a:lnTo>
                <a:lnTo>
                  <a:pt x="233" y="2249"/>
                </a:lnTo>
                <a:lnTo>
                  <a:pt x="268" y="2294"/>
                </a:lnTo>
                <a:lnTo>
                  <a:pt x="305" y="2337"/>
                </a:lnTo>
                <a:lnTo>
                  <a:pt x="343" y="2377"/>
                </a:lnTo>
                <a:lnTo>
                  <a:pt x="384" y="2416"/>
                </a:lnTo>
                <a:lnTo>
                  <a:pt x="427" y="2453"/>
                </a:lnTo>
                <a:lnTo>
                  <a:pt x="471" y="2487"/>
                </a:lnTo>
                <a:lnTo>
                  <a:pt x="517" y="2520"/>
                </a:lnTo>
                <a:lnTo>
                  <a:pt x="565" y="2551"/>
                </a:lnTo>
                <a:lnTo>
                  <a:pt x="614" y="2579"/>
                </a:lnTo>
                <a:lnTo>
                  <a:pt x="665" y="2605"/>
                </a:lnTo>
                <a:lnTo>
                  <a:pt x="718" y="2628"/>
                </a:lnTo>
                <a:lnTo>
                  <a:pt x="771" y="2649"/>
                </a:lnTo>
                <a:lnTo>
                  <a:pt x="827" y="2668"/>
                </a:lnTo>
                <a:lnTo>
                  <a:pt x="882" y="2683"/>
                </a:lnTo>
                <a:lnTo>
                  <a:pt x="940" y="2696"/>
                </a:lnTo>
                <a:lnTo>
                  <a:pt x="999" y="2707"/>
                </a:lnTo>
                <a:lnTo>
                  <a:pt x="1058" y="2714"/>
                </a:lnTo>
                <a:close/>
              </a:path>
            </a:pathLst>
          </a:custGeom>
          <a:solidFill>
            <a:srgbClr val="FEFEFE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16653" tIns="58327" rIns="116653" bIns="58327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53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5" name="Freeform 17"/>
          <p:cNvSpPr>
            <a:spLocks noEditPoints="1"/>
          </p:cNvSpPr>
          <p:nvPr/>
        </p:nvSpPr>
        <p:spPr bwMode="auto">
          <a:xfrm>
            <a:off x="1582789" y="2271538"/>
            <a:ext cx="2158891" cy="2052392"/>
          </a:xfrm>
          <a:custGeom>
            <a:avLst/>
            <a:gdLst>
              <a:gd name="T0" fmla="*/ 1250 w 3914"/>
              <a:gd name="T1" fmla="*/ 2784 h 3137"/>
              <a:gd name="T2" fmla="*/ 1516 w 3914"/>
              <a:gd name="T3" fmla="*/ 2675 h 3137"/>
              <a:gd name="T4" fmla="*/ 1584 w 3914"/>
              <a:gd name="T5" fmla="*/ 2688 h 3137"/>
              <a:gd name="T6" fmla="*/ 1614 w 3914"/>
              <a:gd name="T7" fmla="*/ 2703 h 3137"/>
              <a:gd name="T8" fmla="*/ 1758 w 3914"/>
              <a:gd name="T9" fmla="*/ 2801 h 3137"/>
              <a:gd name="T10" fmla="*/ 1870 w 3914"/>
              <a:gd name="T11" fmla="*/ 2956 h 3137"/>
              <a:gd name="T12" fmla="*/ 1561 w 3914"/>
              <a:gd name="T13" fmla="*/ 2710 h 3137"/>
              <a:gd name="T14" fmla="*/ 2281 w 3914"/>
              <a:gd name="T15" fmla="*/ 3043 h 3137"/>
              <a:gd name="T16" fmla="*/ 2206 w 3914"/>
              <a:gd name="T17" fmla="*/ 3093 h 3137"/>
              <a:gd name="T18" fmla="*/ 2493 w 3914"/>
              <a:gd name="T19" fmla="*/ 3070 h 3137"/>
              <a:gd name="T20" fmla="*/ 2910 w 3914"/>
              <a:gd name="T21" fmla="*/ 3021 h 3137"/>
              <a:gd name="T22" fmla="*/ 3277 w 3914"/>
              <a:gd name="T23" fmla="*/ 2849 h 3137"/>
              <a:gd name="T24" fmla="*/ 3202 w 3914"/>
              <a:gd name="T25" fmla="*/ 2972 h 3137"/>
              <a:gd name="T26" fmla="*/ 2797 w 3914"/>
              <a:gd name="T27" fmla="*/ 3115 h 3137"/>
              <a:gd name="T28" fmla="*/ 3378 w 3914"/>
              <a:gd name="T29" fmla="*/ 2774 h 3137"/>
              <a:gd name="T30" fmla="*/ 3646 w 3914"/>
              <a:gd name="T31" fmla="*/ 2470 h 3137"/>
              <a:gd name="T32" fmla="*/ 3809 w 3914"/>
              <a:gd name="T33" fmla="*/ 2091 h 3137"/>
              <a:gd name="T34" fmla="*/ 3873 w 3914"/>
              <a:gd name="T35" fmla="*/ 2107 h 3137"/>
              <a:gd name="T36" fmla="*/ 3700 w 3914"/>
              <a:gd name="T37" fmla="*/ 2506 h 3137"/>
              <a:gd name="T38" fmla="*/ 3419 w 3914"/>
              <a:gd name="T39" fmla="*/ 2825 h 3137"/>
              <a:gd name="T40" fmla="*/ 3833 w 3914"/>
              <a:gd name="T41" fmla="*/ 1562 h 3137"/>
              <a:gd name="T42" fmla="*/ 3716 w 3914"/>
              <a:gd name="T43" fmla="*/ 1199 h 3137"/>
              <a:gd name="T44" fmla="*/ 3716 w 3914"/>
              <a:gd name="T45" fmla="*/ 1063 h 3137"/>
              <a:gd name="T46" fmla="*/ 3871 w 3914"/>
              <a:gd name="T47" fmla="*/ 1428 h 3137"/>
              <a:gd name="T48" fmla="*/ 3913 w 3914"/>
              <a:gd name="T49" fmla="*/ 1836 h 3137"/>
              <a:gd name="T50" fmla="*/ 3419 w 3914"/>
              <a:gd name="T51" fmla="*/ 806 h 3137"/>
              <a:gd name="T52" fmla="*/ 3100 w 3914"/>
              <a:gd name="T53" fmla="*/ 595 h 3137"/>
              <a:gd name="T54" fmla="*/ 2889 w 3914"/>
              <a:gd name="T55" fmla="*/ 449 h 3137"/>
              <a:gd name="T56" fmla="*/ 3265 w 3914"/>
              <a:gd name="T57" fmla="*/ 609 h 3137"/>
              <a:gd name="T58" fmla="*/ 3570 w 3914"/>
              <a:gd name="T59" fmla="*/ 867 h 3137"/>
              <a:gd name="T60" fmla="*/ 2788 w 3914"/>
              <a:gd name="T61" fmla="*/ 474 h 3137"/>
              <a:gd name="T62" fmla="*/ 2776 w 3914"/>
              <a:gd name="T63" fmla="*/ 466 h 3137"/>
              <a:gd name="T64" fmla="*/ 2497 w 3914"/>
              <a:gd name="T65" fmla="*/ 229 h 3137"/>
              <a:gd name="T66" fmla="*/ 2723 w 3914"/>
              <a:gd name="T67" fmla="*/ 317 h 3137"/>
              <a:gd name="T68" fmla="*/ 2322 w 3914"/>
              <a:gd name="T69" fmla="*/ 143 h 3137"/>
              <a:gd name="T70" fmla="*/ 2055 w 3914"/>
              <a:gd name="T71" fmla="*/ 9 h 3137"/>
              <a:gd name="T72" fmla="*/ 2427 w 3914"/>
              <a:gd name="T73" fmla="*/ 117 h 3137"/>
              <a:gd name="T74" fmla="*/ 1715 w 3914"/>
              <a:gd name="T75" fmla="*/ 83 h 3137"/>
              <a:gd name="T76" fmla="*/ 1636 w 3914"/>
              <a:gd name="T77" fmla="*/ 32 h 3137"/>
              <a:gd name="T78" fmla="*/ 1496 w 3914"/>
              <a:gd name="T79" fmla="*/ 144 h 3137"/>
              <a:gd name="T80" fmla="*/ 1131 w 3914"/>
              <a:gd name="T81" fmla="*/ 375 h 3137"/>
              <a:gd name="T82" fmla="*/ 1252 w 3914"/>
              <a:gd name="T83" fmla="*/ 196 h 3137"/>
              <a:gd name="T84" fmla="*/ 1045 w 3914"/>
              <a:gd name="T85" fmla="*/ 456 h 3137"/>
              <a:gd name="T86" fmla="*/ 1013 w 3914"/>
              <a:gd name="T87" fmla="*/ 403 h 3137"/>
              <a:gd name="T88" fmla="*/ 558 w 3914"/>
              <a:gd name="T89" fmla="*/ 645 h 3137"/>
              <a:gd name="T90" fmla="*/ 605 w 3914"/>
              <a:gd name="T91" fmla="*/ 539 h 3137"/>
              <a:gd name="T92" fmla="*/ 319 w 3914"/>
              <a:gd name="T93" fmla="*/ 868 h 3137"/>
              <a:gd name="T94" fmla="*/ 77 w 3914"/>
              <a:gd name="T95" fmla="*/ 1425 h 3137"/>
              <a:gd name="T96" fmla="*/ 182 w 3914"/>
              <a:gd name="T97" fmla="*/ 946 h 3137"/>
              <a:gd name="T98" fmla="*/ 67 w 3914"/>
              <a:gd name="T99" fmla="*/ 1647 h 3137"/>
              <a:gd name="T100" fmla="*/ 145 w 3914"/>
              <a:gd name="T101" fmla="*/ 2001 h 3137"/>
              <a:gd name="T102" fmla="*/ 326 w 3914"/>
              <a:gd name="T103" fmla="*/ 2306 h 3137"/>
              <a:gd name="T104" fmla="*/ 96 w 3914"/>
              <a:gd name="T105" fmla="*/ 2053 h 3137"/>
              <a:gd name="T106" fmla="*/ 5 w 3914"/>
              <a:gd name="T107" fmla="*/ 1681 h 3137"/>
              <a:gd name="T108" fmla="*/ 400 w 3914"/>
              <a:gd name="T109" fmla="*/ 2386 h 3137"/>
              <a:gd name="T110" fmla="*/ 687 w 3914"/>
              <a:gd name="T111" fmla="*/ 2596 h 3137"/>
              <a:gd name="T112" fmla="*/ 1037 w 3914"/>
              <a:gd name="T113" fmla="*/ 2707 h 3137"/>
              <a:gd name="T114" fmla="*/ 793 w 3914"/>
              <a:gd name="T115" fmla="*/ 2713 h 3137"/>
              <a:gd name="T116" fmla="*/ 461 w 3914"/>
              <a:gd name="T117" fmla="*/ 2529 h 31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3914" h="3137">
                <a:moveTo>
                  <a:pt x="1095" y="2714"/>
                </a:moveTo>
                <a:lnTo>
                  <a:pt x="1126" y="2716"/>
                </a:lnTo>
                <a:lnTo>
                  <a:pt x="1156" y="2719"/>
                </a:lnTo>
                <a:lnTo>
                  <a:pt x="1187" y="2719"/>
                </a:lnTo>
                <a:lnTo>
                  <a:pt x="1217" y="2719"/>
                </a:lnTo>
                <a:lnTo>
                  <a:pt x="1247" y="2719"/>
                </a:lnTo>
                <a:lnTo>
                  <a:pt x="1278" y="2716"/>
                </a:lnTo>
                <a:lnTo>
                  <a:pt x="1308" y="2715"/>
                </a:lnTo>
                <a:lnTo>
                  <a:pt x="1337" y="2711"/>
                </a:lnTo>
                <a:lnTo>
                  <a:pt x="1345" y="2776"/>
                </a:lnTo>
                <a:lnTo>
                  <a:pt x="1313" y="2780"/>
                </a:lnTo>
                <a:lnTo>
                  <a:pt x="1282" y="2782"/>
                </a:lnTo>
                <a:lnTo>
                  <a:pt x="1250" y="2784"/>
                </a:lnTo>
                <a:lnTo>
                  <a:pt x="1218" y="2785"/>
                </a:lnTo>
                <a:lnTo>
                  <a:pt x="1186" y="2785"/>
                </a:lnTo>
                <a:lnTo>
                  <a:pt x="1154" y="2784"/>
                </a:lnTo>
                <a:lnTo>
                  <a:pt x="1121" y="2782"/>
                </a:lnTo>
                <a:lnTo>
                  <a:pt x="1088" y="2779"/>
                </a:lnTo>
                <a:lnTo>
                  <a:pt x="1095" y="2714"/>
                </a:lnTo>
                <a:close/>
                <a:moveTo>
                  <a:pt x="1337" y="2711"/>
                </a:moveTo>
                <a:lnTo>
                  <a:pt x="1368" y="2707"/>
                </a:lnTo>
                <a:lnTo>
                  <a:pt x="1399" y="2702"/>
                </a:lnTo>
                <a:lnTo>
                  <a:pt x="1428" y="2697"/>
                </a:lnTo>
                <a:lnTo>
                  <a:pt x="1458" y="2690"/>
                </a:lnTo>
                <a:lnTo>
                  <a:pt x="1487" y="2683"/>
                </a:lnTo>
                <a:lnTo>
                  <a:pt x="1516" y="2675"/>
                </a:lnTo>
                <a:lnTo>
                  <a:pt x="1545" y="2666"/>
                </a:lnTo>
                <a:lnTo>
                  <a:pt x="1574" y="2657"/>
                </a:lnTo>
                <a:lnTo>
                  <a:pt x="1595" y="2720"/>
                </a:lnTo>
                <a:lnTo>
                  <a:pt x="1564" y="2729"/>
                </a:lnTo>
                <a:lnTo>
                  <a:pt x="1533" y="2739"/>
                </a:lnTo>
                <a:lnTo>
                  <a:pt x="1503" y="2747"/>
                </a:lnTo>
                <a:lnTo>
                  <a:pt x="1472" y="2754"/>
                </a:lnTo>
                <a:lnTo>
                  <a:pt x="1440" y="2761"/>
                </a:lnTo>
                <a:lnTo>
                  <a:pt x="1409" y="2767"/>
                </a:lnTo>
                <a:lnTo>
                  <a:pt x="1377" y="2772"/>
                </a:lnTo>
                <a:lnTo>
                  <a:pt x="1345" y="2776"/>
                </a:lnTo>
                <a:lnTo>
                  <a:pt x="1337" y="2711"/>
                </a:lnTo>
                <a:close/>
                <a:moveTo>
                  <a:pt x="1584" y="2688"/>
                </a:moveTo>
                <a:lnTo>
                  <a:pt x="1574" y="2657"/>
                </a:lnTo>
                <a:lnTo>
                  <a:pt x="1579" y="2656"/>
                </a:lnTo>
                <a:lnTo>
                  <a:pt x="1587" y="2656"/>
                </a:lnTo>
                <a:lnTo>
                  <a:pt x="1593" y="2657"/>
                </a:lnTo>
                <a:lnTo>
                  <a:pt x="1598" y="2658"/>
                </a:lnTo>
                <a:lnTo>
                  <a:pt x="1603" y="2662"/>
                </a:lnTo>
                <a:lnTo>
                  <a:pt x="1608" y="2666"/>
                </a:lnTo>
                <a:lnTo>
                  <a:pt x="1613" y="2671"/>
                </a:lnTo>
                <a:lnTo>
                  <a:pt x="1615" y="2677"/>
                </a:lnTo>
                <a:lnTo>
                  <a:pt x="1616" y="2684"/>
                </a:lnTo>
                <a:lnTo>
                  <a:pt x="1616" y="2690"/>
                </a:lnTo>
                <a:lnTo>
                  <a:pt x="1615" y="2697"/>
                </a:lnTo>
                <a:lnTo>
                  <a:pt x="1614" y="2703"/>
                </a:lnTo>
                <a:lnTo>
                  <a:pt x="1610" y="2708"/>
                </a:lnTo>
                <a:lnTo>
                  <a:pt x="1606" y="2713"/>
                </a:lnTo>
                <a:lnTo>
                  <a:pt x="1601" y="2716"/>
                </a:lnTo>
                <a:lnTo>
                  <a:pt x="1595" y="2720"/>
                </a:lnTo>
                <a:lnTo>
                  <a:pt x="1584" y="2688"/>
                </a:lnTo>
                <a:close/>
                <a:moveTo>
                  <a:pt x="1608" y="2665"/>
                </a:moveTo>
                <a:lnTo>
                  <a:pt x="1628" y="2687"/>
                </a:lnTo>
                <a:lnTo>
                  <a:pt x="1648" y="2707"/>
                </a:lnTo>
                <a:lnTo>
                  <a:pt x="1669" y="2727"/>
                </a:lnTo>
                <a:lnTo>
                  <a:pt x="1691" y="2746"/>
                </a:lnTo>
                <a:lnTo>
                  <a:pt x="1713" y="2765"/>
                </a:lnTo>
                <a:lnTo>
                  <a:pt x="1736" y="2784"/>
                </a:lnTo>
                <a:lnTo>
                  <a:pt x="1758" y="2801"/>
                </a:lnTo>
                <a:lnTo>
                  <a:pt x="1782" y="2819"/>
                </a:lnTo>
                <a:lnTo>
                  <a:pt x="1805" y="2836"/>
                </a:lnTo>
                <a:lnTo>
                  <a:pt x="1829" y="2852"/>
                </a:lnTo>
                <a:lnTo>
                  <a:pt x="1854" y="2869"/>
                </a:lnTo>
                <a:lnTo>
                  <a:pt x="1879" y="2884"/>
                </a:lnTo>
                <a:lnTo>
                  <a:pt x="1903" y="2898"/>
                </a:lnTo>
                <a:lnTo>
                  <a:pt x="1928" y="2912"/>
                </a:lnTo>
                <a:lnTo>
                  <a:pt x="1954" y="2927"/>
                </a:lnTo>
                <a:lnTo>
                  <a:pt x="1981" y="2940"/>
                </a:lnTo>
                <a:lnTo>
                  <a:pt x="1952" y="2999"/>
                </a:lnTo>
                <a:lnTo>
                  <a:pt x="1925" y="2986"/>
                </a:lnTo>
                <a:lnTo>
                  <a:pt x="1898" y="2970"/>
                </a:lnTo>
                <a:lnTo>
                  <a:pt x="1870" y="2956"/>
                </a:lnTo>
                <a:lnTo>
                  <a:pt x="1844" y="2940"/>
                </a:lnTo>
                <a:lnTo>
                  <a:pt x="1818" y="2924"/>
                </a:lnTo>
                <a:lnTo>
                  <a:pt x="1792" y="2907"/>
                </a:lnTo>
                <a:lnTo>
                  <a:pt x="1767" y="2890"/>
                </a:lnTo>
                <a:lnTo>
                  <a:pt x="1743" y="2872"/>
                </a:lnTo>
                <a:lnTo>
                  <a:pt x="1718" y="2853"/>
                </a:lnTo>
                <a:lnTo>
                  <a:pt x="1694" y="2834"/>
                </a:lnTo>
                <a:lnTo>
                  <a:pt x="1671" y="2815"/>
                </a:lnTo>
                <a:lnTo>
                  <a:pt x="1648" y="2795"/>
                </a:lnTo>
                <a:lnTo>
                  <a:pt x="1624" y="2775"/>
                </a:lnTo>
                <a:lnTo>
                  <a:pt x="1603" y="2754"/>
                </a:lnTo>
                <a:lnTo>
                  <a:pt x="1581" y="2733"/>
                </a:lnTo>
                <a:lnTo>
                  <a:pt x="1561" y="2710"/>
                </a:lnTo>
                <a:lnTo>
                  <a:pt x="1608" y="2665"/>
                </a:lnTo>
                <a:close/>
                <a:moveTo>
                  <a:pt x="1981" y="2940"/>
                </a:moveTo>
                <a:lnTo>
                  <a:pt x="2006" y="2953"/>
                </a:lnTo>
                <a:lnTo>
                  <a:pt x="2032" y="2963"/>
                </a:lnTo>
                <a:lnTo>
                  <a:pt x="2059" y="2975"/>
                </a:lnTo>
                <a:lnTo>
                  <a:pt x="2085" y="2986"/>
                </a:lnTo>
                <a:lnTo>
                  <a:pt x="2113" y="2995"/>
                </a:lnTo>
                <a:lnTo>
                  <a:pt x="2140" y="3005"/>
                </a:lnTo>
                <a:lnTo>
                  <a:pt x="2167" y="3013"/>
                </a:lnTo>
                <a:lnTo>
                  <a:pt x="2195" y="3021"/>
                </a:lnTo>
                <a:lnTo>
                  <a:pt x="2223" y="3030"/>
                </a:lnTo>
                <a:lnTo>
                  <a:pt x="2251" y="3037"/>
                </a:lnTo>
                <a:lnTo>
                  <a:pt x="2281" y="3043"/>
                </a:lnTo>
                <a:lnTo>
                  <a:pt x="2309" y="3048"/>
                </a:lnTo>
                <a:lnTo>
                  <a:pt x="2339" y="3053"/>
                </a:lnTo>
                <a:lnTo>
                  <a:pt x="2367" y="3058"/>
                </a:lnTo>
                <a:lnTo>
                  <a:pt x="2396" y="3061"/>
                </a:lnTo>
                <a:lnTo>
                  <a:pt x="2426" y="3065"/>
                </a:lnTo>
                <a:lnTo>
                  <a:pt x="2420" y="3130"/>
                </a:lnTo>
                <a:lnTo>
                  <a:pt x="2389" y="3126"/>
                </a:lnTo>
                <a:lnTo>
                  <a:pt x="2357" y="3123"/>
                </a:lnTo>
                <a:lnTo>
                  <a:pt x="2327" y="3118"/>
                </a:lnTo>
                <a:lnTo>
                  <a:pt x="2297" y="3113"/>
                </a:lnTo>
                <a:lnTo>
                  <a:pt x="2266" y="3106"/>
                </a:lnTo>
                <a:lnTo>
                  <a:pt x="2236" y="3100"/>
                </a:lnTo>
                <a:lnTo>
                  <a:pt x="2206" y="3093"/>
                </a:lnTo>
                <a:lnTo>
                  <a:pt x="2177" y="3085"/>
                </a:lnTo>
                <a:lnTo>
                  <a:pt x="2148" y="3076"/>
                </a:lnTo>
                <a:lnTo>
                  <a:pt x="2119" y="3067"/>
                </a:lnTo>
                <a:lnTo>
                  <a:pt x="2090" y="3057"/>
                </a:lnTo>
                <a:lnTo>
                  <a:pt x="2062" y="3047"/>
                </a:lnTo>
                <a:lnTo>
                  <a:pt x="2035" y="3035"/>
                </a:lnTo>
                <a:lnTo>
                  <a:pt x="2006" y="3024"/>
                </a:lnTo>
                <a:lnTo>
                  <a:pt x="1979" y="3012"/>
                </a:lnTo>
                <a:lnTo>
                  <a:pt x="1952" y="2999"/>
                </a:lnTo>
                <a:lnTo>
                  <a:pt x="1981" y="2940"/>
                </a:lnTo>
                <a:close/>
                <a:moveTo>
                  <a:pt x="2426" y="3065"/>
                </a:moveTo>
                <a:lnTo>
                  <a:pt x="2460" y="3067"/>
                </a:lnTo>
                <a:lnTo>
                  <a:pt x="2493" y="3070"/>
                </a:lnTo>
                <a:lnTo>
                  <a:pt x="2526" y="3071"/>
                </a:lnTo>
                <a:lnTo>
                  <a:pt x="2560" y="3071"/>
                </a:lnTo>
                <a:lnTo>
                  <a:pt x="2593" y="3071"/>
                </a:lnTo>
                <a:lnTo>
                  <a:pt x="2625" y="3069"/>
                </a:lnTo>
                <a:lnTo>
                  <a:pt x="2658" y="3067"/>
                </a:lnTo>
                <a:lnTo>
                  <a:pt x="2690" y="3064"/>
                </a:lnTo>
                <a:lnTo>
                  <a:pt x="2722" y="3060"/>
                </a:lnTo>
                <a:lnTo>
                  <a:pt x="2753" y="3056"/>
                </a:lnTo>
                <a:lnTo>
                  <a:pt x="2785" y="3050"/>
                </a:lnTo>
                <a:lnTo>
                  <a:pt x="2816" y="3044"/>
                </a:lnTo>
                <a:lnTo>
                  <a:pt x="2848" y="3037"/>
                </a:lnTo>
                <a:lnTo>
                  <a:pt x="2879" y="3030"/>
                </a:lnTo>
                <a:lnTo>
                  <a:pt x="2910" y="3021"/>
                </a:lnTo>
                <a:lnTo>
                  <a:pt x="2939" y="3012"/>
                </a:lnTo>
                <a:lnTo>
                  <a:pt x="2970" y="3002"/>
                </a:lnTo>
                <a:lnTo>
                  <a:pt x="2999" y="2992"/>
                </a:lnTo>
                <a:lnTo>
                  <a:pt x="3029" y="2980"/>
                </a:lnTo>
                <a:lnTo>
                  <a:pt x="3057" y="2968"/>
                </a:lnTo>
                <a:lnTo>
                  <a:pt x="3087" y="2955"/>
                </a:lnTo>
                <a:lnTo>
                  <a:pt x="3115" y="2942"/>
                </a:lnTo>
                <a:lnTo>
                  <a:pt x="3142" y="2928"/>
                </a:lnTo>
                <a:lnTo>
                  <a:pt x="3171" y="2914"/>
                </a:lnTo>
                <a:lnTo>
                  <a:pt x="3198" y="2898"/>
                </a:lnTo>
                <a:lnTo>
                  <a:pt x="3225" y="2882"/>
                </a:lnTo>
                <a:lnTo>
                  <a:pt x="3251" y="2865"/>
                </a:lnTo>
                <a:lnTo>
                  <a:pt x="3277" y="2849"/>
                </a:lnTo>
                <a:lnTo>
                  <a:pt x="3303" y="2831"/>
                </a:lnTo>
                <a:lnTo>
                  <a:pt x="3328" y="2812"/>
                </a:lnTo>
                <a:lnTo>
                  <a:pt x="3353" y="2793"/>
                </a:lnTo>
                <a:lnTo>
                  <a:pt x="3378" y="2774"/>
                </a:lnTo>
                <a:lnTo>
                  <a:pt x="3419" y="2825"/>
                </a:lnTo>
                <a:lnTo>
                  <a:pt x="3393" y="2845"/>
                </a:lnTo>
                <a:lnTo>
                  <a:pt x="3367" y="2865"/>
                </a:lnTo>
                <a:lnTo>
                  <a:pt x="3341" y="2884"/>
                </a:lnTo>
                <a:lnTo>
                  <a:pt x="3314" y="2903"/>
                </a:lnTo>
                <a:lnTo>
                  <a:pt x="3287" y="2921"/>
                </a:lnTo>
                <a:lnTo>
                  <a:pt x="3258" y="2938"/>
                </a:lnTo>
                <a:lnTo>
                  <a:pt x="3231" y="2955"/>
                </a:lnTo>
                <a:lnTo>
                  <a:pt x="3202" y="2972"/>
                </a:lnTo>
                <a:lnTo>
                  <a:pt x="3173" y="2987"/>
                </a:lnTo>
                <a:lnTo>
                  <a:pt x="3144" y="3001"/>
                </a:lnTo>
                <a:lnTo>
                  <a:pt x="3114" y="3015"/>
                </a:lnTo>
                <a:lnTo>
                  <a:pt x="3083" y="3028"/>
                </a:lnTo>
                <a:lnTo>
                  <a:pt x="3053" y="3041"/>
                </a:lnTo>
                <a:lnTo>
                  <a:pt x="3022" y="3053"/>
                </a:lnTo>
                <a:lnTo>
                  <a:pt x="2991" y="3064"/>
                </a:lnTo>
                <a:lnTo>
                  <a:pt x="2959" y="3074"/>
                </a:lnTo>
                <a:lnTo>
                  <a:pt x="2927" y="3084"/>
                </a:lnTo>
                <a:lnTo>
                  <a:pt x="2895" y="3092"/>
                </a:lnTo>
                <a:lnTo>
                  <a:pt x="2862" y="3100"/>
                </a:lnTo>
                <a:lnTo>
                  <a:pt x="2830" y="3108"/>
                </a:lnTo>
                <a:lnTo>
                  <a:pt x="2797" y="3115"/>
                </a:lnTo>
                <a:lnTo>
                  <a:pt x="2764" y="3121"/>
                </a:lnTo>
                <a:lnTo>
                  <a:pt x="2731" y="3125"/>
                </a:lnTo>
                <a:lnTo>
                  <a:pt x="2697" y="3129"/>
                </a:lnTo>
                <a:lnTo>
                  <a:pt x="2662" y="3132"/>
                </a:lnTo>
                <a:lnTo>
                  <a:pt x="2628" y="3135"/>
                </a:lnTo>
                <a:lnTo>
                  <a:pt x="2594" y="3136"/>
                </a:lnTo>
                <a:lnTo>
                  <a:pt x="2560" y="3137"/>
                </a:lnTo>
                <a:lnTo>
                  <a:pt x="2525" y="3136"/>
                </a:lnTo>
                <a:lnTo>
                  <a:pt x="2491" y="3135"/>
                </a:lnTo>
                <a:lnTo>
                  <a:pt x="2456" y="3134"/>
                </a:lnTo>
                <a:lnTo>
                  <a:pt x="2420" y="3130"/>
                </a:lnTo>
                <a:lnTo>
                  <a:pt x="2426" y="3065"/>
                </a:lnTo>
                <a:close/>
                <a:moveTo>
                  <a:pt x="3378" y="2774"/>
                </a:moveTo>
                <a:lnTo>
                  <a:pt x="3401" y="2754"/>
                </a:lnTo>
                <a:lnTo>
                  <a:pt x="3424" y="2733"/>
                </a:lnTo>
                <a:lnTo>
                  <a:pt x="3447" y="2711"/>
                </a:lnTo>
                <a:lnTo>
                  <a:pt x="3470" y="2690"/>
                </a:lnTo>
                <a:lnTo>
                  <a:pt x="3491" y="2668"/>
                </a:lnTo>
                <a:lnTo>
                  <a:pt x="3512" y="2645"/>
                </a:lnTo>
                <a:lnTo>
                  <a:pt x="3533" y="2622"/>
                </a:lnTo>
                <a:lnTo>
                  <a:pt x="3554" y="2598"/>
                </a:lnTo>
                <a:lnTo>
                  <a:pt x="3573" y="2573"/>
                </a:lnTo>
                <a:lnTo>
                  <a:pt x="3592" y="2548"/>
                </a:lnTo>
                <a:lnTo>
                  <a:pt x="3611" y="2523"/>
                </a:lnTo>
                <a:lnTo>
                  <a:pt x="3628" y="2497"/>
                </a:lnTo>
                <a:lnTo>
                  <a:pt x="3646" y="2470"/>
                </a:lnTo>
                <a:lnTo>
                  <a:pt x="3663" y="2444"/>
                </a:lnTo>
                <a:lnTo>
                  <a:pt x="3678" y="2417"/>
                </a:lnTo>
                <a:lnTo>
                  <a:pt x="3693" y="2390"/>
                </a:lnTo>
                <a:lnTo>
                  <a:pt x="3709" y="2361"/>
                </a:lnTo>
                <a:lnTo>
                  <a:pt x="3722" y="2333"/>
                </a:lnTo>
                <a:lnTo>
                  <a:pt x="3736" y="2303"/>
                </a:lnTo>
                <a:lnTo>
                  <a:pt x="3748" y="2275"/>
                </a:lnTo>
                <a:lnTo>
                  <a:pt x="3761" y="2244"/>
                </a:lnTo>
                <a:lnTo>
                  <a:pt x="3771" y="2215"/>
                </a:lnTo>
                <a:lnTo>
                  <a:pt x="3782" y="2184"/>
                </a:lnTo>
                <a:lnTo>
                  <a:pt x="3791" y="2153"/>
                </a:lnTo>
                <a:lnTo>
                  <a:pt x="3801" y="2122"/>
                </a:lnTo>
                <a:lnTo>
                  <a:pt x="3809" y="2091"/>
                </a:lnTo>
                <a:lnTo>
                  <a:pt x="3817" y="2059"/>
                </a:lnTo>
                <a:lnTo>
                  <a:pt x="3823" y="2027"/>
                </a:lnTo>
                <a:lnTo>
                  <a:pt x="3831" y="1995"/>
                </a:lnTo>
                <a:lnTo>
                  <a:pt x="3835" y="1962"/>
                </a:lnTo>
                <a:lnTo>
                  <a:pt x="3840" y="1929"/>
                </a:lnTo>
                <a:lnTo>
                  <a:pt x="3844" y="1895"/>
                </a:lnTo>
                <a:lnTo>
                  <a:pt x="3909" y="1901"/>
                </a:lnTo>
                <a:lnTo>
                  <a:pt x="3905" y="1937"/>
                </a:lnTo>
                <a:lnTo>
                  <a:pt x="3900" y="1971"/>
                </a:lnTo>
                <a:lnTo>
                  <a:pt x="3894" y="2005"/>
                </a:lnTo>
                <a:lnTo>
                  <a:pt x="3888" y="2040"/>
                </a:lnTo>
                <a:lnTo>
                  <a:pt x="3881" y="2074"/>
                </a:lnTo>
                <a:lnTo>
                  <a:pt x="3873" y="2107"/>
                </a:lnTo>
                <a:lnTo>
                  <a:pt x="3865" y="2140"/>
                </a:lnTo>
                <a:lnTo>
                  <a:pt x="3854" y="2173"/>
                </a:lnTo>
                <a:lnTo>
                  <a:pt x="3845" y="2205"/>
                </a:lnTo>
                <a:lnTo>
                  <a:pt x="3833" y="2237"/>
                </a:lnTo>
                <a:lnTo>
                  <a:pt x="3821" y="2269"/>
                </a:lnTo>
                <a:lnTo>
                  <a:pt x="3809" y="2300"/>
                </a:lnTo>
                <a:lnTo>
                  <a:pt x="3795" y="2331"/>
                </a:lnTo>
                <a:lnTo>
                  <a:pt x="3781" y="2361"/>
                </a:lnTo>
                <a:lnTo>
                  <a:pt x="3767" y="2391"/>
                </a:lnTo>
                <a:lnTo>
                  <a:pt x="3751" y="2421"/>
                </a:lnTo>
                <a:lnTo>
                  <a:pt x="3735" y="2449"/>
                </a:lnTo>
                <a:lnTo>
                  <a:pt x="3718" y="2478"/>
                </a:lnTo>
                <a:lnTo>
                  <a:pt x="3700" y="2506"/>
                </a:lnTo>
                <a:lnTo>
                  <a:pt x="3683" y="2534"/>
                </a:lnTo>
                <a:lnTo>
                  <a:pt x="3664" y="2561"/>
                </a:lnTo>
                <a:lnTo>
                  <a:pt x="3645" y="2587"/>
                </a:lnTo>
                <a:lnTo>
                  <a:pt x="3625" y="2613"/>
                </a:lnTo>
                <a:lnTo>
                  <a:pt x="3604" y="2639"/>
                </a:lnTo>
                <a:lnTo>
                  <a:pt x="3582" y="2664"/>
                </a:lnTo>
                <a:lnTo>
                  <a:pt x="3561" y="2689"/>
                </a:lnTo>
                <a:lnTo>
                  <a:pt x="3538" y="2713"/>
                </a:lnTo>
                <a:lnTo>
                  <a:pt x="3516" y="2736"/>
                </a:lnTo>
                <a:lnTo>
                  <a:pt x="3492" y="2759"/>
                </a:lnTo>
                <a:lnTo>
                  <a:pt x="3469" y="2781"/>
                </a:lnTo>
                <a:lnTo>
                  <a:pt x="3444" y="2804"/>
                </a:lnTo>
                <a:lnTo>
                  <a:pt x="3419" y="2825"/>
                </a:lnTo>
                <a:lnTo>
                  <a:pt x="3378" y="2774"/>
                </a:lnTo>
                <a:close/>
                <a:moveTo>
                  <a:pt x="3844" y="1895"/>
                </a:moveTo>
                <a:lnTo>
                  <a:pt x="3846" y="1865"/>
                </a:lnTo>
                <a:lnTo>
                  <a:pt x="3848" y="1834"/>
                </a:lnTo>
                <a:lnTo>
                  <a:pt x="3848" y="1803"/>
                </a:lnTo>
                <a:lnTo>
                  <a:pt x="3849" y="1772"/>
                </a:lnTo>
                <a:lnTo>
                  <a:pt x="3849" y="1742"/>
                </a:lnTo>
                <a:lnTo>
                  <a:pt x="3848" y="1711"/>
                </a:lnTo>
                <a:lnTo>
                  <a:pt x="3846" y="1680"/>
                </a:lnTo>
                <a:lnTo>
                  <a:pt x="3844" y="1651"/>
                </a:lnTo>
                <a:lnTo>
                  <a:pt x="3841" y="1621"/>
                </a:lnTo>
                <a:lnTo>
                  <a:pt x="3836" y="1592"/>
                </a:lnTo>
                <a:lnTo>
                  <a:pt x="3833" y="1562"/>
                </a:lnTo>
                <a:lnTo>
                  <a:pt x="3827" y="1532"/>
                </a:lnTo>
                <a:lnTo>
                  <a:pt x="3821" y="1503"/>
                </a:lnTo>
                <a:lnTo>
                  <a:pt x="3815" y="1474"/>
                </a:lnTo>
                <a:lnTo>
                  <a:pt x="3808" y="1445"/>
                </a:lnTo>
                <a:lnTo>
                  <a:pt x="3800" y="1417"/>
                </a:lnTo>
                <a:lnTo>
                  <a:pt x="3791" y="1388"/>
                </a:lnTo>
                <a:lnTo>
                  <a:pt x="3783" y="1361"/>
                </a:lnTo>
                <a:lnTo>
                  <a:pt x="3773" y="1333"/>
                </a:lnTo>
                <a:lnTo>
                  <a:pt x="3763" y="1305"/>
                </a:lnTo>
                <a:lnTo>
                  <a:pt x="3752" y="1278"/>
                </a:lnTo>
                <a:lnTo>
                  <a:pt x="3741" y="1251"/>
                </a:lnTo>
                <a:lnTo>
                  <a:pt x="3729" y="1225"/>
                </a:lnTo>
                <a:lnTo>
                  <a:pt x="3716" y="1199"/>
                </a:lnTo>
                <a:lnTo>
                  <a:pt x="3703" y="1173"/>
                </a:lnTo>
                <a:lnTo>
                  <a:pt x="3690" y="1147"/>
                </a:lnTo>
                <a:lnTo>
                  <a:pt x="3674" y="1122"/>
                </a:lnTo>
                <a:lnTo>
                  <a:pt x="3660" y="1097"/>
                </a:lnTo>
                <a:lnTo>
                  <a:pt x="3645" y="1072"/>
                </a:lnTo>
                <a:lnTo>
                  <a:pt x="3628" y="1048"/>
                </a:lnTo>
                <a:lnTo>
                  <a:pt x="3613" y="1024"/>
                </a:lnTo>
                <a:lnTo>
                  <a:pt x="3595" y="1000"/>
                </a:lnTo>
                <a:lnTo>
                  <a:pt x="3648" y="961"/>
                </a:lnTo>
                <a:lnTo>
                  <a:pt x="3666" y="986"/>
                </a:lnTo>
                <a:lnTo>
                  <a:pt x="3683" y="1011"/>
                </a:lnTo>
                <a:lnTo>
                  <a:pt x="3700" y="1037"/>
                </a:lnTo>
                <a:lnTo>
                  <a:pt x="3716" y="1063"/>
                </a:lnTo>
                <a:lnTo>
                  <a:pt x="3731" y="1089"/>
                </a:lnTo>
                <a:lnTo>
                  <a:pt x="3747" y="1115"/>
                </a:lnTo>
                <a:lnTo>
                  <a:pt x="3761" y="1142"/>
                </a:lnTo>
                <a:lnTo>
                  <a:pt x="3775" y="1169"/>
                </a:lnTo>
                <a:lnTo>
                  <a:pt x="3788" y="1198"/>
                </a:lnTo>
                <a:lnTo>
                  <a:pt x="3801" y="1225"/>
                </a:lnTo>
                <a:lnTo>
                  <a:pt x="3813" y="1253"/>
                </a:lnTo>
                <a:lnTo>
                  <a:pt x="3825" y="1282"/>
                </a:lnTo>
                <a:lnTo>
                  <a:pt x="3835" y="1311"/>
                </a:lnTo>
                <a:lnTo>
                  <a:pt x="3845" y="1340"/>
                </a:lnTo>
                <a:lnTo>
                  <a:pt x="3854" y="1369"/>
                </a:lnTo>
                <a:lnTo>
                  <a:pt x="3864" y="1399"/>
                </a:lnTo>
                <a:lnTo>
                  <a:pt x="3871" y="1428"/>
                </a:lnTo>
                <a:lnTo>
                  <a:pt x="3879" y="1459"/>
                </a:lnTo>
                <a:lnTo>
                  <a:pt x="3886" y="1490"/>
                </a:lnTo>
                <a:lnTo>
                  <a:pt x="3892" y="1519"/>
                </a:lnTo>
                <a:lnTo>
                  <a:pt x="3897" y="1551"/>
                </a:lnTo>
                <a:lnTo>
                  <a:pt x="3901" y="1582"/>
                </a:lnTo>
                <a:lnTo>
                  <a:pt x="3906" y="1613"/>
                </a:lnTo>
                <a:lnTo>
                  <a:pt x="3909" y="1645"/>
                </a:lnTo>
                <a:lnTo>
                  <a:pt x="3912" y="1677"/>
                </a:lnTo>
                <a:lnTo>
                  <a:pt x="3913" y="1707"/>
                </a:lnTo>
                <a:lnTo>
                  <a:pt x="3914" y="1739"/>
                </a:lnTo>
                <a:lnTo>
                  <a:pt x="3914" y="1772"/>
                </a:lnTo>
                <a:lnTo>
                  <a:pt x="3914" y="1804"/>
                </a:lnTo>
                <a:lnTo>
                  <a:pt x="3913" y="1836"/>
                </a:lnTo>
                <a:lnTo>
                  <a:pt x="3911" y="1869"/>
                </a:lnTo>
                <a:lnTo>
                  <a:pt x="3909" y="1901"/>
                </a:lnTo>
                <a:lnTo>
                  <a:pt x="3844" y="1895"/>
                </a:lnTo>
                <a:close/>
                <a:moveTo>
                  <a:pt x="3595" y="1000"/>
                </a:moveTo>
                <a:lnTo>
                  <a:pt x="3577" y="978"/>
                </a:lnTo>
                <a:lnTo>
                  <a:pt x="3560" y="954"/>
                </a:lnTo>
                <a:lnTo>
                  <a:pt x="3541" y="932"/>
                </a:lnTo>
                <a:lnTo>
                  <a:pt x="3522" y="909"/>
                </a:lnTo>
                <a:lnTo>
                  <a:pt x="3502" y="888"/>
                </a:lnTo>
                <a:lnTo>
                  <a:pt x="3482" y="867"/>
                </a:lnTo>
                <a:lnTo>
                  <a:pt x="3462" y="847"/>
                </a:lnTo>
                <a:lnTo>
                  <a:pt x="3440" y="825"/>
                </a:lnTo>
                <a:lnTo>
                  <a:pt x="3419" y="806"/>
                </a:lnTo>
                <a:lnTo>
                  <a:pt x="3397" y="786"/>
                </a:lnTo>
                <a:lnTo>
                  <a:pt x="3374" y="767"/>
                </a:lnTo>
                <a:lnTo>
                  <a:pt x="3352" y="750"/>
                </a:lnTo>
                <a:lnTo>
                  <a:pt x="3328" y="731"/>
                </a:lnTo>
                <a:lnTo>
                  <a:pt x="3304" y="714"/>
                </a:lnTo>
                <a:lnTo>
                  <a:pt x="3281" y="698"/>
                </a:lnTo>
                <a:lnTo>
                  <a:pt x="3256" y="681"/>
                </a:lnTo>
                <a:lnTo>
                  <a:pt x="3231" y="664"/>
                </a:lnTo>
                <a:lnTo>
                  <a:pt x="3205" y="649"/>
                </a:lnTo>
                <a:lnTo>
                  <a:pt x="3179" y="635"/>
                </a:lnTo>
                <a:lnTo>
                  <a:pt x="3153" y="621"/>
                </a:lnTo>
                <a:lnTo>
                  <a:pt x="3127" y="608"/>
                </a:lnTo>
                <a:lnTo>
                  <a:pt x="3100" y="595"/>
                </a:lnTo>
                <a:lnTo>
                  <a:pt x="3073" y="582"/>
                </a:lnTo>
                <a:lnTo>
                  <a:pt x="3045" y="570"/>
                </a:lnTo>
                <a:lnTo>
                  <a:pt x="3017" y="559"/>
                </a:lnTo>
                <a:lnTo>
                  <a:pt x="2989" y="549"/>
                </a:lnTo>
                <a:lnTo>
                  <a:pt x="2960" y="539"/>
                </a:lnTo>
                <a:lnTo>
                  <a:pt x="2932" y="530"/>
                </a:lnTo>
                <a:lnTo>
                  <a:pt x="2902" y="521"/>
                </a:lnTo>
                <a:lnTo>
                  <a:pt x="2873" y="513"/>
                </a:lnTo>
                <a:lnTo>
                  <a:pt x="2843" y="506"/>
                </a:lnTo>
                <a:lnTo>
                  <a:pt x="2813" y="499"/>
                </a:lnTo>
                <a:lnTo>
                  <a:pt x="2826" y="435"/>
                </a:lnTo>
                <a:lnTo>
                  <a:pt x="2858" y="442"/>
                </a:lnTo>
                <a:lnTo>
                  <a:pt x="2889" y="449"/>
                </a:lnTo>
                <a:lnTo>
                  <a:pt x="2920" y="457"/>
                </a:lnTo>
                <a:lnTo>
                  <a:pt x="2951" y="467"/>
                </a:lnTo>
                <a:lnTo>
                  <a:pt x="2980" y="476"/>
                </a:lnTo>
                <a:lnTo>
                  <a:pt x="3011" y="487"/>
                </a:lnTo>
                <a:lnTo>
                  <a:pt x="3041" y="498"/>
                </a:lnTo>
                <a:lnTo>
                  <a:pt x="3070" y="509"/>
                </a:lnTo>
                <a:lnTo>
                  <a:pt x="3099" y="522"/>
                </a:lnTo>
                <a:lnTo>
                  <a:pt x="3127" y="534"/>
                </a:lnTo>
                <a:lnTo>
                  <a:pt x="3155" y="549"/>
                </a:lnTo>
                <a:lnTo>
                  <a:pt x="3184" y="563"/>
                </a:lnTo>
                <a:lnTo>
                  <a:pt x="3211" y="578"/>
                </a:lnTo>
                <a:lnTo>
                  <a:pt x="3238" y="593"/>
                </a:lnTo>
                <a:lnTo>
                  <a:pt x="3265" y="609"/>
                </a:lnTo>
                <a:lnTo>
                  <a:pt x="3291" y="625"/>
                </a:lnTo>
                <a:lnTo>
                  <a:pt x="3317" y="643"/>
                </a:lnTo>
                <a:lnTo>
                  <a:pt x="3342" y="661"/>
                </a:lnTo>
                <a:lnTo>
                  <a:pt x="3367" y="679"/>
                </a:lnTo>
                <a:lnTo>
                  <a:pt x="3392" y="698"/>
                </a:lnTo>
                <a:lnTo>
                  <a:pt x="3416" y="716"/>
                </a:lnTo>
                <a:lnTo>
                  <a:pt x="3439" y="737"/>
                </a:lnTo>
                <a:lnTo>
                  <a:pt x="3463" y="757"/>
                </a:lnTo>
                <a:lnTo>
                  <a:pt x="3485" y="778"/>
                </a:lnTo>
                <a:lnTo>
                  <a:pt x="3508" y="799"/>
                </a:lnTo>
                <a:lnTo>
                  <a:pt x="3529" y="820"/>
                </a:lnTo>
                <a:lnTo>
                  <a:pt x="3550" y="843"/>
                </a:lnTo>
                <a:lnTo>
                  <a:pt x="3570" y="867"/>
                </a:lnTo>
                <a:lnTo>
                  <a:pt x="3591" y="889"/>
                </a:lnTo>
                <a:lnTo>
                  <a:pt x="3611" y="913"/>
                </a:lnTo>
                <a:lnTo>
                  <a:pt x="3630" y="938"/>
                </a:lnTo>
                <a:lnTo>
                  <a:pt x="3648" y="961"/>
                </a:lnTo>
                <a:lnTo>
                  <a:pt x="3595" y="1000"/>
                </a:lnTo>
                <a:close/>
                <a:moveTo>
                  <a:pt x="2820" y="467"/>
                </a:moveTo>
                <a:lnTo>
                  <a:pt x="2813" y="499"/>
                </a:lnTo>
                <a:lnTo>
                  <a:pt x="2807" y="498"/>
                </a:lnTo>
                <a:lnTo>
                  <a:pt x="2801" y="494"/>
                </a:lnTo>
                <a:lnTo>
                  <a:pt x="2796" y="491"/>
                </a:lnTo>
                <a:lnTo>
                  <a:pt x="2792" y="486"/>
                </a:lnTo>
                <a:lnTo>
                  <a:pt x="2789" y="480"/>
                </a:lnTo>
                <a:lnTo>
                  <a:pt x="2788" y="474"/>
                </a:lnTo>
                <a:lnTo>
                  <a:pt x="2787" y="467"/>
                </a:lnTo>
                <a:lnTo>
                  <a:pt x="2788" y="461"/>
                </a:lnTo>
                <a:lnTo>
                  <a:pt x="2789" y="454"/>
                </a:lnTo>
                <a:lnTo>
                  <a:pt x="2792" y="449"/>
                </a:lnTo>
                <a:lnTo>
                  <a:pt x="2796" y="443"/>
                </a:lnTo>
                <a:lnTo>
                  <a:pt x="2802" y="440"/>
                </a:lnTo>
                <a:lnTo>
                  <a:pt x="2807" y="437"/>
                </a:lnTo>
                <a:lnTo>
                  <a:pt x="2813" y="435"/>
                </a:lnTo>
                <a:lnTo>
                  <a:pt x="2820" y="435"/>
                </a:lnTo>
                <a:lnTo>
                  <a:pt x="2826" y="435"/>
                </a:lnTo>
                <a:lnTo>
                  <a:pt x="2820" y="467"/>
                </a:lnTo>
                <a:close/>
                <a:moveTo>
                  <a:pt x="2794" y="488"/>
                </a:moveTo>
                <a:lnTo>
                  <a:pt x="2776" y="466"/>
                </a:lnTo>
                <a:lnTo>
                  <a:pt x="2757" y="444"/>
                </a:lnTo>
                <a:lnTo>
                  <a:pt x="2738" y="424"/>
                </a:lnTo>
                <a:lnTo>
                  <a:pt x="2719" y="404"/>
                </a:lnTo>
                <a:lnTo>
                  <a:pt x="2699" y="384"/>
                </a:lnTo>
                <a:lnTo>
                  <a:pt x="2678" y="365"/>
                </a:lnTo>
                <a:lnTo>
                  <a:pt x="2658" y="346"/>
                </a:lnTo>
                <a:lnTo>
                  <a:pt x="2636" y="327"/>
                </a:lnTo>
                <a:lnTo>
                  <a:pt x="2614" y="310"/>
                </a:lnTo>
                <a:lnTo>
                  <a:pt x="2592" y="292"/>
                </a:lnTo>
                <a:lnTo>
                  <a:pt x="2569" y="275"/>
                </a:lnTo>
                <a:lnTo>
                  <a:pt x="2545" y="260"/>
                </a:lnTo>
                <a:lnTo>
                  <a:pt x="2522" y="243"/>
                </a:lnTo>
                <a:lnTo>
                  <a:pt x="2497" y="229"/>
                </a:lnTo>
                <a:lnTo>
                  <a:pt x="2473" y="215"/>
                </a:lnTo>
                <a:lnTo>
                  <a:pt x="2447" y="201"/>
                </a:lnTo>
                <a:lnTo>
                  <a:pt x="2479" y="143"/>
                </a:lnTo>
                <a:lnTo>
                  <a:pt x="2505" y="157"/>
                </a:lnTo>
                <a:lnTo>
                  <a:pt x="2531" y="172"/>
                </a:lnTo>
                <a:lnTo>
                  <a:pt x="2557" y="189"/>
                </a:lnTo>
                <a:lnTo>
                  <a:pt x="2582" y="206"/>
                </a:lnTo>
                <a:lnTo>
                  <a:pt x="2607" y="222"/>
                </a:lnTo>
                <a:lnTo>
                  <a:pt x="2631" y="240"/>
                </a:lnTo>
                <a:lnTo>
                  <a:pt x="2654" y="258"/>
                </a:lnTo>
                <a:lnTo>
                  <a:pt x="2678" y="277"/>
                </a:lnTo>
                <a:lnTo>
                  <a:pt x="2700" y="297"/>
                </a:lnTo>
                <a:lnTo>
                  <a:pt x="2723" y="317"/>
                </a:lnTo>
                <a:lnTo>
                  <a:pt x="2744" y="337"/>
                </a:lnTo>
                <a:lnTo>
                  <a:pt x="2765" y="358"/>
                </a:lnTo>
                <a:lnTo>
                  <a:pt x="2787" y="379"/>
                </a:lnTo>
                <a:lnTo>
                  <a:pt x="2807" y="401"/>
                </a:lnTo>
                <a:lnTo>
                  <a:pt x="2826" y="423"/>
                </a:lnTo>
                <a:lnTo>
                  <a:pt x="2845" y="447"/>
                </a:lnTo>
                <a:lnTo>
                  <a:pt x="2794" y="488"/>
                </a:lnTo>
                <a:close/>
                <a:moveTo>
                  <a:pt x="2447" y="201"/>
                </a:moveTo>
                <a:lnTo>
                  <a:pt x="2424" y="188"/>
                </a:lnTo>
                <a:lnTo>
                  <a:pt x="2399" y="176"/>
                </a:lnTo>
                <a:lnTo>
                  <a:pt x="2374" y="164"/>
                </a:lnTo>
                <a:lnTo>
                  <a:pt x="2348" y="154"/>
                </a:lnTo>
                <a:lnTo>
                  <a:pt x="2322" y="143"/>
                </a:lnTo>
                <a:lnTo>
                  <a:pt x="2296" y="133"/>
                </a:lnTo>
                <a:lnTo>
                  <a:pt x="2270" y="124"/>
                </a:lnTo>
                <a:lnTo>
                  <a:pt x="2243" y="116"/>
                </a:lnTo>
                <a:lnTo>
                  <a:pt x="2216" y="107"/>
                </a:lnTo>
                <a:lnTo>
                  <a:pt x="2188" y="100"/>
                </a:lnTo>
                <a:lnTo>
                  <a:pt x="2161" y="93"/>
                </a:lnTo>
                <a:lnTo>
                  <a:pt x="2133" y="87"/>
                </a:lnTo>
                <a:lnTo>
                  <a:pt x="2104" y="83"/>
                </a:lnTo>
                <a:lnTo>
                  <a:pt x="2076" y="78"/>
                </a:lnTo>
                <a:lnTo>
                  <a:pt x="2048" y="74"/>
                </a:lnTo>
                <a:lnTo>
                  <a:pt x="2018" y="71"/>
                </a:lnTo>
                <a:lnTo>
                  <a:pt x="2024" y="6"/>
                </a:lnTo>
                <a:lnTo>
                  <a:pt x="2055" y="9"/>
                </a:lnTo>
                <a:lnTo>
                  <a:pt x="2085" y="13"/>
                </a:lnTo>
                <a:lnTo>
                  <a:pt x="2116" y="18"/>
                </a:lnTo>
                <a:lnTo>
                  <a:pt x="2146" y="23"/>
                </a:lnTo>
                <a:lnTo>
                  <a:pt x="2175" y="29"/>
                </a:lnTo>
                <a:lnTo>
                  <a:pt x="2205" y="36"/>
                </a:lnTo>
                <a:lnTo>
                  <a:pt x="2233" y="44"/>
                </a:lnTo>
                <a:lnTo>
                  <a:pt x="2262" y="53"/>
                </a:lnTo>
                <a:lnTo>
                  <a:pt x="2290" y="61"/>
                </a:lnTo>
                <a:lnTo>
                  <a:pt x="2318" y="71"/>
                </a:lnTo>
                <a:lnTo>
                  <a:pt x="2346" y="81"/>
                </a:lnTo>
                <a:lnTo>
                  <a:pt x="2373" y="92"/>
                </a:lnTo>
                <a:lnTo>
                  <a:pt x="2400" y="104"/>
                </a:lnTo>
                <a:lnTo>
                  <a:pt x="2427" y="117"/>
                </a:lnTo>
                <a:lnTo>
                  <a:pt x="2453" y="130"/>
                </a:lnTo>
                <a:lnTo>
                  <a:pt x="2479" y="143"/>
                </a:lnTo>
                <a:lnTo>
                  <a:pt x="2447" y="201"/>
                </a:lnTo>
                <a:close/>
                <a:moveTo>
                  <a:pt x="2018" y="71"/>
                </a:moveTo>
                <a:lnTo>
                  <a:pt x="1984" y="68"/>
                </a:lnTo>
                <a:lnTo>
                  <a:pt x="1950" y="66"/>
                </a:lnTo>
                <a:lnTo>
                  <a:pt x="1915" y="66"/>
                </a:lnTo>
                <a:lnTo>
                  <a:pt x="1882" y="66"/>
                </a:lnTo>
                <a:lnTo>
                  <a:pt x="1848" y="67"/>
                </a:lnTo>
                <a:lnTo>
                  <a:pt x="1815" y="70"/>
                </a:lnTo>
                <a:lnTo>
                  <a:pt x="1782" y="73"/>
                </a:lnTo>
                <a:lnTo>
                  <a:pt x="1749" y="77"/>
                </a:lnTo>
                <a:lnTo>
                  <a:pt x="1715" y="83"/>
                </a:lnTo>
                <a:lnTo>
                  <a:pt x="1684" y="88"/>
                </a:lnTo>
                <a:lnTo>
                  <a:pt x="1652" y="96"/>
                </a:lnTo>
                <a:lnTo>
                  <a:pt x="1620" y="103"/>
                </a:lnTo>
                <a:lnTo>
                  <a:pt x="1588" y="112"/>
                </a:lnTo>
                <a:lnTo>
                  <a:pt x="1557" y="122"/>
                </a:lnTo>
                <a:lnTo>
                  <a:pt x="1526" y="132"/>
                </a:lnTo>
                <a:lnTo>
                  <a:pt x="1496" y="144"/>
                </a:lnTo>
                <a:lnTo>
                  <a:pt x="1472" y="83"/>
                </a:lnTo>
                <a:lnTo>
                  <a:pt x="1504" y="71"/>
                </a:lnTo>
                <a:lnTo>
                  <a:pt x="1537" y="59"/>
                </a:lnTo>
                <a:lnTo>
                  <a:pt x="1570" y="49"/>
                </a:lnTo>
                <a:lnTo>
                  <a:pt x="1603" y="40"/>
                </a:lnTo>
                <a:lnTo>
                  <a:pt x="1636" y="32"/>
                </a:lnTo>
                <a:lnTo>
                  <a:pt x="1671" y="23"/>
                </a:lnTo>
                <a:lnTo>
                  <a:pt x="1705" y="18"/>
                </a:lnTo>
                <a:lnTo>
                  <a:pt x="1739" y="12"/>
                </a:lnTo>
                <a:lnTo>
                  <a:pt x="1775" y="8"/>
                </a:lnTo>
                <a:lnTo>
                  <a:pt x="1809" y="5"/>
                </a:lnTo>
                <a:lnTo>
                  <a:pt x="1844" y="2"/>
                </a:lnTo>
                <a:lnTo>
                  <a:pt x="1880" y="0"/>
                </a:lnTo>
                <a:lnTo>
                  <a:pt x="1916" y="0"/>
                </a:lnTo>
                <a:lnTo>
                  <a:pt x="1952" y="1"/>
                </a:lnTo>
                <a:lnTo>
                  <a:pt x="1989" y="2"/>
                </a:lnTo>
                <a:lnTo>
                  <a:pt x="2024" y="6"/>
                </a:lnTo>
                <a:lnTo>
                  <a:pt x="2018" y="71"/>
                </a:lnTo>
                <a:close/>
                <a:moveTo>
                  <a:pt x="1496" y="144"/>
                </a:moveTo>
                <a:lnTo>
                  <a:pt x="1465" y="156"/>
                </a:lnTo>
                <a:lnTo>
                  <a:pt x="1434" y="170"/>
                </a:lnTo>
                <a:lnTo>
                  <a:pt x="1405" y="184"/>
                </a:lnTo>
                <a:lnTo>
                  <a:pt x="1374" y="200"/>
                </a:lnTo>
                <a:lnTo>
                  <a:pt x="1345" y="216"/>
                </a:lnTo>
                <a:lnTo>
                  <a:pt x="1316" y="233"/>
                </a:lnTo>
                <a:lnTo>
                  <a:pt x="1289" y="251"/>
                </a:lnTo>
                <a:lnTo>
                  <a:pt x="1260" y="269"/>
                </a:lnTo>
                <a:lnTo>
                  <a:pt x="1233" y="290"/>
                </a:lnTo>
                <a:lnTo>
                  <a:pt x="1207" y="310"/>
                </a:lnTo>
                <a:lnTo>
                  <a:pt x="1181" y="330"/>
                </a:lnTo>
                <a:lnTo>
                  <a:pt x="1156" y="352"/>
                </a:lnTo>
                <a:lnTo>
                  <a:pt x="1131" y="375"/>
                </a:lnTo>
                <a:lnTo>
                  <a:pt x="1108" y="397"/>
                </a:lnTo>
                <a:lnTo>
                  <a:pt x="1084" y="422"/>
                </a:lnTo>
                <a:lnTo>
                  <a:pt x="1062" y="446"/>
                </a:lnTo>
                <a:lnTo>
                  <a:pt x="1013" y="403"/>
                </a:lnTo>
                <a:lnTo>
                  <a:pt x="1037" y="377"/>
                </a:lnTo>
                <a:lnTo>
                  <a:pt x="1062" y="351"/>
                </a:lnTo>
                <a:lnTo>
                  <a:pt x="1086" y="326"/>
                </a:lnTo>
                <a:lnTo>
                  <a:pt x="1113" y="303"/>
                </a:lnTo>
                <a:lnTo>
                  <a:pt x="1140" y="280"/>
                </a:lnTo>
                <a:lnTo>
                  <a:pt x="1167" y="258"/>
                </a:lnTo>
                <a:lnTo>
                  <a:pt x="1194" y="236"/>
                </a:lnTo>
                <a:lnTo>
                  <a:pt x="1224" y="216"/>
                </a:lnTo>
                <a:lnTo>
                  <a:pt x="1252" y="196"/>
                </a:lnTo>
                <a:lnTo>
                  <a:pt x="1283" y="177"/>
                </a:lnTo>
                <a:lnTo>
                  <a:pt x="1312" y="159"/>
                </a:lnTo>
                <a:lnTo>
                  <a:pt x="1343" y="142"/>
                </a:lnTo>
                <a:lnTo>
                  <a:pt x="1375" y="125"/>
                </a:lnTo>
                <a:lnTo>
                  <a:pt x="1407" y="110"/>
                </a:lnTo>
                <a:lnTo>
                  <a:pt x="1439" y="96"/>
                </a:lnTo>
                <a:lnTo>
                  <a:pt x="1472" y="83"/>
                </a:lnTo>
                <a:lnTo>
                  <a:pt x="1496" y="144"/>
                </a:lnTo>
                <a:close/>
                <a:moveTo>
                  <a:pt x="1037" y="424"/>
                </a:moveTo>
                <a:lnTo>
                  <a:pt x="1062" y="446"/>
                </a:lnTo>
                <a:lnTo>
                  <a:pt x="1057" y="450"/>
                </a:lnTo>
                <a:lnTo>
                  <a:pt x="1051" y="454"/>
                </a:lnTo>
                <a:lnTo>
                  <a:pt x="1045" y="456"/>
                </a:lnTo>
                <a:lnTo>
                  <a:pt x="1039" y="457"/>
                </a:lnTo>
                <a:lnTo>
                  <a:pt x="1033" y="456"/>
                </a:lnTo>
                <a:lnTo>
                  <a:pt x="1026" y="455"/>
                </a:lnTo>
                <a:lnTo>
                  <a:pt x="1020" y="453"/>
                </a:lnTo>
                <a:lnTo>
                  <a:pt x="1016" y="449"/>
                </a:lnTo>
                <a:lnTo>
                  <a:pt x="1011" y="443"/>
                </a:lnTo>
                <a:lnTo>
                  <a:pt x="1007" y="439"/>
                </a:lnTo>
                <a:lnTo>
                  <a:pt x="1005" y="433"/>
                </a:lnTo>
                <a:lnTo>
                  <a:pt x="1005" y="427"/>
                </a:lnTo>
                <a:lnTo>
                  <a:pt x="1005" y="420"/>
                </a:lnTo>
                <a:lnTo>
                  <a:pt x="1006" y="414"/>
                </a:lnTo>
                <a:lnTo>
                  <a:pt x="1008" y="408"/>
                </a:lnTo>
                <a:lnTo>
                  <a:pt x="1013" y="403"/>
                </a:lnTo>
                <a:lnTo>
                  <a:pt x="1037" y="424"/>
                </a:lnTo>
                <a:close/>
                <a:moveTo>
                  <a:pt x="1042" y="456"/>
                </a:moveTo>
                <a:lnTo>
                  <a:pt x="994" y="465"/>
                </a:lnTo>
                <a:lnTo>
                  <a:pt x="947" y="474"/>
                </a:lnTo>
                <a:lnTo>
                  <a:pt x="900" y="486"/>
                </a:lnTo>
                <a:lnTo>
                  <a:pt x="855" y="500"/>
                </a:lnTo>
                <a:lnTo>
                  <a:pt x="810" y="515"/>
                </a:lnTo>
                <a:lnTo>
                  <a:pt x="765" y="533"/>
                </a:lnTo>
                <a:lnTo>
                  <a:pt x="722" y="552"/>
                </a:lnTo>
                <a:lnTo>
                  <a:pt x="680" y="573"/>
                </a:lnTo>
                <a:lnTo>
                  <a:pt x="638" y="596"/>
                </a:lnTo>
                <a:lnTo>
                  <a:pt x="598" y="619"/>
                </a:lnTo>
                <a:lnTo>
                  <a:pt x="558" y="645"/>
                </a:lnTo>
                <a:lnTo>
                  <a:pt x="520" y="674"/>
                </a:lnTo>
                <a:lnTo>
                  <a:pt x="484" y="702"/>
                </a:lnTo>
                <a:lnTo>
                  <a:pt x="448" y="733"/>
                </a:lnTo>
                <a:lnTo>
                  <a:pt x="413" y="765"/>
                </a:lnTo>
                <a:lnTo>
                  <a:pt x="380" y="798"/>
                </a:lnTo>
                <a:lnTo>
                  <a:pt x="332" y="753"/>
                </a:lnTo>
                <a:lnTo>
                  <a:pt x="368" y="718"/>
                </a:lnTo>
                <a:lnTo>
                  <a:pt x="404" y="683"/>
                </a:lnTo>
                <a:lnTo>
                  <a:pt x="442" y="651"/>
                </a:lnTo>
                <a:lnTo>
                  <a:pt x="481" y="621"/>
                </a:lnTo>
                <a:lnTo>
                  <a:pt x="521" y="592"/>
                </a:lnTo>
                <a:lnTo>
                  <a:pt x="563" y="564"/>
                </a:lnTo>
                <a:lnTo>
                  <a:pt x="605" y="539"/>
                </a:lnTo>
                <a:lnTo>
                  <a:pt x="649" y="514"/>
                </a:lnTo>
                <a:lnTo>
                  <a:pt x="694" y="493"/>
                </a:lnTo>
                <a:lnTo>
                  <a:pt x="740" y="473"/>
                </a:lnTo>
                <a:lnTo>
                  <a:pt x="787" y="454"/>
                </a:lnTo>
                <a:lnTo>
                  <a:pt x="835" y="437"/>
                </a:lnTo>
                <a:lnTo>
                  <a:pt x="883" y="423"/>
                </a:lnTo>
                <a:lnTo>
                  <a:pt x="932" y="410"/>
                </a:lnTo>
                <a:lnTo>
                  <a:pt x="982" y="401"/>
                </a:lnTo>
                <a:lnTo>
                  <a:pt x="1032" y="391"/>
                </a:lnTo>
                <a:lnTo>
                  <a:pt x="1042" y="456"/>
                </a:lnTo>
                <a:close/>
                <a:moveTo>
                  <a:pt x="380" y="798"/>
                </a:moveTo>
                <a:lnTo>
                  <a:pt x="349" y="832"/>
                </a:lnTo>
                <a:lnTo>
                  <a:pt x="319" y="868"/>
                </a:lnTo>
                <a:lnTo>
                  <a:pt x="291" y="904"/>
                </a:lnTo>
                <a:lnTo>
                  <a:pt x="264" y="942"/>
                </a:lnTo>
                <a:lnTo>
                  <a:pt x="238" y="980"/>
                </a:lnTo>
                <a:lnTo>
                  <a:pt x="214" y="1020"/>
                </a:lnTo>
                <a:lnTo>
                  <a:pt x="192" y="1062"/>
                </a:lnTo>
                <a:lnTo>
                  <a:pt x="171" y="1104"/>
                </a:lnTo>
                <a:lnTo>
                  <a:pt x="153" y="1147"/>
                </a:lnTo>
                <a:lnTo>
                  <a:pt x="135" y="1191"/>
                </a:lnTo>
                <a:lnTo>
                  <a:pt x="119" y="1237"/>
                </a:lnTo>
                <a:lnTo>
                  <a:pt x="106" y="1282"/>
                </a:lnTo>
                <a:lnTo>
                  <a:pt x="95" y="1329"/>
                </a:lnTo>
                <a:lnTo>
                  <a:pt x="85" y="1376"/>
                </a:lnTo>
                <a:lnTo>
                  <a:pt x="77" y="1425"/>
                </a:lnTo>
                <a:lnTo>
                  <a:pt x="71" y="1474"/>
                </a:lnTo>
                <a:lnTo>
                  <a:pt x="6" y="1467"/>
                </a:lnTo>
                <a:lnTo>
                  <a:pt x="12" y="1417"/>
                </a:lnTo>
                <a:lnTo>
                  <a:pt x="20" y="1364"/>
                </a:lnTo>
                <a:lnTo>
                  <a:pt x="31" y="1315"/>
                </a:lnTo>
                <a:lnTo>
                  <a:pt x="43" y="1265"/>
                </a:lnTo>
                <a:lnTo>
                  <a:pt x="58" y="1217"/>
                </a:lnTo>
                <a:lnTo>
                  <a:pt x="73" y="1168"/>
                </a:lnTo>
                <a:lnTo>
                  <a:pt x="92" y="1122"/>
                </a:lnTo>
                <a:lnTo>
                  <a:pt x="112" y="1076"/>
                </a:lnTo>
                <a:lnTo>
                  <a:pt x="134" y="1032"/>
                </a:lnTo>
                <a:lnTo>
                  <a:pt x="157" y="988"/>
                </a:lnTo>
                <a:lnTo>
                  <a:pt x="182" y="946"/>
                </a:lnTo>
                <a:lnTo>
                  <a:pt x="209" y="904"/>
                </a:lnTo>
                <a:lnTo>
                  <a:pt x="238" y="865"/>
                </a:lnTo>
                <a:lnTo>
                  <a:pt x="268" y="826"/>
                </a:lnTo>
                <a:lnTo>
                  <a:pt x="299" y="789"/>
                </a:lnTo>
                <a:lnTo>
                  <a:pt x="332" y="753"/>
                </a:lnTo>
                <a:lnTo>
                  <a:pt x="380" y="798"/>
                </a:lnTo>
                <a:close/>
                <a:moveTo>
                  <a:pt x="71" y="1474"/>
                </a:moveTo>
                <a:lnTo>
                  <a:pt x="69" y="1503"/>
                </a:lnTo>
                <a:lnTo>
                  <a:pt x="67" y="1532"/>
                </a:lnTo>
                <a:lnTo>
                  <a:pt x="66" y="1562"/>
                </a:lnTo>
                <a:lnTo>
                  <a:pt x="66" y="1590"/>
                </a:lnTo>
                <a:lnTo>
                  <a:pt x="66" y="1619"/>
                </a:lnTo>
                <a:lnTo>
                  <a:pt x="67" y="1647"/>
                </a:lnTo>
                <a:lnTo>
                  <a:pt x="70" y="1677"/>
                </a:lnTo>
                <a:lnTo>
                  <a:pt x="72" y="1704"/>
                </a:lnTo>
                <a:lnTo>
                  <a:pt x="76" y="1732"/>
                </a:lnTo>
                <a:lnTo>
                  <a:pt x="80" y="1761"/>
                </a:lnTo>
                <a:lnTo>
                  <a:pt x="85" y="1788"/>
                </a:lnTo>
                <a:lnTo>
                  <a:pt x="90" y="1815"/>
                </a:lnTo>
                <a:lnTo>
                  <a:pt x="96" y="1842"/>
                </a:lnTo>
                <a:lnTo>
                  <a:pt x="103" y="1869"/>
                </a:lnTo>
                <a:lnTo>
                  <a:pt x="110" y="1897"/>
                </a:lnTo>
                <a:lnTo>
                  <a:pt x="118" y="1923"/>
                </a:lnTo>
                <a:lnTo>
                  <a:pt x="127" y="1950"/>
                </a:lnTo>
                <a:lnTo>
                  <a:pt x="136" y="1976"/>
                </a:lnTo>
                <a:lnTo>
                  <a:pt x="145" y="2001"/>
                </a:lnTo>
                <a:lnTo>
                  <a:pt x="156" y="2027"/>
                </a:lnTo>
                <a:lnTo>
                  <a:pt x="168" y="2052"/>
                </a:lnTo>
                <a:lnTo>
                  <a:pt x="179" y="2076"/>
                </a:lnTo>
                <a:lnTo>
                  <a:pt x="192" y="2101"/>
                </a:lnTo>
                <a:lnTo>
                  <a:pt x="205" y="2125"/>
                </a:lnTo>
                <a:lnTo>
                  <a:pt x="218" y="2150"/>
                </a:lnTo>
                <a:lnTo>
                  <a:pt x="232" y="2172"/>
                </a:lnTo>
                <a:lnTo>
                  <a:pt x="246" y="2196"/>
                </a:lnTo>
                <a:lnTo>
                  <a:pt x="261" y="2218"/>
                </a:lnTo>
                <a:lnTo>
                  <a:pt x="277" y="2241"/>
                </a:lnTo>
                <a:lnTo>
                  <a:pt x="292" y="2263"/>
                </a:lnTo>
                <a:lnTo>
                  <a:pt x="309" y="2285"/>
                </a:lnTo>
                <a:lnTo>
                  <a:pt x="326" y="2306"/>
                </a:lnTo>
                <a:lnTo>
                  <a:pt x="275" y="2347"/>
                </a:lnTo>
                <a:lnTo>
                  <a:pt x="258" y="2325"/>
                </a:lnTo>
                <a:lnTo>
                  <a:pt x="240" y="2302"/>
                </a:lnTo>
                <a:lnTo>
                  <a:pt x="223" y="2279"/>
                </a:lnTo>
                <a:lnTo>
                  <a:pt x="207" y="2255"/>
                </a:lnTo>
                <a:lnTo>
                  <a:pt x="190" y="2231"/>
                </a:lnTo>
                <a:lnTo>
                  <a:pt x="175" y="2206"/>
                </a:lnTo>
                <a:lnTo>
                  <a:pt x="161" y="2182"/>
                </a:lnTo>
                <a:lnTo>
                  <a:pt x="147" y="2157"/>
                </a:lnTo>
                <a:lnTo>
                  <a:pt x="132" y="2131"/>
                </a:lnTo>
                <a:lnTo>
                  <a:pt x="119" y="2105"/>
                </a:lnTo>
                <a:lnTo>
                  <a:pt x="108" y="2079"/>
                </a:lnTo>
                <a:lnTo>
                  <a:pt x="96" y="2053"/>
                </a:lnTo>
                <a:lnTo>
                  <a:pt x="85" y="2026"/>
                </a:lnTo>
                <a:lnTo>
                  <a:pt x="74" y="1998"/>
                </a:lnTo>
                <a:lnTo>
                  <a:pt x="65" y="1970"/>
                </a:lnTo>
                <a:lnTo>
                  <a:pt x="56" y="1943"/>
                </a:lnTo>
                <a:lnTo>
                  <a:pt x="47" y="1914"/>
                </a:lnTo>
                <a:lnTo>
                  <a:pt x="39" y="1886"/>
                </a:lnTo>
                <a:lnTo>
                  <a:pt x="32" y="1858"/>
                </a:lnTo>
                <a:lnTo>
                  <a:pt x="26" y="1829"/>
                </a:lnTo>
                <a:lnTo>
                  <a:pt x="20" y="1800"/>
                </a:lnTo>
                <a:lnTo>
                  <a:pt x="15" y="1770"/>
                </a:lnTo>
                <a:lnTo>
                  <a:pt x="11" y="1741"/>
                </a:lnTo>
                <a:lnTo>
                  <a:pt x="7" y="1711"/>
                </a:lnTo>
                <a:lnTo>
                  <a:pt x="5" y="1681"/>
                </a:lnTo>
                <a:lnTo>
                  <a:pt x="2" y="1652"/>
                </a:lnTo>
                <a:lnTo>
                  <a:pt x="1" y="1621"/>
                </a:lnTo>
                <a:lnTo>
                  <a:pt x="0" y="1590"/>
                </a:lnTo>
                <a:lnTo>
                  <a:pt x="1" y="1561"/>
                </a:lnTo>
                <a:lnTo>
                  <a:pt x="1" y="1530"/>
                </a:lnTo>
                <a:lnTo>
                  <a:pt x="4" y="1499"/>
                </a:lnTo>
                <a:lnTo>
                  <a:pt x="6" y="1467"/>
                </a:lnTo>
                <a:lnTo>
                  <a:pt x="71" y="1474"/>
                </a:lnTo>
                <a:close/>
                <a:moveTo>
                  <a:pt x="326" y="2306"/>
                </a:moveTo>
                <a:lnTo>
                  <a:pt x="344" y="2327"/>
                </a:lnTo>
                <a:lnTo>
                  <a:pt x="362" y="2347"/>
                </a:lnTo>
                <a:lnTo>
                  <a:pt x="381" y="2367"/>
                </a:lnTo>
                <a:lnTo>
                  <a:pt x="400" y="2386"/>
                </a:lnTo>
                <a:lnTo>
                  <a:pt x="419" y="2406"/>
                </a:lnTo>
                <a:lnTo>
                  <a:pt x="439" y="2424"/>
                </a:lnTo>
                <a:lnTo>
                  <a:pt x="460" y="2443"/>
                </a:lnTo>
                <a:lnTo>
                  <a:pt x="480" y="2461"/>
                </a:lnTo>
                <a:lnTo>
                  <a:pt x="501" y="2477"/>
                </a:lnTo>
                <a:lnTo>
                  <a:pt x="524" y="2494"/>
                </a:lnTo>
                <a:lnTo>
                  <a:pt x="546" y="2510"/>
                </a:lnTo>
                <a:lnTo>
                  <a:pt x="569" y="2526"/>
                </a:lnTo>
                <a:lnTo>
                  <a:pt x="591" y="2541"/>
                </a:lnTo>
                <a:lnTo>
                  <a:pt x="615" y="2555"/>
                </a:lnTo>
                <a:lnTo>
                  <a:pt x="638" y="2570"/>
                </a:lnTo>
                <a:lnTo>
                  <a:pt x="662" y="2583"/>
                </a:lnTo>
                <a:lnTo>
                  <a:pt x="687" y="2596"/>
                </a:lnTo>
                <a:lnTo>
                  <a:pt x="712" y="2609"/>
                </a:lnTo>
                <a:lnTo>
                  <a:pt x="738" y="2620"/>
                </a:lnTo>
                <a:lnTo>
                  <a:pt x="763" y="2631"/>
                </a:lnTo>
                <a:lnTo>
                  <a:pt x="789" y="2642"/>
                </a:lnTo>
                <a:lnTo>
                  <a:pt x="815" y="2651"/>
                </a:lnTo>
                <a:lnTo>
                  <a:pt x="842" y="2661"/>
                </a:lnTo>
                <a:lnTo>
                  <a:pt x="869" y="2669"/>
                </a:lnTo>
                <a:lnTo>
                  <a:pt x="896" y="2677"/>
                </a:lnTo>
                <a:lnTo>
                  <a:pt x="923" y="2684"/>
                </a:lnTo>
                <a:lnTo>
                  <a:pt x="952" y="2691"/>
                </a:lnTo>
                <a:lnTo>
                  <a:pt x="979" y="2697"/>
                </a:lnTo>
                <a:lnTo>
                  <a:pt x="1007" y="2702"/>
                </a:lnTo>
                <a:lnTo>
                  <a:pt x="1037" y="2707"/>
                </a:lnTo>
                <a:lnTo>
                  <a:pt x="1065" y="2710"/>
                </a:lnTo>
                <a:lnTo>
                  <a:pt x="1095" y="2714"/>
                </a:lnTo>
                <a:lnTo>
                  <a:pt x="1088" y="2779"/>
                </a:lnTo>
                <a:lnTo>
                  <a:pt x="1057" y="2776"/>
                </a:lnTo>
                <a:lnTo>
                  <a:pt x="1027" y="2772"/>
                </a:lnTo>
                <a:lnTo>
                  <a:pt x="997" y="2767"/>
                </a:lnTo>
                <a:lnTo>
                  <a:pt x="967" y="2761"/>
                </a:lnTo>
                <a:lnTo>
                  <a:pt x="936" y="2755"/>
                </a:lnTo>
                <a:lnTo>
                  <a:pt x="907" y="2748"/>
                </a:lnTo>
                <a:lnTo>
                  <a:pt x="878" y="2740"/>
                </a:lnTo>
                <a:lnTo>
                  <a:pt x="849" y="2732"/>
                </a:lnTo>
                <a:lnTo>
                  <a:pt x="820" y="2723"/>
                </a:lnTo>
                <a:lnTo>
                  <a:pt x="793" y="2713"/>
                </a:lnTo>
                <a:lnTo>
                  <a:pt x="765" y="2702"/>
                </a:lnTo>
                <a:lnTo>
                  <a:pt x="738" y="2691"/>
                </a:lnTo>
                <a:lnTo>
                  <a:pt x="711" y="2679"/>
                </a:lnTo>
                <a:lnTo>
                  <a:pt x="683" y="2668"/>
                </a:lnTo>
                <a:lnTo>
                  <a:pt x="657" y="2655"/>
                </a:lnTo>
                <a:lnTo>
                  <a:pt x="631" y="2640"/>
                </a:lnTo>
                <a:lnTo>
                  <a:pt x="607" y="2626"/>
                </a:lnTo>
                <a:lnTo>
                  <a:pt x="580" y="2612"/>
                </a:lnTo>
                <a:lnTo>
                  <a:pt x="556" y="2597"/>
                </a:lnTo>
                <a:lnTo>
                  <a:pt x="532" y="2580"/>
                </a:lnTo>
                <a:lnTo>
                  <a:pt x="508" y="2564"/>
                </a:lnTo>
                <a:lnTo>
                  <a:pt x="485" y="2547"/>
                </a:lnTo>
                <a:lnTo>
                  <a:pt x="461" y="2529"/>
                </a:lnTo>
                <a:lnTo>
                  <a:pt x="439" y="2510"/>
                </a:lnTo>
                <a:lnTo>
                  <a:pt x="416" y="2493"/>
                </a:lnTo>
                <a:lnTo>
                  <a:pt x="395" y="2473"/>
                </a:lnTo>
                <a:lnTo>
                  <a:pt x="374" y="2454"/>
                </a:lnTo>
                <a:lnTo>
                  <a:pt x="354" y="2434"/>
                </a:lnTo>
                <a:lnTo>
                  <a:pt x="333" y="2412"/>
                </a:lnTo>
                <a:lnTo>
                  <a:pt x="313" y="2391"/>
                </a:lnTo>
                <a:lnTo>
                  <a:pt x="294" y="2370"/>
                </a:lnTo>
                <a:lnTo>
                  <a:pt x="275" y="2347"/>
                </a:lnTo>
                <a:lnTo>
                  <a:pt x="326" y="2306"/>
                </a:lnTo>
                <a:close/>
              </a:path>
            </a:pathLst>
          </a:custGeom>
          <a:solidFill>
            <a:srgbClr val="D4EDFC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16653" tIns="58327" rIns="116653" bIns="58327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53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64" name="Рисунок 63">
            <a:extLst>
              <a:ext uri="{FF2B5EF4-FFF2-40B4-BE49-F238E27FC236}">
                <a16:creationId xmlns:a16="http://schemas.microsoft.com/office/drawing/2014/main" id="{8CA34FA9-6E00-DC4C-8768-8C82F9C7E13E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5082" y="6305195"/>
            <a:ext cx="9655317" cy="6823091"/>
          </a:xfrm>
          <a:prstGeom prst="rect">
            <a:avLst/>
          </a:prstGeom>
        </p:spPr>
      </p:pic>
      <p:sp>
        <p:nvSpPr>
          <p:cNvPr id="67" name="Freeform 11">
            <a:extLst>
              <a:ext uri="{FF2B5EF4-FFF2-40B4-BE49-F238E27FC236}">
                <a16:creationId xmlns:a16="http://schemas.microsoft.com/office/drawing/2014/main" id="{1ECD8B8D-13A9-6F42-BD49-2B709D0ECF7A}"/>
              </a:ext>
            </a:extLst>
          </p:cNvPr>
          <p:cNvSpPr>
            <a:spLocks noEditPoints="1"/>
          </p:cNvSpPr>
          <p:nvPr/>
        </p:nvSpPr>
        <p:spPr bwMode="auto">
          <a:xfrm>
            <a:off x="8612552" y="6432729"/>
            <a:ext cx="1736437" cy="202442"/>
          </a:xfrm>
          <a:custGeom>
            <a:avLst/>
            <a:gdLst>
              <a:gd name="T0" fmla="*/ 113 w 2434"/>
              <a:gd name="T1" fmla="*/ 208 h 285"/>
              <a:gd name="T2" fmla="*/ 33 w 2434"/>
              <a:gd name="T3" fmla="*/ 147 h 285"/>
              <a:gd name="T4" fmla="*/ 66 w 2434"/>
              <a:gd name="T5" fmla="*/ 12 h 285"/>
              <a:gd name="T6" fmla="*/ 183 w 2434"/>
              <a:gd name="T7" fmla="*/ 93 h 285"/>
              <a:gd name="T8" fmla="*/ 130 w 2434"/>
              <a:gd name="T9" fmla="*/ 102 h 285"/>
              <a:gd name="T10" fmla="*/ 215 w 2434"/>
              <a:gd name="T11" fmla="*/ 225 h 285"/>
              <a:gd name="T12" fmla="*/ 395 w 2434"/>
              <a:gd name="T13" fmla="*/ 243 h 285"/>
              <a:gd name="T14" fmla="*/ 606 w 2434"/>
              <a:gd name="T15" fmla="*/ 277 h 285"/>
              <a:gd name="T16" fmla="*/ 926 w 2434"/>
              <a:gd name="T17" fmla="*/ 10 h 285"/>
              <a:gd name="T18" fmla="*/ 1063 w 2434"/>
              <a:gd name="T19" fmla="*/ 161 h 285"/>
              <a:gd name="T20" fmla="*/ 916 w 2434"/>
              <a:gd name="T21" fmla="*/ 89 h 285"/>
              <a:gd name="T22" fmla="*/ 954 w 2434"/>
              <a:gd name="T23" fmla="*/ 105 h 285"/>
              <a:gd name="T24" fmla="*/ 1099 w 2434"/>
              <a:gd name="T25" fmla="*/ 225 h 285"/>
              <a:gd name="T26" fmla="*/ 1137 w 2434"/>
              <a:gd name="T27" fmla="*/ 24 h 285"/>
              <a:gd name="T28" fmla="*/ 1343 w 2434"/>
              <a:gd name="T29" fmla="*/ 61 h 285"/>
              <a:gd name="T30" fmla="*/ 1307 w 2434"/>
              <a:gd name="T31" fmla="*/ 262 h 285"/>
              <a:gd name="T32" fmla="*/ 1172 w 2434"/>
              <a:gd name="T33" fmla="*/ 142 h 285"/>
              <a:gd name="T34" fmla="*/ 1270 w 2434"/>
              <a:gd name="T35" fmla="*/ 142 h 285"/>
              <a:gd name="T36" fmla="*/ 1379 w 2434"/>
              <a:gd name="T37" fmla="*/ 9 h 285"/>
              <a:gd name="T38" fmla="*/ 1740 w 2434"/>
              <a:gd name="T39" fmla="*/ 48 h 285"/>
              <a:gd name="T40" fmla="*/ 1919 w 2434"/>
              <a:gd name="T41" fmla="*/ 11 h 285"/>
              <a:gd name="T42" fmla="*/ 1957 w 2434"/>
              <a:gd name="T43" fmla="*/ 67 h 285"/>
              <a:gd name="T44" fmla="*/ 2032 w 2434"/>
              <a:gd name="T45" fmla="*/ 101 h 285"/>
              <a:gd name="T46" fmla="*/ 2020 w 2434"/>
              <a:gd name="T47" fmla="*/ 84 h 285"/>
              <a:gd name="T48" fmla="*/ 1969 w 2434"/>
              <a:gd name="T49" fmla="*/ 84 h 285"/>
              <a:gd name="T50" fmla="*/ 2020 w 2434"/>
              <a:gd name="T51" fmla="*/ 84 h 285"/>
              <a:gd name="T52" fmla="*/ 2124 w 2434"/>
              <a:gd name="T53" fmla="*/ 103 h 285"/>
              <a:gd name="T54" fmla="*/ 2177 w 2434"/>
              <a:gd name="T55" fmla="*/ 59 h 285"/>
              <a:gd name="T56" fmla="*/ 2132 w 2434"/>
              <a:gd name="T57" fmla="*/ 52 h 285"/>
              <a:gd name="T58" fmla="*/ 2194 w 2434"/>
              <a:gd name="T59" fmla="*/ 113 h 285"/>
              <a:gd name="T60" fmla="*/ 2145 w 2434"/>
              <a:gd name="T61" fmla="*/ 126 h 285"/>
              <a:gd name="T62" fmla="*/ 2141 w 2434"/>
              <a:gd name="T63" fmla="*/ 96 h 285"/>
              <a:gd name="T64" fmla="*/ 2179 w 2434"/>
              <a:gd name="T65" fmla="*/ 95 h 285"/>
              <a:gd name="T66" fmla="*/ 2253 w 2434"/>
              <a:gd name="T67" fmla="*/ 55 h 285"/>
              <a:gd name="T68" fmla="*/ 2286 w 2434"/>
              <a:gd name="T69" fmla="*/ 116 h 285"/>
              <a:gd name="T70" fmla="*/ 2303 w 2434"/>
              <a:gd name="T71" fmla="*/ 113 h 285"/>
              <a:gd name="T72" fmla="*/ 2333 w 2434"/>
              <a:gd name="T73" fmla="*/ 23 h 285"/>
              <a:gd name="T74" fmla="*/ 2365 w 2434"/>
              <a:gd name="T75" fmla="*/ 100 h 285"/>
              <a:gd name="T76" fmla="*/ 2419 w 2434"/>
              <a:gd name="T77" fmla="*/ 97 h 285"/>
              <a:gd name="T78" fmla="*/ 2386 w 2434"/>
              <a:gd name="T79" fmla="*/ 43 h 285"/>
              <a:gd name="T80" fmla="*/ 2391 w 2434"/>
              <a:gd name="T81" fmla="*/ 52 h 285"/>
              <a:gd name="T82" fmla="*/ 2434 w 2434"/>
              <a:gd name="T83" fmla="*/ 108 h 285"/>
              <a:gd name="T84" fmla="*/ 1692 w 2434"/>
              <a:gd name="T85" fmla="*/ 164 h 285"/>
              <a:gd name="T86" fmla="*/ 1755 w 2434"/>
              <a:gd name="T87" fmla="*/ 274 h 285"/>
              <a:gd name="T88" fmla="*/ 1767 w 2434"/>
              <a:gd name="T89" fmla="*/ 203 h 285"/>
              <a:gd name="T90" fmla="*/ 1808 w 2434"/>
              <a:gd name="T91" fmla="*/ 180 h 285"/>
              <a:gd name="T92" fmla="*/ 1804 w 2434"/>
              <a:gd name="T93" fmla="*/ 277 h 285"/>
              <a:gd name="T94" fmla="*/ 1935 w 2434"/>
              <a:gd name="T95" fmla="*/ 172 h 285"/>
              <a:gd name="T96" fmla="*/ 1935 w 2434"/>
              <a:gd name="T97" fmla="*/ 168 h 285"/>
              <a:gd name="T98" fmla="*/ 1988 w 2434"/>
              <a:gd name="T99" fmla="*/ 268 h 285"/>
              <a:gd name="T100" fmla="*/ 1957 w 2434"/>
              <a:gd name="T101" fmla="*/ 228 h 285"/>
              <a:gd name="T102" fmla="*/ 2014 w 2434"/>
              <a:gd name="T103" fmla="*/ 208 h 285"/>
              <a:gd name="T104" fmla="*/ 1981 w 2434"/>
              <a:gd name="T105" fmla="*/ 227 h 285"/>
              <a:gd name="T106" fmla="*/ 1980 w 2434"/>
              <a:gd name="T107" fmla="*/ 280 h 285"/>
              <a:gd name="T108" fmla="*/ 2038 w 2434"/>
              <a:gd name="T109" fmla="*/ 176 h 285"/>
              <a:gd name="T110" fmla="*/ 2071 w 2434"/>
              <a:gd name="T111" fmla="*/ 236 h 285"/>
              <a:gd name="T112" fmla="*/ 2150 w 2434"/>
              <a:gd name="T113" fmla="*/ 228 h 285"/>
              <a:gd name="T114" fmla="*/ 2072 w 2434"/>
              <a:gd name="T115" fmla="*/ 245 h 285"/>
              <a:gd name="T116" fmla="*/ 2090 w 2434"/>
              <a:gd name="T117" fmla="*/ 218 h 285"/>
              <a:gd name="T118" fmla="*/ 2134 w 2434"/>
              <a:gd name="T119" fmla="*/ 254 h 285"/>
              <a:gd name="T120" fmla="*/ 2221 w 2434"/>
              <a:gd name="T121" fmla="*/ 196 h 285"/>
              <a:gd name="T122" fmla="*/ 2209 w 2434"/>
              <a:gd name="T123" fmla="*/ 205 h 28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2434" h="285">
                <a:moveTo>
                  <a:pt x="109" y="285"/>
                </a:moveTo>
                <a:lnTo>
                  <a:pt x="94" y="285"/>
                </a:lnTo>
                <a:lnTo>
                  <a:pt x="80" y="282"/>
                </a:lnTo>
                <a:lnTo>
                  <a:pt x="66" y="280"/>
                </a:lnTo>
                <a:lnTo>
                  <a:pt x="53" y="276"/>
                </a:lnTo>
                <a:lnTo>
                  <a:pt x="26" y="267"/>
                </a:lnTo>
                <a:lnTo>
                  <a:pt x="0" y="256"/>
                </a:lnTo>
                <a:lnTo>
                  <a:pt x="34" y="180"/>
                </a:lnTo>
                <a:lnTo>
                  <a:pt x="48" y="191"/>
                </a:lnTo>
                <a:lnTo>
                  <a:pt x="65" y="200"/>
                </a:lnTo>
                <a:lnTo>
                  <a:pt x="73" y="204"/>
                </a:lnTo>
                <a:lnTo>
                  <a:pt x="81" y="206"/>
                </a:lnTo>
                <a:lnTo>
                  <a:pt x="91" y="209"/>
                </a:lnTo>
                <a:lnTo>
                  <a:pt x="100" y="210"/>
                </a:lnTo>
                <a:lnTo>
                  <a:pt x="106" y="209"/>
                </a:lnTo>
                <a:lnTo>
                  <a:pt x="113" y="208"/>
                </a:lnTo>
                <a:lnTo>
                  <a:pt x="117" y="205"/>
                </a:lnTo>
                <a:lnTo>
                  <a:pt x="119" y="204"/>
                </a:lnTo>
                <a:lnTo>
                  <a:pt x="120" y="200"/>
                </a:lnTo>
                <a:lnTo>
                  <a:pt x="122" y="197"/>
                </a:lnTo>
                <a:lnTo>
                  <a:pt x="122" y="193"/>
                </a:lnTo>
                <a:lnTo>
                  <a:pt x="119" y="190"/>
                </a:lnTo>
                <a:lnTo>
                  <a:pt x="118" y="187"/>
                </a:lnTo>
                <a:lnTo>
                  <a:pt x="114" y="185"/>
                </a:lnTo>
                <a:lnTo>
                  <a:pt x="106" y="181"/>
                </a:lnTo>
                <a:lnTo>
                  <a:pt x="97" y="179"/>
                </a:lnTo>
                <a:lnTo>
                  <a:pt x="85" y="176"/>
                </a:lnTo>
                <a:lnTo>
                  <a:pt x="71" y="171"/>
                </a:lnTo>
                <a:lnTo>
                  <a:pt x="58" y="165"/>
                </a:lnTo>
                <a:lnTo>
                  <a:pt x="45" y="158"/>
                </a:lnTo>
                <a:lnTo>
                  <a:pt x="39" y="153"/>
                </a:lnTo>
                <a:lnTo>
                  <a:pt x="33" y="147"/>
                </a:lnTo>
                <a:lnTo>
                  <a:pt x="28" y="141"/>
                </a:lnTo>
                <a:lnTo>
                  <a:pt x="23" y="134"/>
                </a:lnTo>
                <a:lnTo>
                  <a:pt x="20" y="126"/>
                </a:lnTo>
                <a:lnTo>
                  <a:pt x="17" y="116"/>
                </a:lnTo>
                <a:lnTo>
                  <a:pt x="16" y="106"/>
                </a:lnTo>
                <a:lnTo>
                  <a:pt x="15" y="94"/>
                </a:lnTo>
                <a:lnTo>
                  <a:pt x="16" y="82"/>
                </a:lnTo>
                <a:lnTo>
                  <a:pt x="17" y="70"/>
                </a:lnTo>
                <a:lnTo>
                  <a:pt x="21" y="61"/>
                </a:lnTo>
                <a:lnTo>
                  <a:pt x="24" y="51"/>
                </a:lnTo>
                <a:lnTo>
                  <a:pt x="29" y="43"/>
                </a:lnTo>
                <a:lnTo>
                  <a:pt x="35" y="35"/>
                </a:lnTo>
                <a:lnTo>
                  <a:pt x="42" y="29"/>
                </a:lnTo>
                <a:lnTo>
                  <a:pt x="49" y="22"/>
                </a:lnTo>
                <a:lnTo>
                  <a:pt x="56" y="17"/>
                </a:lnTo>
                <a:lnTo>
                  <a:pt x="66" y="12"/>
                </a:lnTo>
                <a:lnTo>
                  <a:pt x="75" y="9"/>
                </a:lnTo>
                <a:lnTo>
                  <a:pt x="85" y="6"/>
                </a:lnTo>
                <a:lnTo>
                  <a:pt x="94" y="4"/>
                </a:lnTo>
                <a:lnTo>
                  <a:pt x="105" y="3"/>
                </a:lnTo>
                <a:lnTo>
                  <a:pt x="117" y="1"/>
                </a:lnTo>
                <a:lnTo>
                  <a:pt x="128" y="1"/>
                </a:lnTo>
                <a:lnTo>
                  <a:pt x="139" y="1"/>
                </a:lnTo>
                <a:lnTo>
                  <a:pt x="151" y="3"/>
                </a:lnTo>
                <a:lnTo>
                  <a:pt x="163" y="5"/>
                </a:lnTo>
                <a:lnTo>
                  <a:pt x="175" y="9"/>
                </a:lnTo>
                <a:lnTo>
                  <a:pt x="187" y="12"/>
                </a:lnTo>
                <a:lnTo>
                  <a:pt x="197" y="17"/>
                </a:lnTo>
                <a:lnTo>
                  <a:pt x="208" y="23"/>
                </a:lnTo>
                <a:lnTo>
                  <a:pt x="218" y="29"/>
                </a:lnTo>
                <a:lnTo>
                  <a:pt x="188" y="96"/>
                </a:lnTo>
                <a:lnTo>
                  <a:pt x="183" y="93"/>
                </a:lnTo>
                <a:lnTo>
                  <a:pt x="173" y="86"/>
                </a:lnTo>
                <a:lnTo>
                  <a:pt x="165" y="82"/>
                </a:lnTo>
                <a:lnTo>
                  <a:pt x="156" y="78"/>
                </a:lnTo>
                <a:lnTo>
                  <a:pt x="148" y="76"/>
                </a:lnTo>
                <a:lnTo>
                  <a:pt x="137" y="75"/>
                </a:lnTo>
                <a:lnTo>
                  <a:pt x="128" y="76"/>
                </a:lnTo>
                <a:lnTo>
                  <a:pt x="119" y="78"/>
                </a:lnTo>
                <a:lnTo>
                  <a:pt x="117" y="81"/>
                </a:lnTo>
                <a:lnTo>
                  <a:pt x="114" y="83"/>
                </a:lnTo>
                <a:lnTo>
                  <a:pt x="113" y="86"/>
                </a:lnTo>
                <a:lnTo>
                  <a:pt x="113" y="89"/>
                </a:lnTo>
                <a:lnTo>
                  <a:pt x="113" y="91"/>
                </a:lnTo>
                <a:lnTo>
                  <a:pt x="116" y="95"/>
                </a:lnTo>
                <a:lnTo>
                  <a:pt x="118" y="97"/>
                </a:lnTo>
                <a:lnTo>
                  <a:pt x="122" y="100"/>
                </a:lnTo>
                <a:lnTo>
                  <a:pt x="130" y="102"/>
                </a:lnTo>
                <a:lnTo>
                  <a:pt x="137" y="105"/>
                </a:lnTo>
                <a:lnTo>
                  <a:pt x="150" y="108"/>
                </a:lnTo>
                <a:lnTo>
                  <a:pt x="163" y="113"/>
                </a:lnTo>
                <a:lnTo>
                  <a:pt x="177" y="119"/>
                </a:lnTo>
                <a:lnTo>
                  <a:pt x="190" y="127"/>
                </a:lnTo>
                <a:lnTo>
                  <a:pt x="196" y="132"/>
                </a:lnTo>
                <a:lnTo>
                  <a:pt x="202" y="138"/>
                </a:lnTo>
                <a:lnTo>
                  <a:pt x="207" y="144"/>
                </a:lnTo>
                <a:lnTo>
                  <a:pt x="212" y="151"/>
                </a:lnTo>
                <a:lnTo>
                  <a:pt x="215" y="159"/>
                </a:lnTo>
                <a:lnTo>
                  <a:pt x="218" y="168"/>
                </a:lnTo>
                <a:lnTo>
                  <a:pt x="219" y="179"/>
                </a:lnTo>
                <a:lnTo>
                  <a:pt x="220" y="191"/>
                </a:lnTo>
                <a:lnTo>
                  <a:pt x="219" y="203"/>
                </a:lnTo>
                <a:lnTo>
                  <a:pt x="218" y="215"/>
                </a:lnTo>
                <a:lnTo>
                  <a:pt x="215" y="225"/>
                </a:lnTo>
                <a:lnTo>
                  <a:pt x="212" y="235"/>
                </a:lnTo>
                <a:lnTo>
                  <a:pt x="207" y="243"/>
                </a:lnTo>
                <a:lnTo>
                  <a:pt x="201" y="250"/>
                </a:lnTo>
                <a:lnTo>
                  <a:pt x="194" y="257"/>
                </a:lnTo>
                <a:lnTo>
                  <a:pt x="187" y="263"/>
                </a:lnTo>
                <a:lnTo>
                  <a:pt x="180" y="269"/>
                </a:lnTo>
                <a:lnTo>
                  <a:pt x="170" y="273"/>
                </a:lnTo>
                <a:lnTo>
                  <a:pt x="161" y="276"/>
                </a:lnTo>
                <a:lnTo>
                  <a:pt x="151" y="280"/>
                </a:lnTo>
                <a:lnTo>
                  <a:pt x="142" y="282"/>
                </a:lnTo>
                <a:lnTo>
                  <a:pt x="131" y="283"/>
                </a:lnTo>
                <a:lnTo>
                  <a:pt x="119" y="285"/>
                </a:lnTo>
                <a:lnTo>
                  <a:pt x="109" y="285"/>
                </a:lnTo>
                <a:close/>
                <a:moveTo>
                  <a:pt x="402" y="277"/>
                </a:moveTo>
                <a:lnTo>
                  <a:pt x="402" y="277"/>
                </a:lnTo>
                <a:lnTo>
                  <a:pt x="395" y="243"/>
                </a:lnTo>
                <a:lnTo>
                  <a:pt x="323" y="243"/>
                </a:lnTo>
                <a:lnTo>
                  <a:pt x="312" y="277"/>
                </a:lnTo>
                <a:lnTo>
                  <a:pt x="212" y="277"/>
                </a:lnTo>
                <a:lnTo>
                  <a:pt x="305" y="9"/>
                </a:lnTo>
                <a:lnTo>
                  <a:pt x="415" y="9"/>
                </a:lnTo>
                <a:lnTo>
                  <a:pt x="504" y="277"/>
                </a:lnTo>
                <a:lnTo>
                  <a:pt x="402" y="277"/>
                </a:lnTo>
                <a:close/>
                <a:moveTo>
                  <a:pt x="358" y="95"/>
                </a:moveTo>
                <a:lnTo>
                  <a:pt x="358" y="95"/>
                </a:lnTo>
                <a:lnTo>
                  <a:pt x="335" y="179"/>
                </a:lnTo>
                <a:lnTo>
                  <a:pt x="382" y="179"/>
                </a:lnTo>
                <a:lnTo>
                  <a:pt x="358" y="95"/>
                </a:lnTo>
                <a:close/>
                <a:moveTo>
                  <a:pt x="686" y="277"/>
                </a:moveTo>
                <a:lnTo>
                  <a:pt x="686" y="277"/>
                </a:lnTo>
                <a:lnTo>
                  <a:pt x="606" y="146"/>
                </a:lnTo>
                <a:lnTo>
                  <a:pt x="606" y="277"/>
                </a:lnTo>
                <a:lnTo>
                  <a:pt x="512" y="277"/>
                </a:lnTo>
                <a:lnTo>
                  <a:pt x="512" y="9"/>
                </a:lnTo>
                <a:lnTo>
                  <a:pt x="606" y="9"/>
                </a:lnTo>
                <a:lnTo>
                  <a:pt x="686" y="140"/>
                </a:lnTo>
                <a:lnTo>
                  <a:pt x="686" y="9"/>
                </a:lnTo>
                <a:lnTo>
                  <a:pt x="778" y="9"/>
                </a:lnTo>
                <a:lnTo>
                  <a:pt x="778" y="277"/>
                </a:lnTo>
                <a:lnTo>
                  <a:pt x="686" y="277"/>
                </a:lnTo>
                <a:close/>
                <a:moveTo>
                  <a:pt x="914" y="276"/>
                </a:moveTo>
                <a:lnTo>
                  <a:pt x="914" y="276"/>
                </a:lnTo>
                <a:lnTo>
                  <a:pt x="883" y="277"/>
                </a:lnTo>
                <a:lnTo>
                  <a:pt x="808" y="277"/>
                </a:lnTo>
                <a:lnTo>
                  <a:pt x="808" y="9"/>
                </a:lnTo>
                <a:lnTo>
                  <a:pt x="880" y="9"/>
                </a:lnTo>
                <a:lnTo>
                  <a:pt x="909" y="9"/>
                </a:lnTo>
                <a:lnTo>
                  <a:pt x="926" y="10"/>
                </a:lnTo>
                <a:lnTo>
                  <a:pt x="941" y="11"/>
                </a:lnTo>
                <a:lnTo>
                  <a:pt x="957" y="12"/>
                </a:lnTo>
                <a:lnTo>
                  <a:pt x="971" y="16"/>
                </a:lnTo>
                <a:lnTo>
                  <a:pt x="984" y="19"/>
                </a:lnTo>
                <a:lnTo>
                  <a:pt x="997" y="24"/>
                </a:lnTo>
                <a:lnTo>
                  <a:pt x="1009" y="30"/>
                </a:lnTo>
                <a:lnTo>
                  <a:pt x="1019" y="37"/>
                </a:lnTo>
                <a:lnTo>
                  <a:pt x="1029" y="46"/>
                </a:lnTo>
                <a:lnTo>
                  <a:pt x="1038" y="56"/>
                </a:lnTo>
                <a:lnTo>
                  <a:pt x="1045" y="67"/>
                </a:lnTo>
                <a:lnTo>
                  <a:pt x="1052" y="78"/>
                </a:lnTo>
                <a:lnTo>
                  <a:pt x="1057" y="93"/>
                </a:lnTo>
                <a:lnTo>
                  <a:pt x="1061" y="108"/>
                </a:lnTo>
                <a:lnTo>
                  <a:pt x="1063" y="125"/>
                </a:lnTo>
                <a:lnTo>
                  <a:pt x="1064" y="144"/>
                </a:lnTo>
                <a:lnTo>
                  <a:pt x="1063" y="161"/>
                </a:lnTo>
                <a:lnTo>
                  <a:pt x="1061" y="177"/>
                </a:lnTo>
                <a:lnTo>
                  <a:pt x="1057" y="192"/>
                </a:lnTo>
                <a:lnTo>
                  <a:pt x="1052" y="205"/>
                </a:lnTo>
                <a:lnTo>
                  <a:pt x="1047" y="217"/>
                </a:lnTo>
                <a:lnTo>
                  <a:pt x="1039" y="229"/>
                </a:lnTo>
                <a:lnTo>
                  <a:pt x="1031" y="238"/>
                </a:lnTo>
                <a:lnTo>
                  <a:pt x="1022" y="247"/>
                </a:lnTo>
                <a:lnTo>
                  <a:pt x="1011" y="254"/>
                </a:lnTo>
                <a:lnTo>
                  <a:pt x="999" y="260"/>
                </a:lnTo>
                <a:lnTo>
                  <a:pt x="987" y="266"/>
                </a:lnTo>
                <a:lnTo>
                  <a:pt x="974" y="269"/>
                </a:lnTo>
                <a:lnTo>
                  <a:pt x="960" y="273"/>
                </a:lnTo>
                <a:lnTo>
                  <a:pt x="945" y="274"/>
                </a:lnTo>
                <a:lnTo>
                  <a:pt x="929" y="276"/>
                </a:lnTo>
                <a:lnTo>
                  <a:pt x="914" y="276"/>
                </a:lnTo>
                <a:close/>
                <a:moveTo>
                  <a:pt x="916" y="89"/>
                </a:moveTo>
                <a:lnTo>
                  <a:pt x="916" y="89"/>
                </a:lnTo>
                <a:lnTo>
                  <a:pt x="906" y="89"/>
                </a:lnTo>
                <a:lnTo>
                  <a:pt x="906" y="197"/>
                </a:lnTo>
                <a:lnTo>
                  <a:pt x="916" y="197"/>
                </a:lnTo>
                <a:lnTo>
                  <a:pt x="928" y="196"/>
                </a:lnTo>
                <a:lnTo>
                  <a:pt x="938" y="193"/>
                </a:lnTo>
                <a:lnTo>
                  <a:pt x="947" y="190"/>
                </a:lnTo>
                <a:lnTo>
                  <a:pt x="954" y="184"/>
                </a:lnTo>
                <a:lnTo>
                  <a:pt x="960" y="177"/>
                </a:lnTo>
                <a:lnTo>
                  <a:pt x="964" y="167"/>
                </a:lnTo>
                <a:lnTo>
                  <a:pt x="966" y="157"/>
                </a:lnTo>
                <a:lnTo>
                  <a:pt x="967" y="145"/>
                </a:lnTo>
                <a:lnTo>
                  <a:pt x="966" y="133"/>
                </a:lnTo>
                <a:lnTo>
                  <a:pt x="964" y="122"/>
                </a:lnTo>
                <a:lnTo>
                  <a:pt x="960" y="113"/>
                </a:lnTo>
                <a:lnTo>
                  <a:pt x="954" y="105"/>
                </a:lnTo>
                <a:lnTo>
                  <a:pt x="947" y="97"/>
                </a:lnTo>
                <a:lnTo>
                  <a:pt x="939" y="93"/>
                </a:lnTo>
                <a:lnTo>
                  <a:pt x="928" y="90"/>
                </a:lnTo>
                <a:lnTo>
                  <a:pt x="916" y="89"/>
                </a:lnTo>
                <a:close/>
                <a:moveTo>
                  <a:pt x="1219" y="285"/>
                </a:moveTo>
                <a:lnTo>
                  <a:pt x="1219" y="285"/>
                </a:lnTo>
                <a:lnTo>
                  <a:pt x="1204" y="285"/>
                </a:lnTo>
                <a:lnTo>
                  <a:pt x="1190" y="282"/>
                </a:lnTo>
                <a:lnTo>
                  <a:pt x="1176" y="279"/>
                </a:lnTo>
                <a:lnTo>
                  <a:pt x="1161" y="275"/>
                </a:lnTo>
                <a:lnTo>
                  <a:pt x="1150" y="269"/>
                </a:lnTo>
                <a:lnTo>
                  <a:pt x="1138" y="262"/>
                </a:lnTo>
                <a:lnTo>
                  <a:pt x="1126" y="255"/>
                </a:lnTo>
                <a:lnTo>
                  <a:pt x="1116" y="245"/>
                </a:lnTo>
                <a:lnTo>
                  <a:pt x="1107" y="236"/>
                </a:lnTo>
                <a:lnTo>
                  <a:pt x="1099" y="225"/>
                </a:lnTo>
                <a:lnTo>
                  <a:pt x="1092" y="213"/>
                </a:lnTo>
                <a:lnTo>
                  <a:pt x="1086" y="202"/>
                </a:lnTo>
                <a:lnTo>
                  <a:pt x="1081" y="187"/>
                </a:lnTo>
                <a:lnTo>
                  <a:pt x="1077" y="173"/>
                </a:lnTo>
                <a:lnTo>
                  <a:pt x="1075" y="159"/>
                </a:lnTo>
                <a:lnTo>
                  <a:pt x="1074" y="142"/>
                </a:lnTo>
                <a:lnTo>
                  <a:pt x="1075" y="127"/>
                </a:lnTo>
                <a:lnTo>
                  <a:pt x="1077" y="113"/>
                </a:lnTo>
                <a:lnTo>
                  <a:pt x="1081" y="99"/>
                </a:lnTo>
                <a:lnTo>
                  <a:pt x="1086" y="86"/>
                </a:lnTo>
                <a:lnTo>
                  <a:pt x="1090" y="73"/>
                </a:lnTo>
                <a:lnTo>
                  <a:pt x="1097" y="61"/>
                </a:lnTo>
                <a:lnTo>
                  <a:pt x="1106" y="50"/>
                </a:lnTo>
                <a:lnTo>
                  <a:pt x="1115" y="41"/>
                </a:lnTo>
                <a:lnTo>
                  <a:pt x="1126" y="31"/>
                </a:lnTo>
                <a:lnTo>
                  <a:pt x="1137" y="24"/>
                </a:lnTo>
                <a:lnTo>
                  <a:pt x="1148" y="17"/>
                </a:lnTo>
                <a:lnTo>
                  <a:pt x="1161" y="11"/>
                </a:lnTo>
                <a:lnTo>
                  <a:pt x="1174" y="6"/>
                </a:lnTo>
                <a:lnTo>
                  <a:pt x="1189" y="4"/>
                </a:lnTo>
                <a:lnTo>
                  <a:pt x="1204" y="1"/>
                </a:lnTo>
                <a:lnTo>
                  <a:pt x="1219" y="0"/>
                </a:lnTo>
                <a:lnTo>
                  <a:pt x="1235" y="1"/>
                </a:lnTo>
                <a:lnTo>
                  <a:pt x="1249" y="4"/>
                </a:lnTo>
                <a:lnTo>
                  <a:pt x="1264" y="6"/>
                </a:lnTo>
                <a:lnTo>
                  <a:pt x="1277" y="11"/>
                </a:lnTo>
                <a:lnTo>
                  <a:pt x="1290" y="17"/>
                </a:lnTo>
                <a:lnTo>
                  <a:pt x="1303" y="23"/>
                </a:lnTo>
                <a:lnTo>
                  <a:pt x="1314" y="31"/>
                </a:lnTo>
                <a:lnTo>
                  <a:pt x="1325" y="39"/>
                </a:lnTo>
                <a:lnTo>
                  <a:pt x="1334" y="50"/>
                </a:lnTo>
                <a:lnTo>
                  <a:pt x="1343" y="61"/>
                </a:lnTo>
                <a:lnTo>
                  <a:pt x="1350" y="73"/>
                </a:lnTo>
                <a:lnTo>
                  <a:pt x="1357" y="84"/>
                </a:lnTo>
                <a:lnTo>
                  <a:pt x="1362" y="99"/>
                </a:lnTo>
                <a:lnTo>
                  <a:pt x="1365" y="113"/>
                </a:lnTo>
                <a:lnTo>
                  <a:pt x="1367" y="127"/>
                </a:lnTo>
                <a:lnTo>
                  <a:pt x="1367" y="142"/>
                </a:lnTo>
                <a:lnTo>
                  <a:pt x="1367" y="159"/>
                </a:lnTo>
                <a:lnTo>
                  <a:pt x="1365" y="173"/>
                </a:lnTo>
                <a:lnTo>
                  <a:pt x="1362" y="187"/>
                </a:lnTo>
                <a:lnTo>
                  <a:pt x="1358" y="200"/>
                </a:lnTo>
                <a:lnTo>
                  <a:pt x="1352" y="213"/>
                </a:lnTo>
                <a:lnTo>
                  <a:pt x="1345" y="225"/>
                </a:lnTo>
                <a:lnTo>
                  <a:pt x="1338" y="236"/>
                </a:lnTo>
                <a:lnTo>
                  <a:pt x="1328" y="245"/>
                </a:lnTo>
                <a:lnTo>
                  <a:pt x="1319" y="255"/>
                </a:lnTo>
                <a:lnTo>
                  <a:pt x="1307" y="262"/>
                </a:lnTo>
                <a:lnTo>
                  <a:pt x="1295" y="269"/>
                </a:lnTo>
                <a:lnTo>
                  <a:pt x="1282" y="275"/>
                </a:lnTo>
                <a:lnTo>
                  <a:pt x="1268" y="279"/>
                </a:lnTo>
                <a:lnTo>
                  <a:pt x="1253" y="282"/>
                </a:lnTo>
                <a:lnTo>
                  <a:pt x="1236" y="285"/>
                </a:lnTo>
                <a:lnTo>
                  <a:pt x="1219" y="285"/>
                </a:lnTo>
                <a:close/>
                <a:moveTo>
                  <a:pt x="1221" y="90"/>
                </a:moveTo>
                <a:lnTo>
                  <a:pt x="1221" y="90"/>
                </a:lnTo>
                <a:lnTo>
                  <a:pt x="1210" y="91"/>
                </a:lnTo>
                <a:lnTo>
                  <a:pt x="1200" y="94"/>
                </a:lnTo>
                <a:lnTo>
                  <a:pt x="1192" y="99"/>
                </a:lnTo>
                <a:lnTo>
                  <a:pt x="1185" y="105"/>
                </a:lnTo>
                <a:lnTo>
                  <a:pt x="1179" y="113"/>
                </a:lnTo>
                <a:lnTo>
                  <a:pt x="1174" y="121"/>
                </a:lnTo>
                <a:lnTo>
                  <a:pt x="1172" y="132"/>
                </a:lnTo>
                <a:lnTo>
                  <a:pt x="1172" y="142"/>
                </a:lnTo>
                <a:lnTo>
                  <a:pt x="1172" y="154"/>
                </a:lnTo>
                <a:lnTo>
                  <a:pt x="1176" y="164"/>
                </a:lnTo>
                <a:lnTo>
                  <a:pt x="1179" y="173"/>
                </a:lnTo>
                <a:lnTo>
                  <a:pt x="1185" y="181"/>
                </a:lnTo>
                <a:lnTo>
                  <a:pt x="1192" y="187"/>
                </a:lnTo>
                <a:lnTo>
                  <a:pt x="1200" y="192"/>
                </a:lnTo>
                <a:lnTo>
                  <a:pt x="1210" y="195"/>
                </a:lnTo>
                <a:lnTo>
                  <a:pt x="1221" y="196"/>
                </a:lnTo>
                <a:lnTo>
                  <a:pt x="1231" y="195"/>
                </a:lnTo>
                <a:lnTo>
                  <a:pt x="1241" y="192"/>
                </a:lnTo>
                <a:lnTo>
                  <a:pt x="1249" y="187"/>
                </a:lnTo>
                <a:lnTo>
                  <a:pt x="1257" y="181"/>
                </a:lnTo>
                <a:lnTo>
                  <a:pt x="1262" y="173"/>
                </a:lnTo>
                <a:lnTo>
                  <a:pt x="1267" y="164"/>
                </a:lnTo>
                <a:lnTo>
                  <a:pt x="1269" y="154"/>
                </a:lnTo>
                <a:lnTo>
                  <a:pt x="1270" y="142"/>
                </a:lnTo>
                <a:lnTo>
                  <a:pt x="1269" y="132"/>
                </a:lnTo>
                <a:lnTo>
                  <a:pt x="1267" y="121"/>
                </a:lnTo>
                <a:lnTo>
                  <a:pt x="1262" y="112"/>
                </a:lnTo>
                <a:lnTo>
                  <a:pt x="1256" y="105"/>
                </a:lnTo>
                <a:lnTo>
                  <a:pt x="1249" y="99"/>
                </a:lnTo>
                <a:lnTo>
                  <a:pt x="1241" y="94"/>
                </a:lnTo>
                <a:lnTo>
                  <a:pt x="1231" y="91"/>
                </a:lnTo>
                <a:lnTo>
                  <a:pt x="1221" y="90"/>
                </a:lnTo>
                <a:close/>
                <a:moveTo>
                  <a:pt x="1513" y="197"/>
                </a:moveTo>
                <a:lnTo>
                  <a:pt x="1513" y="197"/>
                </a:lnTo>
                <a:lnTo>
                  <a:pt x="1613" y="197"/>
                </a:lnTo>
                <a:lnTo>
                  <a:pt x="1613" y="277"/>
                </a:lnTo>
                <a:lnTo>
                  <a:pt x="1356" y="277"/>
                </a:lnTo>
                <a:lnTo>
                  <a:pt x="1470" y="89"/>
                </a:lnTo>
                <a:lnTo>
                  <a:pt x="1379" y="89"/>
                </a:lnTo>
                <a:lnTo>
                  <a:pt x="1379" y="9"/>
                </a:lnTo>
                <a:lnTo>
                  <a:pt x="1626" y="9"/>
                </a:lnTo>
                <a:lnTo>
                  <a:pt x="1513" y="197"/>
                </a:lnTo>
                <a:close/>
                <a:moveTo>
                  <a:pt x="1755" y="91"/>
                </a:moveTo>
                <a:lnTo>
                  <a:pt x="1755" y="91"/>
                </a:lnTo>
                <a:lnTo>
                  <a:pt x="1711" y="91"/>
                </a:lnTo>
                <a:lnTo>
                  <a:pt x="1699" y="125"/>
                </a:lnTo>
                <a:lnTo>
                  <a:pt x="1682" y="125"/>
                </a:lnTo>
                <a:lnTo>
                  <a:pt x="1724" y="11"/>
                </a:lnTo>
                <a:lnTo>
                  <a:pt x="1742" y="11"/>
                </a:lnTo>
                <a:lnTo>
                  <a:pt x="1783" y="125"/>
                </a:lnTo>
                <a:lnTo>
                  <a:pt x="1767" y="125"/>
                </a:lnTo>
                <a:lnTo>
                  <a:pt x="1755" y="91"/>
                </a:lnTo>
                <a:close/>
                <a:moveTo>
                  <a:pt x="1714" y="80"/>
                </a:moveTo>
                <a:lnTo>
                  <a:pt x="1714" y="80"/>
                </a:lnTo>
                <a:lnTo>
                  <a:pt x="1751" y="80"/>
                </a:lnTo>
                <a:lnTo>
                  <a:pt x="1740" y="48"/>
                </a:lnTo>
                <a:lnTo>
                  <a:pt x="1736" y="31"/>
                </a:lnTo>
                <a:lnTo>
                  <a:pt x="1733" y="24"/>
                </a:lnTo>
                <a:lnTo>
                  <a:pt x="1732" y="24"/>
                </a:lnTo>
                <a:lnTo>
                  <a:pt x="1731" y="31"/>
                </a:lnTo>
                <a:lnTo>
                  <a:pt x="1726" y="48"/>
                </a:lnTo>
                <a:lnTo>
                  <a:pt x="1714" y="80"/>
                </a:lnTo>
                <a:close/>
                <a:moveTo>
                  <a:pt x="1845" y="11"/>
                </a:moveTo>
                <a:lnTo>
                  <a:pt x="1845" y="11"/>
                </a:lnTo>
                <a:lnTo>
                  <a:pt x="1861" y="11"/>
                </a:lnTo>
                <a:lnTo>
                  <a:pt x="1907" y="82"/>
                </a:lnTo>
                <a:lnTo>
                  <a:pt x="1916" y="96"/>
                </a:lnTo>
                <a:lnTo>
                  <a:pt x="1920" y="105"/>
                </a:lnTo>
                <a:lnTo>
                  <a:pt x="1920" y="105"/>
                </a:lnTo>
                <a:lnTo>
                  <a:pt x="1920" y="96"/>
                </a:lnTo>
                <a:lnTo>
                  <a:pt x="1919" y="81"/>
                </a:lnTo>
                <a:lnTo>
                  <a:pt x="1919" y="11"/>
                </a:lnTo>
                <a:lnTo>
                  <a:pt x="1935" y="11"/>
                </a:lnTo>
                <a:lnTo>
                  <a:pt x="1935" y="125"/>
                </a:lnTo>
                <a:lnTo>
                  <a:pt x="1918" y="125"/>
                </a:lnTo>
                <a:lnTo>
                  <a:pt x="1872" y="54"/>
                </a:lnTo>
                <a:lnTo>
                  <a:pt x="1864" y="39"/>
                </a:lnTo>
                <a:lnTo>
                  <a:pt x="1859" y="31"/>
                </a:lnTo>
                <a:lnTo>
                  <a:pt x="1859" y="31"/>
                </a:lnTo>
                <a:lnTo>
                  <a:pt x="1859" y="39"/>
                </a:lnTo>
                <a:lnTo>
                  <a:pt x="1859" y="55"/>
                </a:lnTo>
                <a:lnTo>
                  <a:pt x="1859" y="125"/>
                </a:lnTo>
                <a:lnTo>
                  <a:pt x="1845" y="125"/>
                </a:lnTo>
                <a:lnTo>
                  <a:pt x="1845" y="11"/>
                </a:lnTo>
                <a:close/>
                <a:moveTo>
                  <a:pt x="1955" y="84"/>
                </a:moveTo>
                <a:lnTo>
                  <a:pt x="1955" y="84"/>
                </a:lnTo>
                <a:lnTo>
                  <a:pt x="1955" y="75"/>
                </a:lnTo>
                <a:lnTo>
                  <a:pt x="1957" y="67"/>
                </a:lnTo>
                <a:lnTo>
                  <a:pt x="1961" y="59"/>
                </a:lnTo>
                <a:lnTo>
                  <a:pt x="1965" y="54"/>
                </a:lnTo>
                <a:lnTo>
                  <a:pt x="1971" y="48"/>
                </a:lnTo>
                <a:lnTo>
                  <a:pt x="1979" y="44"/>
                </a:lnTo>
                <a:lnTo>
                  <a:pt x="1986" y="42"/>
                </a:lnTo>
                <a:lnTo>
                  <a:pt x="1995" y="41"/>
                </a:lnTo>
                <a:lnTo>
                  <a:pt x="2003" y="42"/>
                </a:lnTo>
                <a:lnTo>
                  <a:pt x="2012" y="44"/>
                </a:lnTo>
                <a:lnTo>
                  <a:pt x="2018" y="48"/>
                </a:lnTo>
                <a:lnTo>
                  <a:pt x="2024" y="54"/>
                </a:lnTo>
                <a:lnTo>
                  <a:pt x="2028" y="59"/>
                </a:lnTo>
                <a:lnTo>
                  <a:pt x="2032" y="67"/>
                </a:lnTo>
                <a:lnTo>
                  <a:pt x="2034" y="75"/>
                </a:lnTo>
                <a:lnTo>
                  <a:pt x="2034" y="84"/>
                </a:lnTo>
                <a:lnTo>
                  <a:pt x="2034" y="93"/>
                </a:lnTo>
                <a:lnTo>
                  <a:pt x="2032" y="101"/>
                </a:lnTo>
                <a:lnTo>
                  <a:pt x="2028" y="108"/>
                </a:lnTo>
                <a:lnTo>
                  <a:pt x="2024" y="114"/>
                </a:lnTo>
                <a:lnTo>
                  <a:pt x="2018" y="120"/>
                </a:lnTo>
                <a:lnTo>
                  <a:pt x="2012" y="123"/>
                </a:lnTo>
                <a:lnTo>
                  <a:pt x="2003" y="126"/>
                </a:lnTo>
                <a:lnTo>
                  <a:pt x="1995" y="127"/>
                </a:lnTo>
                <a:lnTo>
                  <a:pt x="1986" y="126"/>
                </a:lnTo>
                <a:lnTo>
                  <a:pt x="1979" y="123"/>
                </a:lnTo>
                <a:lnTo>
                  <a:pt x="1971" y="120"/>
                </a:lnTo>
                <a:lnTo>
                  <a:pt x="1965" y="114"/>
                </a:lnTo>
                <a:lnTo>
                  <a:pt x="1961" y="108"/>
                </a:lnTo>
                <a:lnTo>
                  <a:pt x="1957" y="101"/>
                </a:lnTo>
                <a:lnTo>
                  <a:pt x="1955" y="93"/>
                </a:lnTo>
                <a:lnTo>
                  <a:pt x="1955" y="84"/>
                </a:lnTo>
                <a:close/>
                <a:moveTo>
                  <a:pt x="2020" y="84"/>
                </a:moveTo>
                <a:lnTo>
                  <a:pt x="2020" y="84"/>
                </a:lnTo>
                <a:lnTo>
                  <a:pt x="2020" y="77"/>
                </a:lnTo>
                <a:lnTo>
                  <a:pt x="2019" y="71"/>
                </a:lnTo>
                <a:lnTo>
                  <a:pt x="2016" y="65"/>
                </a:lnTo>
                <a:lnTo>
                  <a:pt x="2014" y="62"/>
                </a:lnTo>
                <a:lnTo>
                  <a:pt x="2010" y="57"/>
                </a:lnTo>
                <a:lnTo>
                  <a:pt x="2006" y="55"/>
                </a:lnTo>
                <a:lnTo>
                  <a:pt x="2000" y="52"/>
                </a:lnTo>
                <a:lnTo>
                  <a:pt x="1994" y="52"/>
                </a:lnTo>
                <a:lnTo>
                  <a:pt x="1988" y="52"/>
                </a:lnTo>
                <a:lnTo>
                  <a:pt x="1983" y="55"/>
                </a:lnTo>
                <a:lnTo>
                  <a:pt x="1979" y="57"/>
                </a:lnTo>
                <a:lnTo>
                  <a:pt x="1975" y="62"/>
                </a:lnTo>
                <a:lnTo>
                  <a:pt x="1973" y="65"/>
                </a:lnTo>
                <a:lnTo>
                  <a:pt x="1970" y="71"/>
                </a:lnTo>
                <a:lnTo>
                  <a:pt x="1969" y="77"/>
                </a:lnTo>
                <a:lnTo>
                  <a:pt x="1969" y="84"/>
                </a:lnTo>
                <a:lnTo>
                  <a:pt x="1969" y="90"/>
                </a:lnTo>
                <a:lnTo>
                  <a:pt x="1970" y="96"/>
                </a:lnTo>
                <a:lnTo>
                  <a:pt x="1973" y="102"/>
                </a:lnTo>
                <a:lnTo>
                  <a:pt x="1975" y="106"/>
                </a:lnTo>
                <a:lnTo>
                  <a:pt x="1979" y="110"/>
                </a:lnTo>
                <a:lnTo>
                  <a:pt x="1983" y="113"/>
                </a:lnTo>
                <a:lnTo>
                  <a:pt x="1988" y="115"/>
                </a:lnTo>
                <a:lnTo>
                  <a:pt x="1994" y="115"/>
                </a:lnTo>
                <a:lnTo>
                  <a:pt x="2000" y="115"/>
                </a:lnTo>
                <a:lnTo>
                  <a:pt x="2006" y="113"/>
                </a:lnTo>
                <a:lnTo>
                  <a:pt x="2010" y="110"/>
                </a:lnTo>
                <a:lnTo>
                  <a:pt x="2014" y="106"/>
                </a:lnTo>
                <a:lnTo>
                  <a:pt x="2016" y="102"/>
                </a:lnTo>
                <a:lnTo>
                  <a:pt x="2019" y="96"/>
                </a:lnTo>
                <a:lnTo>
                  <a:pt x="2020" y="90"/>
                </a:lnTo>
                <a:lnTo>
                  <a:pt x="2020" y="84"/>
                </a:lnTo>
                <a:close/>
                <a:moveTo>
                  <a:pt x="2042" y="43"/>
                </a:moveTo>
                <a:lnTo>
                  <a:pt x="2042" y="43"/>
                </a:lnTo>
                <a:lnTo>
                  <a:pt x="2057" y="43"/>
                </a:lnTo>
                <a:lnTo>
                  <a:pt x="2072" y="87"/>
                </a:lnTo>
                <a:lnTo>
                  <a:pt x="2077" y="105"/>
                </a:lnTo>
                <a:lnTo>
                  <a:pt x="2079" y="113"/>
                </a:lnTo>
                <a:lnTo>
                  <a:pt x="2079" y="113"/>
                </a:lnTo>
                <a:lnTo>
                  <a:pt x="2082" y="105"/>
                </a:lnTo>
                <a:lnTo>
                  <a:pt x="2086" y="87"/>
                </a:lnTo>
                <a:lnTo>
                  <a:pt x="2102" y="43"/>
                </a:lnTo>
                <a:lnTo>
                  <a:pt x="2116" y="43"/>
                </a:lnTo>
                <a:lnTo>
                  <a:pt x="2086" y="125"/>
                </a:lnTo>
                <a:lnTo>
                  <a:pt x="2071" y="125"/>
                </a:lnTo>
                <a:lnTo>
                  <a:pt x="2042" y="43"/>
                </a:lnTo>
                <a:close/>
                <a:moveTo>
                  <a:pt x="2124" y="103"/>
                </a:moveTo>
                <a:lnTo>
                  <a:pt x="2124" y="103"/>
                </a:lnTo>
                <a:lnTo>
                  <a:pt x="2124" y="96"/>
                </a:lnTo>
                <a:lnTo>
                  <a:pt x="2127" y="91"/>
                </a:lnTo>
                <a:lnTo>
                  <a:pt x="2129" y="87"/>
                </a:lnTo>
                <a:lnTo>
                  <a:pt x="2134" y="84"/>
                </a:lnTo>
                <a:lnTo>
                  <a:pt x="2138" y="82"/>
                </a:lnTo>
                <a:lnTo>
                  <a:pt x="2144" y="80"/>
                </a:lnTo>
                <a:lnTo>
                  <a:pt x="2151" y="78"/>
                </a:lnTo>
                <a:lnTo>
                  <a:pt x="2159" y="77"/>
                </a:lnTo>
                <a:lnTo>
                  <a:pt x="2167" y="76"/>
                </a:lnTo>
                <a:lnTo>
                  <a:pt x="2174" y="74"/>
                </a:lnTo>
                <a:lnTo>
                  <a:pt x="2176" y="73"/>
                </a:lnTo>
                <a:lnTo>
                  <a:pt x="2177" y="70"/>
                </a:lnTo>
                <a:lnTo>
                  <a:pt x="2179" y="68"/>
                </a:lnTo>
                <a:lnTo>
                  <a:pt x="2179" y="65"/>
                </a:lnTo>
                <a:lnTo>
                  <a:pt x="2179" y="62"/>
                </a:lnTo>
                <a:lnTo>
                  <a:pt x="2177" y="59"/>
                </a:lnTo>
                <a:lnTo>
                  <a:pt x="2176" y="57"/>
                </a:lnTo>
                <a:lnTo>
                  <a:pt x="2174" y="55"/>
                </a:lnTo>
                <a:lnTo>
                  <a:pt x="2169" y="52"/>
                </a:lnTo>
                <a:lnTo>
                  <a:pt x="2161" y="51"/>
                </a:lnTo>
                <a:lnTo>
                  <a:pt x="2157" y="51"/>
                </a:lnTo>
                <a:lnTo>
                  <a:pt x="2153" y="52"/>
                </a:lnTo>
                <a:lnTo>
                  <a:pt x="2149" y="54"/>
                </a:lnTo>
                <a:lnTo>
                  <a:pt x="2147" y="56"/>
                </a:lnTo>
                <a:lnTo>
                  <a:pt x="2144" y="57"/>
                </a:lnTo>
                <a:lnTo>
                  <a:pt x="2143" y="61"/>
                </a:lnTo>
                <a:lnTo>
                  <a:pt x="2142" y="63"/>
                </a:lnTo>
                <a:lnTo>
                  <a:pt x="2142" y="67"/>
                </a:lnTo>
                <a:lnTo>
                  <a:pt x="2128" y="67"/>
                </a:lnTo>
                <a:lnTo>
                  <a:pt x="2129" y="62"/>
                </a:lnTo>
                <a:lnTo>
                  <a:pt x="2130" y="57"/>
                </a:lnTo>
                <a:lnTo>
                  <a:pt x="2132" y="52"/>
                </a:lnTo>
                <a:lnTo>
                  <a:pt x="2136" y="49"/>
                </a:lnTo>
                <a:lnTo>
                  <a:pt x="2141" y="45"/>
                </a:lnTo>
                <a:lnTo>
                  <a:pt x="2147" y="43"/>
                </a:lnTo>
                <a:lnTo>
                  <a:pt x="2154" y="42"/>
                </a:lnTo>
                <a:lnTo>
                  <a:pt x="2161" y="41"/>
                </a:lnTo>
                <a:lnTo>
                  <a:pt x="2167" y="41"/>
                </a:lnTo>
                <a:lnTo>
                  <a:pt x="2172" y="42"/>
                </a:lnTo>
                <a:lnTo>
                  <a:pt x="2176" y="43"/>
                </a:lnTo>
                <a:lnTo>
                  <a:pt x="2181" y="45"/>
                </a:lnTo>
                <a:lnTo>
                  <a:pt x="2186" y="49"/>
                </a:lnTo>
                <a:lnTo>
                  <a:pt x="2189" y="54"/>
                </a:lnTo>
                <a:lnTo>
                  <a:pt x="2192" y="59"/>
                </a:lnTo>
                <a:lnTo>
                  <a:pt x="2192" y="68"/>
                </a:lnTo>
                <a:lnTo>
                  <a:pt x="2192" y="106"/>
                </a:lnTo>
                <a:lnTo>
                  <a:pt x="2193" y="110"/>
                </a:lnTo>
                <a:lnTo>
                  <a:pt x="2194" y="113"/>
                </a:lnTo>
                <a:lnTo>
                  <a:pt x="2196" y="114"/>
                </a:lnTo>
                <a:lnTo>
                  <a:pt x="2201" y="114"/>
                </a:lnTo>
                <a:lnTo>
                  <a:pt x="2201" y="114"/>
                </a:lnTo>
                <a:lnTo>
                  <a:pt x="2201" y="125"/>
                </a:lnTo>
                <a:lnTo>
                  <a:pt x="2198" y="125"/>
                </a:lnTo>
                <a:lnTo>
                  <a:pt x="2194" y="126"/>
                </a:lnTo>
                <a:lnTo>
                  <a:pt x="2188" y="125"/>
                </a:lnTo>
                <a:lnTo>
                  <a:pt x="2183" y="122"/>
                </a:lnTo>
                <a:lnTo>
                  <a:pt x="2181" y="119"/>
                </a:lnTo>
                <a:lnTo>
                  <a:pt x="2179" y="113"/>
                </a:lnTo>
                <a:lnTo>
                  <a:pt x="2179" y="113"/>
                </a:lnTo>
                <a:lnTo>
                  <a:pt x="2174" y="118"/>
                </a:lnTo>
                <a:lnTo>
                  <a:pt x="2168" y="122"/>
                </a:lnTo>
                <a:lnTo>
                  <a:pt x="2161" y="126"/>
                </a:lnTo>
                <a:lnTo>
                  <a:pt x="2151" y="126"/>
                </a:lnTo>
                <a:lnTo>
                  <a:pt x="2145" y="126"/>
                </a:lnTo>
                <a:lnTo>
                  <a:pt x="2141" y="125"/>
                </a:lnTo>
                <a:lnTo>
                  <a:pt x="2136" y="123"/>
                </a:lnTo>
                <a:lnTo>
                  <a:pt x="2131" y="121"/>
                </a:lnTo>
                <a:lnTo>
                  <a:pt x="2129" y="118"/>
                </a:lnTo>
                <a:lnTo>
                  <a:pt x="2125" y="113"/>
                </a:lnTo>
                <a:lnTo>
                  <a:pt x="2124" y="108"/>
                </a:lnTo>
                <a:lnTo>
                  <a:pt x="2124" y="103"/>
                </a:lnTo>
                <a:close/>
                <a:moveTo>
                  <a:pt x="2179" y="95"/>
                </a:moveTo>
                <a:lnTo>
                  <a:pt x="2179" y="95"/>
                </a:lnTo>
                <a:lnTo>
                  <a:pt x="2179" y="81"/>
                </a:lnTo>
                <a:lnTo>
                  <a:pt x="2172" y="84"/>
                </a:lnTo>
                <a:lnTo>
                  <a:pt x="2161" y="87"/>
                </a:lnTo>
                <a:lnTo>
                  <a:pt x="2151" y="89"/>
                </a:lnTo>
                <a:lnTo>
                  <a:pt x="2144" y="91"/>
                </a:lnTo>
                <a:lnTo>
                  <a:pt x="2142" y="94"/>
                </a:lnTo>
                <a:lnTo>
                  <a:pt x="2141" y="96"/>
                </a:lnTo>
                <a:lnTo>
                  <a:pt x="2140" y="99"/>
                </a:lnTo>
                <a:lnTo>
                  <a:pt x="2138" y="103"/>
                </a:lnTo>
                <a:lnTo>
                  <a:pt x="2140" y="107"/>
                </a:lnTo>
                <a:lnTo>
                  <a:pt x="2140" y="109"/>
                </a:lnTo>
                <a:lnTo>
                  <a:pt x="2142" y="112"/>
                </a:lnTo>
                <a:lnTo>
                  <a:pt x="2144" y="113"/>
                </a:lnTo>
                <a:lnTo>
                  <a:pt x="2149" y="115"/>
                </a:lnTo>
                <a:lnTo>
                  <a:pt x="2155" y="116"/>
                </a:lnTo>
                <a:lnTo>
                  <a:pt x="2161" y="115"/>
                </a:lnTo>
                <a:lnTo>
                  <a:pt x="2166" y="114"/>
                </a:lnTo>
                <a:lnTo>
                  <a:pt x="2170" y="112"/>
                </a:lnTo>
                <a:lnTo>
                  <a:pt x="2173" y="109"/>
                </a:lnTo>
                <a:lnTo>
                  <a:pt x="2176" y="106"/>
                </a:lnTo>
                <a:lnTo>
                  <a:pt x="2177" y="102"/>
                </a:lnTo>
                <a:lnTo>
                  <a:pt x="2179" y="99"/>
                </a:lnTo>
                <a:lnTo>
                  <a:pt x="2179" y="95"/>
                </a:lnTo>
                <a:close/>
                <a:moveTo>
                  <a:pt x="2215" y="125"/>
                </a:moveTo>
                <a:lnTo>
                  <a:pt x="2215" y="125"/>
                </a:lnTo>
                <a:lnTo>
                  <a:pt x="2215" y="43"/>
                </a:lnTo>
                <a:lnTo>
                  <a:pt x="2230" y="43"/>
                </a:lnTo>
                <a:lnTo>
                  <a:pt x="2230" y="57"/>
                </a:lnTo>
                <a:lnTo>
                  <a:pt x="2231" y="57"/>
                </a:lnTo>
                <a:lnTo>
                  <a:pt x="2234" y="51"/>
                </a:lnTo>
                <a:lnTo>
                  <a:pt x="2240" y="46"/>
                </a:lnTo>
                <a:lnTo>
                  <a:pt x="2247" y="43"/>
                </a:lnTo>
                <a:lnTo>
                  <a:pt x="2254" y="42"/>
                </a:lnTo>
                <a:lnTo>
                  <a:pt x="2258" y="42"/>
                </a:lnTo>
                <a:lnTo>
                  <a:pt x="2260" y="43"/>
                </a:lnTo>
                <a:lnTo>
                  <a:pt x="2260" y="56"/>
                </a:lnTo>
                <a:lnTo>
                  <a:pt x="2259" y="56"/>
                </a:lnTo>
                <a:lnTo>
                  <a:pt x="2257" y="56"/>
                </a:lnTo>
                <a:lnTo>
                  <a:pt x="2253" y="55"/>
                </a:lnTo>
                <a:lnTo>
                  <a:pt x="2249" y="56"/>
                </a:lnTo>
                <a:lnTo>
                  <a:pt x="2245" y="57"/>
                </a:lnTo>
                <a:lnTo>
                  <a:pt x="2240" y="59"/>
                </a:lnTo>
                <a:lnTo>
                  <a:pt x="2237" y="62"/>
                </a:lnTo>
                <a:lnTo>
                  <a:pt x="2234" y="65"/>
                </a:lnTo>
                <a:lnTo>
                  <a:pt x="2232" y="70"/>
                </a:lnTo>
                <a:lnTo>
                  <a:pt x="2231" y="75"/>
                </a:lnTo>
                <a:lnTo>
                  <a:pt x="2230" y="80"/>
                </a:lnTo>
                <a:lnTo>
                  <a:pt x="2230" y="125"/>
                </a:lnTo>
                <a:lnTo>
                  <a:pt x="2215" y="125"/>
                </a:lnTo>
                <a:close/>
                <a:moveTo>
                  <a:pt x="2303" y="126"/>
                </a:moveTo>
                <a:lnTo>
                  <a:pt x="2303" y="126"/>
                </a:lnTo>
                <a:lnTo>
                  <a:pt x="2296" y="125"/>
                </a:lnTo>
                <a:lnTo>
                  <a:pt x="2290" y="121"/>
                </a:lnTo>
                <a:lnTo>
                  <a:pt x="2288" y="119"/>
                </a:lnTo>
                <a:lnTo>
                  <a:pt x="2286" y="116"/>
                </a:lnTo>
                <a:lnTo>
                  <a:pt x="2285" y="113"/>
                </a:lnTo>
                <a:lnTo>
                  <a:pt x="2284" y="109"/>
                </a:lnTo>
                <a:lnTo>
                  <a:pt x="2284" y="54"/>
                </a:lnTo>
                <a:lnTo>
                  <a:pt x="2272" y="54"/>
                </a:lnTo>
                <a:lnTo>
                  <a:pt x="2272" y="43"/>
                </a:lnTo>
                <a:lnTo>
                  <a:pt x="2284" y="43"/>
                </a:lnTo>
                <a:lnTo>
                  <a:pt x="2284" y="17"/>
                </a:lnTo>
                <a:lnTo>
                  <a:pt x="2298" y="17"/>
                </a:lnTo>
                <a:lnTo>
                  <a:pt x="2298" y="43"/>
                </a:lnTo>
                <a:lnTo>
                  <a:pt x="2316" y="43"/>
                </a:lnTo>
                <a:lnTo>
                  <a:pt x="2316" y="54"/>
                </a:lnTo>
                <a:lnTo>
                  <a:pt x="2298" y="54"/>
                </a:lnTo>
                <a:lnTo>
                  <a:pt x="2298" y="106"/>
                </a:lnTo>
                <a:lnTo>
                  <a:pt x="2299" y="109"/>
                </a:lnTo>
                <a:lnTo>
                  <a:pt x="2301" y="112"/>
                </a:lnTo>
                <a:lnTo>
                  <a:pt x="2303" y="113"/>
                </a:lnTo>
                <a:lnTo>
                  <a:pt x="2307" y="113"/>
                </a:lnTo>
                <a:lnTo>
                  <a:pt x="2311" y="113"/>
                </a:lnTo>
                <a:lnTo>
                  <a:pt x="2314" y="112"/>
                </a:lnTo>
                <a:lnTo>
                  <a:pt x="2315" y="112"/>
                </a:lnTo>
                <a:lnTo>
                  <a:pt x="2315" y="123"/>
                </a:lnTo>
                <a:lnTo>
                  <a:pt x="2309" y="125"/>
                </a:lnTo>
                <a:lnTo>
                  <a:pt x="2303" y="126"/>
                </a:lnTo>
                <a:close/>
                <a:moveTo>
                  <a:pt x="2349" y="19"/>
                </a:moveTo>
                <a:lnTo>
                  <a:pt x="2349" y="19"/>
                </a:lnTo>
                <a:lnTo>
                  <a:pt x="2348" y="23"/>
                </a:lnTo>
                <a:lnTo>
                  <a:pt x="2347" y="26"/>
                </a:lnTo>
                <a:lnTo>
                  <a:pt x="2344" y="28"/>
                </a:lnTo>
                <a:lnTo>
                  <a:pt x="2341" y="29"/>
                </a:lnTo>
                <a:lnTo>
                  <a:pt x="2337" y="28"/>
                </a:lnTo>
                <a:lnTo>
                  <a:pt x="2334" y="26"/>
                </a:lnTo>
                <a:lnTo>
                  <a:pt x="2333" y="23"/>
                </a:lnTo>
                <a:lnTo>
                  <a:pt x="2331" y="19"/>
                </a:lnTo>
                <a:lnTo>
                  <a:pt x="2333" y="16"/>
                </a:lnTo>
                <a:lnTo>
                  <a:pt x="2334" y="13"/>
                </a:lnTo>
                <a:lnTo>
                  <a:pt x="2337" y="12"/>
                </a:lnTo>
                <a:lnTo>
                  <a:pt x="2341" y="11"/>
                </a:lnTo>
                <a:lnTo>
                  <a:pt x="2344" y="12"/>
                </a:lnTo>
                <a:lnTo>
                  <a:pt x="2347" y="13"/>
                </a:lnTo>
                <a:lnTo>
                  <a:pt x="2348" y="16"/>
                </a:lnTo>
                <a:lnTo>
                  <a:pt x="2349" y="19"/>
                </a:lnTo>
                <a:close/>
                <a:moveTo>
                  <a:pt x="2334" y="43"/>
                </a:moveTo>
                <a:lnTo>
                  <a:pt x="2334" y="43"/>
                </a:lnTo>
                <a:lnTo>
                  <a:pt x="2348" y="43"/>
                </a:lnTo>
                <a:lnTo>
                  <a:pt x="2348" y="125"/>
                </a:lnTo>
                <a:lnTo>
                  <a:pt x="2334" y="125"/>
                </a:lnTo>
                <a:lnTo>
                  <a:pt x="2334" y="43"/>
                </a:lnTo>
                <a:close/>
                <a:moveTo>
                  <a:pt x="2365" y="100"/>
                </a:moveTo>
                <a:lnTo>
                  <a:pt x="2365" y="100"/>
                </a:lnTo>
                <a:lnTo>
                  <a:pt x="2379" y="100"/>
                </a:lnTo>
                <a:lnTo>
                  <a:pt x="2380" y="103"/>
                </a:lnTo>
                <a:lnTo>
                  <a:pt x="2382" y="107"/>
                </a:lnTo>
                <a:lnTo>
                  <a:pt x="2385" y="110"/>
                </a:lnTo>
                <a:lnTo>
                  <a:pt x="2387" y="113"/>
                </a:lnTo>
                <a:lnTo>
                  <a:pt x="2394" y="115"/>
                </a:lnTo>
                <a:lnTo>
                  <a:pt x="2402" y="115"/>
                </a:lnTo>
                <a:lnTo>
                  <a:pt x="2411" y="115"/>
                </a:lnTo>
                <a:lnTo>
                  <a:pt x="2415" y="112"/>
                </a:lnTo>
                <a:lnTo>
                  <a:pt x="2418" y="110"/>
                </a:lnTo>
                <a:lnTo>
                  <a:pt x="2419" y="108"/>
                </a:lnTo>
                <a:lnTo>
                  <a:pt x="2420" y="106"/>
                </a:lnTo>
                <a:lnTo>
                  <a:pt x="2420" y="102"/>
                </a:lnTo>
                <a:lnTo>
                  <a:pt x="2420" y="100"/>
                </a:lnTo>
                <a:lnTo>
                  <a:pt x="2419" y="97"/>
                </a:lnTo>
                <a:lnTo>
                  <a:pt x="2418" y="95"/>
                </a:lnTo>
                <a:lnTo>
                  <a:pt x="2415" y="94"/>
                </a:lnTo>
                <a:lnTo>
                  <a:pt x="2408" y="90"/>
                </a:lnTo>
                <a:lnTo>
                  <a:pt x="2399" y="88"/>
                </a:lnTo>
                <a:lnTo>
                  <a:pt x="2387" y="86"/>
                </a:lnTo>
                <a:lnTo>
                  <a:pt x="2378" y="82"/>
                </a:lnTo>
                <a:lnTo>
                  <a:pt x="2374" y="78"/>
                </a:lnTo>
                <a:lnTo>
                  <a:pt x="2370" y="75"/>
                </a:lnTo>
                <a:lnTo>
                  <a:pt x="2369" y="70"/>
                </a:lnTo>
                <a:lnTo>
                  <a:pt x="2368" y="64"/>
                </a:lnTo>
                <a:lnTo>
                  <a:pt x="2369" y="58"/>
                </a:lnTo>
                <a:lnTo>
                  <a:pt x="2370" y="55"/>
                </a:lnTo>
                <a:lnTo>
                  <a:pt x="2373" y="50"/>
                </a:lnTo>
                <a:lnTo>
                  <a:pt x="2376" y="48"/>
                </a:lnTo>
                <a:lnTo>
                  <a:pt x="2381" y="44"/>
                </a:lnTo>
                <a:lnTo>
                  <a:pt x="2386" y="43"/>
                </a:lnTo>
                <a:lnTo>
                  <a:pt x="2392" y="42"/>
                </a:lnTo>
                <a:lnTo>
                  <a:pt x="2399" y="41"/>
                </a:lnTo>
                <a:lnTo>
                  <a:pt x="2406" y="42"/>
                </a:lnTo>
                <a:lnTo>
                  <a:pt x="2412" y="43"/>
                </a:lnTo>
                <a:lnTo>
                  <a:pt x="2418" y="44"/>
                </a:lnTo>
                <a:lnTo>
                  <a:pt x="2421" y="48"/>
                </a:lnTo>
                <a:lnTo>
                  <a:pt x="2425" y="51"/>
                </a:lnTo>
                <a:lnTo>
                  <a:pt x="2429" y="55"/>
                </a:lnTo>
                <a:lnTo>
                  <a:pt x="2430" y="59"/>
                </a:lnTo>
                <a:lnTo>
                  <a:pt x="2431" y="64"/>
                </a:lnTo>
                <a:lnTo>
                  <a:pt x="2417" y="64"/>
                </a:lnTo>
                <a:lnTo>
                  <a:pt x="2415" y="59"/>
                </a:lnTo>
                <a:lnTo>
                  <a:pt x="2412" y="55"/>
                </a:lnTo>
                <a:lnTo>
                  <a:pt x="2406" y="52"/>
                </a:lnTo>
                <a:lnTo>
                  <a:pt x="2398" y="51"/>
                </a:lnTo>
                <a:lnTo>
                  <a:pt x="2391" y="52"/>
                </a:lnTo>
                <a:lnTo>
                  <a:pt x="2386" y="55"/>
                </a:lnTo>
                <a:lnTo>
                  <a:pt x="2384" y="58"/>
                </a:lnTo>
                <a:lnTo>
                  <a:pt x="2382" y="63"/>
                </a:lnTo>
                <a:lnTo>
                  <a:pt x="2382" y="65"/>
                </a:lnTo>
                <a:lnTo>
                  <a:pt x="2384" y="68"/>
                </a:lnTo>
                <a:lnTo>
                  <a:pt x="2386" y="70"/>
                </a:lnTo>
                <a:lnTo>
                  <a:pt x="2388" y="71"/>
                </a:lnTo>
                <a:lnTo>
                  <a:pt x="2395" y="74"/>
                </a:lnTo>
                <a:lnTo>
                  <a:pt x="2404" y="76"/>
                </a:lnTo>
                <a:lnTo>
                  <a:pt x="2415" y="78"/>
                </a:lnTo>
                <a:lnTo>
                  <a:pt x="2425" y="83"/>
                </a:lnTo>
                <a:lnTo>
                  <a:pt x="2430" y="87"/>
                </a:lnTo>
                <a:lnTo>
                  <a:pt x="2432" y="90"/>
                </a:lnTo>
                <a:lnTo>
                  <a:pt x="2434" y="95"/>
                </a:lnTo>
                <a:lnTo>
                  <a:pt x="2434" y="102"/>
                </a:lnTo>
                <a:lnTo>
                  <a:pt x="2434" y="108"/>
                </a:lnTo>
                <a:lnTo>
                  <a:pt x="2432" y="113"/>
                </a:lnTo>
                <a:lnTo>
                  <a:pt x="2430" y="118"/>
                </a:lnTo>
                <a:lnTo>
                  <a:pt x="2425" y="121"/>
                </a:lnTo>
                <a:lnTo>
                  <a:pt x="2420" y="123"/>
                </a:lnTo>
                <a:lnTo>
                  <a:pt x="2415" y="126"/>
                </a:lnTo>
                <a:lnTo>
                  <a:pt x="2408" y="127"/>
                </a:lnTo>
                <a:lnTo>
                  <a:pt x="2401" y="127"/>
                </a:lnTo>
                <a:lnTo>
                  <a:pt x="2394" y="127"/>
                </a:lnTo>
                <a:lnTo>
                  <a:pt x="2387" y="125"/>
                </a:lnTo>
                <a:lnTo>
                  <a:pt x="2380" y="123"/>
                </a:lnTo>
                <a:lnTo>
                  <a:pt x="2375" y="120"/>
                </a:lnTo>
                <a:lnTo>
                  <a:pt x="2372" y="116"/>
                </a:lnTo>
                <a:lnTo>
                  <a:pt x="2368" y="112"/>
                </a:lnTo>
                <a:lnTo>
                  <a:pt x="2366" y="106"/>
                </a:lnTo>
                <a:lnTo>
                  <a:pt x="2365" y="100"/>
                </a:lnTo>
                <a:close/>
                <a:moveTo>
                  <a:pt x="1692" y="164"/>
                </a:moveTo>
                <a:lnTo>
                  <a:pt x="1692" y="164"/>
                </a:lnTo>
                <a:lnTo>
                  <a:pt x="1733" y="164"/>
                </a:lnTo>
                <a:lnTo>
                  <a:pt x="1745" y="165"/>
                </a:lnTo>
                <a:lnTo>
                  <a:pt x="1756" y="168"/>
                </a:lnTo>
                <a:lnTo>
                  <a:pt x="1764" y="173"/>
                </a:lnTo>
                <a:lnTo>
                  <a:pt x="1771" y="179"/>
                </a:lnTo>
                <a:lnTo>
                  <a:pt x="1777" y="187"/>
                </a:lnTo>
                <a:lnTo>
                  <a:pt x="1781" y="198"/>
                </a:lnTo>
                <a:lnTo>
                  <a:pt x="1783" y="209"/>
                </a:lnTo>
                <a:lnTo>
                  <a:pt x="1784" y="221"/>
                </a:lnTo>
                <a:lnTo>
                  <a:pt x="1783" y="234"/>
                </a:lnTo>
                <a:lnTo>
                  <a:pt x="1781" y="244"/>
                </a:lnTo>
                <a:lnTo>
                  <a:pt x="1777" y="254"/>
                </a:lnTo>
                <a:lnTo>
                  <a:pt x="1771" y="262"/>
                </a:lnTo>
                <a:lnTo>
                  <a:pt x="1764" y="268"/>
                </a:lnTo>
                <a:lnTo>
                  <a:pt x="1755" y="274"/>
                </a:lnTo>
                <a:lnTo>
                  <a:pt x="1744" y="276"/>
                </a:lnTo>
                <a:lnTo>
                  <a:pt x="1732" y="277"/>
                </a:lnTo>
                <a:lnTo>
                  <a:pt x="1692" y="277"/>
                </a:lnTo>
                <a:lnTo>
                  <a:pt x="1692" y="164"/>
                </a:lnTo>
                <a:close/>
                <a:moveTo>
                  <a:pt x="1732" y="263"/>
                </a:moveTo>
                <a:lnTo>
                  <a:pt x="1732" y="263"/>
                </a:lnTo>
                <a:lnTo>
                  <a:pt x="1740" y="263"/>
                </a:lnTo>
                <a:lnTo>
                  <a:pt x="1749" y="261"/>
                </a:lnTo>
                <a:lnTo>
                  <a:pt x="1755" y="257"/>
                </a:lnTo>
                <a:lnTo>
                  <a:pt x="1759" y="253"/>
                </a:lnTo>
                <a:lnTo>
                  <a:pt x="1763" y="245"/>
                </a:lnTo>
                <a:lnTo>
                  <a:pt x="1767" y="238"/>
                </a:lnTo>
                <a:lnTo>
                  <a:pt x="1768" y="230"/>
                </a:lnTo>
                <a:lnTo>
                  <a:pt x="1768" y="221"/>
                </a:lnTo>
                <a:lnTo>
                  <a:pt x="1768" y="211"/>
                </a:lnTo>
                <a:lnTo>
                  <a:pt x="1767" y="203"/>
                </a:lnTo>
                <a:lnTo>
                  <a:pt x="1764" y="196"/>
                </a:lnTo>
                <a:lnTo>
                  <a:pt x="1761" y="190"/>
                </a:lnTo>
                <a:lnTo>
                  <a:pt x="1755" y="184"/>
                </a:lnTo>
                <a:lnTo>
                  <a:pt x="1749" y="180"/>
                </a:lnTo>
                <a:lnTo>
                  <a:pt x="1742" y="178"/>
                </a:lnTo>
                <a:lnTo>
                  <a:pt x="1732" y="177"/>
                </a:lnTo>
                <a:lnTo>
                  <a:pt x="1707" y="177"/>
                </a:lnTo>
                <a:lnTo>
                  <a:pt x="1707" y="263"/>
                </a:lnTo>
                <a:lnTo>
                  <a:pt x="1732" y="263"/>
                </a:lnTo>
                <a:close/>
                <a:moveTo>
                  <a:pt x="1820" y="172"/>
                </a:moveTo>
                <a:lnTo>
                  <a:pt x="1820" y="172"/>
                </a:lnTo>
                <a:lnTo>
                  <a:pt x="1820" y="176"/>
                </a:lnTo>
                <a:lnTo>
                  <a:pt x="1817" y="179"/>
                </a:lnTo>
                <a:lnTo>
                  <a:pt x="1815" y="180"/>
                </a:lnTo>
                <a:lnTo>
                  <a:pt x="1812" y="181"/>
                </a:lnTo>
                <a:lnTo>
                  <a:pt x="1808" y="180"/>
                </a:lnTo>
                <a:lnTo>
                  <a:pt x="1806" y="179"/>
                </a:lnTo>
                <a:lnTo>
                  <a:pt x="1803" y="176"/>
                </a:lnTo>
                <a:lnTo>
                  <a:pt x="1803" y="172"/>
                </a:lnTo>
                <a:lnTo>
                  <a:pt x="1803" y="168"/>
                </a:lnTo>
                <a:lnTo>
                  <a:pt x="1806" y="166"/>
                </a:lnTo>
                <a:lnTo>
                  <a:pt x="1808" y="164"/>
                </a:lnTo>
                <a:lnTo>
                  <a:pt x="1812" y="164"/>
                </a:lnTo>
                <a:lnTo>
                  <a:pt x="1815" y="164"/>
                </a:lnTo>
                <a:lnTo>
                  <a:pt x="1817" y="166"/>
                </a:lnTo>
                <a:lnTo>
                  <a:pt x="1820" y="168"/>
                </a:lnTo>
                <a:lnTo>
                  <a:pt x="1820" y="172"/>
                </a:lnTo>
                <a:close/>
                <a:moveTo>
                  <a:pt x="1804" y="196"/>
                </a:moveTo>
                <a:lnTo>
                  <a:pt x="1804" y="196"/>
                </a:lnTo>
                <a:lnTo>
                  <a:pt x="1819" y="196"/>
                </a:lnTo>
                <a:lnTo>
                  <a:pt x="1819" y="277"/>
                </a:lnTo>
                <a:lnTo>
                  <a:pt x="1804" y="277"/>
                </a:lnTo>
                <a:lnTo>
                  <a:pt x="1804" y="196"/>
                </a:lnTo>
                <a:close/>
                <a:moveTo>
                  <a:pt x="1832" y="196"/>
                </a:moveTo>
                <a:lnTo>
                  <a:pt x="1832" y="196"/>
                </a:lnTo>
                <a:lnTo>
                  <a:pt x="1847" y="196"/>
                </a:lnTo>
                <a:lnTo>
                  <a:pt x="1861" y="240"/>
                </a:lnTo>
                <a:lnTo>
                  <a:pt x="1867" y="257"/>
                </a:lnTo>
                <a:lnTo>
                  <a:pt x="1870" y="266"/>
                </a:lnTo>
                <a:lnTo>
                  <a:pt x="1870" y="266"/>
                </a:lnTo>
                <a:lnTo>
                  <a:pt x="1872" y="257"/>
                </a:lnTo>
                <a:lnTo>
                  <a:pt x="1877" y="240"/>
                </a:lnTo>
                <a:lnTo>
                  <a:pt x="1891" y="196"/>
                </a:lnTo>
                <a:lnTo>
                  <a:pt x="1906" y="196"/>
                </a:lnTo>
                <a:lnTo>
                  <a:pt x="1877" y="277"/>
                </a:lnTo>
                <a:lnTo>
                  <a:pt x="1860" y="277"/>
                </a:lnTo>
                <a:lnTo>
                  <a:pt x="1832" y="196"/>
                </a:lnTo>
                <a:close/>
                <a:moveTo>
                  <a:pt x="1935" y="172"/>
                </a:moveTo>
                <a:lnTo>
                  <a:pt x="1935" y="172"/>
                </a:lnTo>
                <a:lnTo>
                  <a:pt x="1935" y="176"/>
                </a:lnTo>
                <a:lnTo>
                  <a:pt x="1932" y="179"/>
                </a:lnTo>
                <a:lnTo>
                  <a:pt x="1930" y="180"/>
                </a:lnTo>
                <a:lnTo>
                  <a:pt x="1926" y="181"/>
                </a:lnTo>
                <a:lnTo>
                  <a:pt x="1923" y="180"/>
                </a:lnTo>
                <a:lnTo>
                  <a:pt x="1920" y="179"/>
                </a:lnTo>
                <a:lnTo>
                  <a:pt x="1918" y="176"/>
                </a:lnTo>
                <a:lnTo>
                  <a:pt x="1918" y="172"/>
                </a:lnTo>
                <a:lnTo>
                  <a:pt x="1918" y="168"/>
                </a:lnTo>
                <a:lnTo>
                  <a:pt x="1920" y="166"/>
                </a:lnTo>
                <a:lnTo>
                  <a:pt x="1923" y="164"/>
                </a:lnTo>
                <a:lnTo>
                  <a:pt x="1926" y="164"/>
                </a:lnTo>
                <a:lnTo>
                  <a:pt x="1930" y="164"/>
                </a:lnTo>
                <a:lnTo>
                  <a:pt x="1932" y="166"/>
                </a:lnTo>
                <a:lnTo>
                  <a:pt x="1935" y="168"/>
                </a:lnTo>
                <a:lnTo>
                  <a:pt x="1935" y="172"/>
                </a:lnTo>
                <a:close/>
                <a:moveTo>
                  <a:pt x="1919" y="196"/>
                </a:moveTo>
                <a:lnTo>
                  <a:pt x="1919" y="196"/>
                </a:lnTo>
                <a:lnTo>
                  <a:pt x="1934" y="196"/>
                </a:lnTo>
                <a:lnTo>
                  <a:pt x="1934" y="277"/>
                </a:lnTo>
                <a:lnTo>
                  <a:pt x="1919" y="277"/>
                </a:lnTo>
                <a:lnTo>
                  <a:pt x="1919" y="196"/>
                </a:lnTo>
                <a:close/>
                <a:moveTo>
                  <a:pt x="1951" y="253"/>
                </a:moveTo>
                <a:lnTo>
                  <a:pt x="1951" y="253"/>
                </a:lnTo>
                <a:lnTo>
                  <a:pt x="1965" y="253"/>
                </a:lnTo>
                <a:lnTo>
                  <a:pt x="1967" y="256"/>
                </a:lnTo>
                <a:lnTo>
                  <a:pt x="1968" y="260"/>
                </a:lnTo>
                <a:lnTo>
                  <a:pt x="1970" y="263"/>
                </a:lnTo>
                <a:lnTo>
                  <a:pt x="1973" y="264"/>
                </a:lnTo>
                <a:lnTo>
                  <a:pt x="1980" y="268"/>
                </a:lnTo>
                <a:lnTo>
                  <a:pt x="1988" y="268"/>
                </a:lnTo>
                <a:lnTo>
                  <a:pt x="1996" y="267"/>
                </a:lnTo>
                <a:lnTo>
                  <a:pt x="2002" y="264"/>
                </a:lnTo>
                <a:lnTo>
                  <a:pt x="2003" y="263"/>
                </a:lnTo>
                <a:lnTo>
                  <a:pt x="2006" y="261"/>
                </a:lnTo>
                <a:lnTo>
                  <a:pt x="2006" y="258"/>
                </a:lnTo>
                <a:lnTo>
                  <a:pt x="2007" y="255"/>
                </a:lnTo>
                <a:lnTo>
                  <a:pt x="2006" y="253"/>
                </a:lnTo>
                <a:lnTo>
                  <a:pt x="2005" y="250"/>
                </a:lnTo>
                <a:lnTo>
                  <a:pt x="2003" y="248"/>
                </a:lnTo>
                <a:lnTo>
                  <a:pt x="2001" y="245"/>
                </a:lnTo>
                <a:lnTo>
                  <a:pt x="1994" y="243"/>
                </a:lnTo>
                <a:lnTo>
                  <a:pt x="1984" y="241"/>
                </a:lnTo>
                <a:lnTo>
                  <a:pt x="1974" y="238"/>
                </a:lnTo>
                <a:lnTo>
                  <a:pt x="1964" y="235"/>
                </a:lnTo>
                <a:lnTo>
                  <a:pt x="1960" y="231"/>
                </a:lnTo>
                <a:lnTo>
                  <a:pt x="1957" y="228"/>
                </a:lnTo>
                <a:lnTo>
                  <a:pt x="1955" y="223"/>
                </a:lnTo>
                <a:lnTo>
                  <a:pt x="1955" y="216"/>
                </a:lnTo>
                <a:lnTo>
                  <a:pt x="1955" y="211"/>
                </a:lnTo>
                <a:lnTo>
                  <a:pt x="1956" y="206"/>
                </a:lnTo>
                <a:lnTo>
                  <a:pt x="1960" y="203"/>
                </a:lnTo>
                <a:lnTo>
                  <a:pt x="1962" y="199"/>
                </a:lnTo>
                <a:lnTo>
                  <a:pt x="1967" y="197"/>
                </a:lnTo>
                <a:lnTo>
                  <a:pt x="1971" y="196"/>
                </a:lnTo>
                <a:lnTo>
                  <a:pt x="1977" y="193"/>
                </a:lnTo>
                <a:lnTo>
                  <a:pt x="1984" y="193"/>
                </a:lnTo>
                <a:lnTo>
                  <a:pt x="1992" y="195"/>
                </a:lnTo>
                <a:lnTo>
                  <a:pt x="1999" y="196"/>
                </a:lnTo>
                <a:lnTo>
                  <a:pt x="2003" y="197"/>
                </a:lnTo>
                <a:lnTo>
                  <a:pt x="2008" y="200"/>
                </a:lnTo>
                <a:lnTo>
                  <a:pt x="2012" y="204"/>
                </a:lnTo>
                <a:lnTo>
                  <a:pt x="2014" y="208"/>
                </a:lnTo>
                <a:lnTo>
                  <a:pt x="2016" y="212"/>
                </a:lnTo>
                <a:lnTo>
                  <a:pt x="2018" y="217"/>
                </a:lnTo>
                <a:lnTo>
                  <a:pt x="2003" y="217"/>
                </a:lnTo>
                <a:lnTo>
                  <a:pt x="2001" y="212"/>
                </a:lnTo>
                <a:lnTo>
                  <a:pt x="1997" y="208"/>
                </a:lnTo>
                <a:lnTo>
                  <a:pt x="1992" y="205"/>
                </a:lnTo>
                <a:lnTo>
                  <a:pt x="1984" y="204"/>
                </a:lnTo>
                <a:lnTo>
                  <a:pt x="1977" y="205"/>
                </a:lnTo>
                <a:lnTo>
                  <a:pt x="1973" y="208"/>
                </a:lnTo>
                <a:lnTo>
                  <a:pt x="1969" y="211"/>
                </a:lnTo>
                <a:lnTo>
                  <a:pt x="1968" y="216"/>
                </a:lnTo>
                <a:lnTo>
                  <a:pt x="1969" y="218"/>
                </a:lnTo>
                <a:lnTo>
                  <a:pt x="1970" y="221"/>
                </a:lnTo>
                <a:lnTo>
                  <a:pt x="1971" y="223"/>
                </a:lnTo>
                <a:lnTo>
                  <a:pt x="1974" y="224"/>
                </a:lnTo>
                <a:lnTo>
                  <a:pt x="1981" y="227"/>
                </a:lnTo>
                <a:lnTo>
                  <a:pt x="1990" y="229"/>
                </a:lnTo>
                <a:lnTo>
                  <a:pt x="2002" y="231"/>
                </a:lnTo>
                <a:lnTo>
                  <a:pt x="2012" y="236"/>
                </a:lnTo>
                <a:lnTo>
                  <a:pt x="2015" y="238"/>
                </a:lnTo>
                <a:lnTo>
                  <a:pt x="2018" y="243"/>
                </a:lnTo>
                <a:lnTo>
                  <a:pt x="2020" y="248"/>
                </a:lnTo>
                <a:lnTo>
                  <a:pt x="2021" y="255"/>
                </a:lnTo>
                <a:lnTo>
                  <a:pt x="2020" y="261"/>
                </a:lnTo>
                <a:lnTo>
                  <a:pt x="2018" y="266"/>
                </a:lnTo>
                <a:lnTo>
                  <a:pt x="2015" y="270"/>
                </a:lnTo>
                <a:lnTo>
                  <a:pt x="2012" y="274"/>
                </a:lnTo>
                <a:lnTo>
                  <a:pt x="2007" y="276"/>
                </a:lnTo>
                <a:lnTo>
                  <a:pt x="2001" y="279"/>
                </a:lnTo>
                <a:lnTo>
                  <a:pt x="1995" y="280"/>
                </a:lnTo>
                <a:lnTo>
                  <a:pt x="1988" y="280"/>
                </a:lnTo>
                <a:lnTo>
                  <a:pt x="1980" y="280"/>
                </a:lnTo>
                <a:lnTo>
                  <a:pt x="1973" y="277"/>
                </a:lnTo>
                <a:lnTo>
                  <a:pt x="1967" y="275"/>
                </a:lnTo>
                <a:lnTo>
                  <a:pt x="1961" y="273"/>
                </a:lnTo>
                <a:lnTo>
                  <a:pt x="1957" y="268"/>
                </a:lnTo>
                <a:lnTo>
                  <a:pt x="1954" y="263"/>
                </a:lnTo>
                <a:lnTo>
                  <a:pt x="1952" y="258"/>
                </a:lnTo>
                <a:lnTo>
                  <a:pt x="1951" y="253"/>
                </a:lnTo>
                <a:close/>
                <a:moveTo>
                  <a:pt x="2054" y="172"/>
                </a:moveTo>
                <a:lnTo>
                  <a:pt x="2054" y="172"/>
                </a:lnTo>
                <a:lnTo>
                  <a:pt x="2054" y="176"/>
                </a:lnTo>
                <a:lnTo>
                  <a:pt x="2052" y="179"/>
                </a:lnTo>
                <a:lnTo>
                  <a:pt x="2050" y="180"/>
                </a:lnTo>
                <a:lnTo>
                  <a:pt x="2046" y="181"/>
                </a:lnTo>
                <a:lnTo>
                  <a:pt x="2042" y="180"/>
                </a:lnTo>
                <a:lnTo>
                  <a:pt x="2040" y="179"/>
                </a:lnTo>
                <a:lnTo>
                  <a:pt x="2038" y="176"/>
                </a:lnTo>
                <a:lnTo>
                  <a:pt x="2038" y="172"/>
                </a:lnTo>
                <a:lnTo>
                  <a:pt x="2038" y="168"/>
                </a:lnTo>
                <a:lnTo>
                  <a:pt x="2040" y="166"/>
                </a:lnTo>
                <a:lnTo>
                  <a:pt x="2042" y="164"/>
                </a:lnTo>
                <a:lnTo>
                  <a:pt x="2046" y="164"/>
                </a:lnTo>
                <a:lnTo>
                  <a:pt x="2050" y="164"/>
                </a:lnTo>
                <a:lnTo>
                  <a:pt x="2052" y="166"/>
                </a:lnTo>
                <a:lnTo>
                  <a:pt x="2054" y="168"/>
                </a:lnTo>
                <a:lnTo>
                  <a:pt x="2054" y="172"/>
                </a:lnTo>
                <a:close/>
                <a:moveTo>
                  <a:pt x="2039" y="196"/>
                </a:moveTo>
                <a:lnTo>
                  <a:pt x="2039" y="196"/>
                </a:lnTo>
                <a:lnTo>
                  <a:pt x="2053" y="196"/>
                </a:lnTo>
                <a:lnTo>
                  <a:pt x="2053" y="277"/>
                </a:lnTo>
                <a:lnTo>
                  <a:pt x="2039" y="277"/>
                </a:lnTo>
                <a:lnTo>
                  <a:pt x="2039" y="196"/>
                </a:lnTo>
                <a:close/>
                <a:moveTo>
                  <a:pt x="2071" y="236"/>
                </a:moveTo>
                <a:lnTo>
                  <a:pt x="2071" y="236"/>
                </a:lnTo>
                <a:lnTo>
                  <a:pt x="2072" y="228"/>
                </a:lnTo>
                <a:lnTo>
                  <a:pt x="2074" y="219"/>
                </a:lnTo>
                <a:lnTo>
                  <a:pt x="2078" y="212"/>
                </a:lnTo>
                <a:lnTo>
                  <a:pt x="2082" y="206"/>
                </a:lnTo>
                <a:lnTo>
                  <a:pt x="2087" y="200"/>
                </a:lnTo>
                <a:lnTo>
                  <a:pt x="2095" y="197"/>
                </a:lnTo>
                <a:lnTo>
                  <a:pt x="2103" y="195"/>
                </a:lnTo>
                <a:lnTo>
                  <a:pt x="2111" y="193"/>
                </a:lnTo>
                <a:lnTo>
                  <a:pt x="2121" y="195"/>
                </a:lnTo>
                <a:lnTo>
                  <a:pt x="2128" y="197"/>
                </a:lnTo>
                <a:lnTo>
                  <a:pt x="2135" y="200"/>
                </a:lnTo>
                <a:lnTo>
                  <a:pt x="2141" y="206"/>
                </a:lnTo>
                <a:lnTo>
                  <a:pt x="2145" y="212"/>
                </a:lnTo>
                <a:lnTo>
                  <a:pt x="2149" y="219"/>
                </a:lnTo>
                <a:lnTo>
                  <a:pt x="2150" y="228"/>
                </a:lnTo>
                <a:lnTo>
                  <a:pt x="2151" y="236"/>
                </a:lnTo>
                <a:lnTo>
                  <a:pt x="2150" y="245"/>
                </a:lnTo>
                <a:lnTo>
                  <a:pt x="2149" y="254"/>
                </a:lnTo>
                <a:lnTo>
                  <a:pt x="2145" y="261"/>
                </a:lnTo>
                <a:lnTo>
                  <a:pt x="2141" y="267"/>
                </a:lnTo>
                <a:lnTo>
                  <a:pt x="2135" y="273"/>
                </a:lnTo>
                <a:lnTo>
                  <a:pt x="2128" y="276"/>
                </a:lnTo>
                <a:lnTo>
                  <a:pt x="2121" y="279"/>
                </a:lnTo>
                <a:lnTo>
                  <a:pt x="2111" y="280"/>
                </a:lnTo>
                <a:lnTo>
                  <a:pt x="2103" y="279"/>
                </a:lnTo>
                <a:lnTo>
                  <a:pt x="2095" y="276"/>
                </a:lnTo>
                <a:lnTo>
                  <a:pt x="2087" y="273"/>
                </a:lnTo>
                <a:lnTo>
                  <a:pt x="2082" y="267"/>
                </a:lnTo>
                <a:lnTo>
                  <a:pt x="2078" y="261"/>
                </a:lnTo>
                <a:lnTo>
                  <a:pt x="2074" y="254"/>
                </a:lnTo>
                <a:lnTo>
                  <a:pt x="2072" y="245"/>
                </a:lnTo>
                <a:lnTo>
                  <a:pt x="2071" y="236"/>
                </a:lnTo>
                <a:close/>
                <a:moveTo>
                  <a:pt x="2137" y="236"/>
                </a:moveTo>
                <a:lnTo>
                  <a:pt x="2137" y="236"/>
                </a:lnTo>
                <a:lnTo>
                  <a:pt x="2136" y="230"/>
                </a:lnTo>
                <a:lnTo>
                  <a:pt x="2135" y="224"/>
                </a:lnTo>
                <a:lnTo>
                  <a:pt x="2134" y="218"/>
                </a:lnTo>
                <a:lnTo>
                  <a:pt x="2130" y="213"/>
                </a:lnTo>
                <a:lnTo>
                  <a:pt x="2127" y="210"/>
                </a:lnTo>
                <a:lnTo>
                  <a:pt x="2122" y="208"/>
                </a:lnTo>
                <a:lnTo>
                  <a:pt x="2117" y="205"/>
                </a:lnTo>
                <a:lnTo>
                  <a:pt x="2111" y="205"/>
                </a:lnTo>
                <a:lnTo>
                  <a:pt x="2105" y="205"/>
                </a:lnTo>
                <a:lnTo>
                  <a:pt x="2100" y="208"/>
                </a:lnTo>
                <a:lnTo>
                  <a:pt x="2096" y="210"/>
                </a:lnTo>
                <a:lnTo>
                  <a:pt x="2092" y="213"/>
                </a:lnTo>
                <a:lnTo>
                  <a:pt x="2090" y="218"/>
                </a:lnTo>
                <a:lnTo>
                  <a:pt x="2087" y="224"/>
                </a:lnTo>
                <a:lnTo>
                  <a:pt x="2086" y="230"/>
                </a:lnTo>
                <a:lnTo>
                  <a:pt x="2086" y="236"/>
                </a:lnTo>
                <a:lnTo>
                  <a:pt x="2086" y="243"/>
                </a:lnTo>
                <a:lnTo>
                  <a:pt x="2087" y="249"/>
                </a:lnTo>
                <a:lnTo>
                  <a:pt x="2090" y="254"/>
                </a:lnTo>
                <a:lnTo>
                  <a:pt x="2092" y="258"/>
                </a:lnTo>
                <a:lnTo>
                  <a:pt x="2096" y="263"/>
                </a:lnTo>
                <a:lnTo>
                  <a:pt x="2100" y="266"/>
                </a:lnTo>
                <a:lnTo>
                  <a:pt x="2105" y="268"/>
                </a:lnTo>
                <a:lnTo>
                  <a:pt x="2111" y="268"/>
                </a:lnTo>
                <a:lnTo>
                  <a:pt x="2117" y="268"/>
                </a:lnTo>
                <a:lnTo>
                  <a:pt x="2122" y="266"/>
                </a:lnTo>
                <a:lnTo>
                  <a:pt x="2127" y="263"/>
                </a:lnTo>
                <a:lnTo>
                  <a:pt x="2130" y="258"/>
                </a:lnTo>
                <a:lnTo>
                  <a:pt x="2134" y="254"/>
                </a:lnTo>
                <a:lnTo>
                  <a:pt x="2135" y="249"/>
                </a:lnTo>
                <a:lnTo>
                  <a:pt x="2136" y="243"/>
                </a:lnTo>
                <a:lnTo>
                  <a:pt x="2137" y="236"/>
                </a:lnTo>
                <a:close/>
                <a:moveTo>
                  <a:pt x="2183" y="277"/>
                </a:moveTo>
                <a:lnTo>
                  <a:pt x="2183" y="277"/>
                </a:lnTo>
                <a:lnTo>
                  <a:pt x="2169" y="277"/>
                </a:lnTo>
                <a:lnTo>
                  <a:pt x="2169" y="196"/>
                </a:lnTo>
                <a:lnTo>
                  <a:pt x="2183" y="196"/>
                </a:lnTo>
                <a:lnTo>
                  <a:pt x="2183" y="206"/>
                </a:lnTo>
                <a:lnTo>
                  <a:pt x="2183" y="206"/>
                </a:lnTo>
                <a:lnTo>
                  <a:pt x="2189" y="202"/>
                </a:lnTo>
                <a:lnTo>
                  <a:pt x="2194" y="197"/>
                </a:lnTo>
                <a:lnTo>
                  <a:pt x="2201" y="195"/>
                </a:lnTo>
                <a:lnTo>
                  <a:pt x="2209" y="193"/>
                </a:lnTo>
                <a:lnTo>
                  <a:pt x="2215" y="193"/>
                </a:lnTo>
                <a:lnTo>
                  <a:pt x="2221" y="196"/>
                </a:lnTo>
                <a:lnTo>
                  <a:pt x="2226" y="197"/>
                </a:lnTo>
                <a:lnTo>
                  <a:pt x="2230" y="200"/>
                </a:lnTo>
                <a:lnTo>
                  <a:pt x="2233" y="204"/>
                </a:lnTo>
                <a:lnTo>
                  <a:pt x="2235" y="209"/>
                </a:lnTo>
                <a:lnTo>
                  <a:pt x="2237" y="213"/>
                </a:lnTo>
                <a:lnTo>
                  <a:pt x="2238" y="221"/>
                </a:lnTo>
                <a:lnTo>
                  <a:pt x="2238" y="277"/>
                </a:lnTo>
                <a:lnTo>
                  <a:pt x="2224" y="277"/>
                </a:lnTo>
                <a:lnTo>
                  <a:pt x="2224" y="222"/>
                </a:lnTo>
                <a:lnTo>
                  <a:pt x="2224" y="218"/>
                </a:lnTo>
                <a:lnTo>
                  <a:pt x="2222" y="215"/>
                </a:lnTo>
                <a:lnTo>
                  <a:pt x="2220" y="212"/>
                </a:lnTo>
                <a:lnTo>
                  <a:pt x="2219" y="210"/>
                </a:lnTo>
                <a:lnTo>
                  <a:pt x="2217" y="208"/>
                </a:lnTo>
                <a:lnTo>
                  <a:pt x="2213" y="206"/>
                </a:lnTo>
                <a:lnTo>
                  <a:pt x="2209" y="205"/>
                </a:lnTo>
                <a:lnTo>
                  <a:pt x="2206" y="205"/>
                </a:lnTo>
                <a:lnTo>
                  <a:pt x="2201" y="205"/>
                </a:lnTo>
                <a:lnTo>
                  <a:pt x="2196" y="206"/>
                </a:lnTo>
                <a:lnTo>
                  <a:pt x="2193" y="209"/>
                </a:lnTo>
                <a:lnTo>
                  <a:pt x="2189" y="211"/>
                </a:lnTo>
                <a:lnTo>
                  <a:pt x="2187" y="215"/>
                </a:lnTo>
                <a:lnTo>
                  <a:pt x="2186" y="218"/>
                </a:lnTo>
                <a:lnTo>
                  <a:pt x="2185" y="223"/>
                </a:lnTo>
                <a:lnTo>
                  <a:pt x="2183" y="228"/>
                </a:lnTo>
                <a:lnTo>
                  <a:pt x="2183" y="277"/>
                </a:lnTo>
                <a:close/>
              </a:path>
            </a:pathLst>
          </a:custGeom>
          <a:solidFill>
            <a:srgbClr val="FEFEFE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64206" tIns="82103" rIns="164206" bIns="82103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3224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514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3" name="Rectangle 23"/>
          <p:cNvSpPr>
            <a:spLocks noChangeArrowheads="1"/>
          </p:cNvSpPr>
          <p:nvPr/>
        </p:nvSpPr>
        <p:spPr bwMode="auto">
          <a:xfrm>
            <a:off x="1821767" y="2438540"/>
            <a:ext cx="1533095" cy="16442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116656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az-Latn-AZ" altLang="ru-RU" sz="1781" b="1" i="0" u="none" strike="noStrike" kern="1200" cap="none" spc="0" normalizeH="0" baseline="0" noProof="0" dirty="0">
                <a:ln>
                  <a:noFill/>
                </a:ln>
                <a:solidFill>
                  <a:srgbClr val="27589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Biz tez-tez xəstələnməyə başlamışıq və tez-tez antibiotik istifadə edirik</a:t>
            </a:r>
            <a:endParaRPr kumimoji="0" lang="ru-RU" altLang="ru-RU" sz="1781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AC89F610-9533-2566-3A9F-B7E9188B96F5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16331" t="22222" r="19225" b="14847"/>
          <a:stretch/>
        </p:blipFill>
        <p:spPr>
          <a:xfrm>
            <a:off x="1471633" y="4410153"/>
            <a:ext cx="2814843" cy="1921725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C932D72C-6C5F-BC6D-40C6-1C625818B587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16331" t="22222" r="19225" b="14847"/>
          <a:stretch/>
        </p:blipFill>
        <p:spPr>
          <a:xfrm>
            <a:off x="7989014" y="4344329"/>
            <a:ext cx="2835806" cy="1936037"/>
          </a:xfrm>
          <a:prstGeom prst="rect">
            <a:avLst/>
          </a:prstGeom>
        </p:spPr>
      </p:pic>
      <p:pic>
        <p:nvPicPr>
          <p:cNvPr id="52" name="Рисунок 51">
            <a:extLst>
              <a:ext uri="{FF2B5EF4-FFF2-40B4-BE49-F238E27FC236}">
                <a16:creationId xmlns:a16="http://schemas.microsoft.com/office/drawing/2014/main" id="{60C9D9FD-9F77-4449-944E-CA8BD4CC4903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41479" y="6595143"/>
            <a:ext cx="1571176" cy="2121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8667544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object 4"/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4606109" y="4598719"/>
            <a:ext cx="2665921" cy="1972055"/>
          </a:xfrm>
          <a:prstGeom prst="rect">
            <a:avLst/>
          </a:prstGeom>
        </p:spPr>
      </p:pic>
      <p:pic>
        <p:nvPicPr>
          <p:cNvPr id="5" name="object 5"/>
          <p:cNvPicPr/>
          <p:nvPr/>
        </p:nvPicPr>
        <p:blipFill>
          <a:blip r:embed="rId4" cstate="print"/>
          <a:stretch>
            <a:fillRect/>
          </a:stretch>
        </p:blipFill>
        <p:spPr>
          <a:xfrm>
            <a:off x="1261201" y="4870489"/>
            <a:ext cx="1188621" cy="1734019"/>
          </a:xfrm>
          <a:prstGeom prst="rect">
            <a:avLst/>
          </a:prstGeom>
        </p:spPr>
      </p:pic>
      <p:pic>
        <p:nvPicPr>
          <p:cNvPr id="6" name="object 6"/>
          <p:cNvPicPr/>
          <p:nvPr/>
        </p:nvPicPr>
        <p:blipFill>
          <a:blip r:embed="rId5" cstate="print"/>
          <a:stretch>
            <a:fillRect/>
          </a:stretch>
        </p:blipFill>
        <p:spPr>
          <a:xfrm>
            <a:off x="1960663" y="2526428"/>
            <a:ext cx="1238730" cy="1593352"/>
          </a:xfrm>
          <a:prstGeom prst="rect">
            <a:avLst/>
          </a:prstGeom>
        </p:spPr>
      </p:pic>
      <p:pic>
        <p:nvPicPr>
          <p:cNvPr id="9" name="object 9"/>
          <p:cNvPicPr/>
          <p:nvPr/>
        </p:nvPicPr>
        <p:blipFill>
          <a:blip r:embed="rId6" cstate="print"/>
          <a:stretch>
            <a:fillRect/>
          </a:stretch>
        </p:blipFill>
        <p:spPr>
          <a:xfrm>
            <a:off x="4369329" y="1872590"/>
            <a:ext cx="815922" cy="2085654"/>
          </a:xfrm>
          <a:prstGeom prst="rect">
            <a:avLst/>
          </a:prstGeom>
        </p:spPr>
      </p:pic>
      <p:pic>
        <p:nvPicPr>
          <p:cNvPr id="11" name="object 11"/>
          <p:cNvPicPr/>
          <p:nvPr/>
        </p:nvPicPr>
        <p:blipFill>
          <a:blip r:embed="rId7" cstate="print"/>
          <a:stretch>
            <a:fillRect/>
          </a:stretch>
        </p:blipFill>
        <p:spPr>
          <a:xfrm>
            <a:off x="9250641" y="3243239"/>
            <a:ext cx="1062267" cy="1473274"/>
          </a:xfrm>
          <a:prstGeom prst="rect">
            <a:avLst/>
          </a:prstGeom>
        </p:spPr>
      </p:pic>
      <p:pic>
        <p:nvPicPr>
          <p:cNvPr id="13" name="object 13"/>
          <p:cNvPicPr/>
          <p:nvPr/>
        </p:nvPicPr>
        <p:blipFill>
          <a:blip r:embed="rId8" cstate="print"/>
          <a:stretch>
            <a:fillRect/>
          </a:stretch>
        </p:blipFill>
        <p:spPr>
          <a:xfrm>
            <a:off x="6880830" y="1963731"/>
            <a:ext cx="1015141" cy="1987795"/>
          </a:xfrm>
          <a:prstGeom prst="rect">
            <a:avLst/>
          </a:prstGeom>
        </p:spPr>
      </p:pic>
      <p:pic>
        <p:nvPicPr>
          <p:cNvPr id="14" name="object 14"/>
          <p:cNvPicPr/>
          <p:nvPr/>
        </p:nvPicPr>
        <p:blipFill>
          <a:blip r:embed="rId9" cstate="print"/>
          <a:stretch>
            <a:fillRect/>
          </a:stretch>
        </p:blipFill>
        <p:spPr>
          <a:xfrm>
            <a:off x="9790176" y="5556503"/>
            <a:ext cx="1045464" cy="969263"/>
          </a:xfrm>
          <a:prstGeom prst="rect">
            <a:avLst/>
          </a:prstGeom>
        </p:spPr>
      </p:pic>
      <p:sp>
        <p:nvSpPr>
          <p:cNvPr id="17" name="object 17"/>
          <p:cNvSpPr txBox="1"/>
          <p:nvPr/>
        </p:nvSpPr>
        <p:spPr>
          <a:xfrm>
            <a:off x="777596" y="6570774"/>
            <a:ext cx="3058160" cy="164465"/>
          </a:xfrm>
          <a:prstGeom prst="rect">
            <a:avLst/>
          </a:prstGeom>
        </p:spPr>
        <p:txBody>
          <a:bodyPr vert="horz" wrap="square" lIns="0" tIns="13970" rIns="0" bIns="0" rtlCol="0">
            <a:spAutoFit/>
          </a:bodyPr>
          <a:lstStyle/>
          <a:p>
            <a:pPr marL="12700" marR="0" lvl="0" indent="0" algn="l" defTabSz="914400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900" b="0" i="0" u="none" strike="noStrike" kern="1200" cap="none" spc="0" normalizeH="0" baseline="0" noProof="0" dirty="0">
                <a:ln>
                  <a:noFill/>
                </a:ln>
                <a:solidFill>
                  <a:srgbClr val="76707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Чаткан</a:t>
            </a:r>
            <a:r>
              <a:rPr kumimoji="0" sz="900" b="0" i="0" u="none" strike="noStrike" kern="1200" cap="none" spc="-10" normalizeH="0" baseline="0" noProof="0" dirty="0">
                <a:ln>
                  <a:noFill/>
                </a:ln>
                <a:solidFill>
                  <a:srgbClr val="76707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900" b="0" i="0" u="none" strike="noStrike" kern="1200" cap="none" spc="0" normalizeH="0" baseline="0" noProof="0" dirty="0">
                <a:ln>
                  <a:noFill/>
                </a:ln>
                <a:solidFill>
                  <a:srgbClr val="76707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Р.</a:t>
            </a:r>
            <a:r>
              <a:rPr kumimoji="0" sz="900" b="0" i="0" u="none" strike="noStrike" kern="1200" cap="none" spc="5" normalizeH="0" baseline="0" noProof="0" dirty="0">
                <a:ln>
                  <a:noFill/>
                </a:ln>
                <a:solidFill>
                  <a:srgbClr val="76707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900" b="0" i="0" u="none" strike="noStrike" kern="1200" cap="none" spc="0" normalizeH="0" baseline="0" noProof="0" dirty="0">
                <a:ln>
                  <a:noFill/>
                </a:ln>
                <a:solidFill>
                  <a:srgbClr val="76707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Жизнь</a:t>
            </a:r>
            <a:r>
              <a:rPr kumimoji="0" sz="900" b="0" i="0" u="none" strike="noStrike" kern="1200" cap="none" spc="-20" normalizeH="0" baseline="0" noProof="0" dirty="0">
                <a:ln>
                  <a:noFill/>
                </a:ln>
                <a:solidFill>
                  <a:srgbClr val="76707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900" b="0" i="0" u="none" strike="noStrike" kern="1200" cap="none" spc="-10" normalizeH="0" baseline="0" noProof="0" dirty="0">
                <a:ln>
                  <a:noFill/>
                </a:ln>
                <a:solidFill>
                  <a:srgbClr val="76707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кишечника.</a:t>
            </a:r>
            <a:r>
              <a:rPr kumimoji="0" sz="900" b="0" i="0" u="none" strike="noStrike" kern="1200" cap="none" spc="-20" normalizeH="0" baseline="0" noProof="0" dirty="0">
                <a:ln>
                  <a:noFill/>
                </a:ln>
                <a:solidFill>
                  <a:srgbClr val="76707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900" b="0" i="0" u="none" strike="noStrike" kern="1200" cap="none" spc="0" normalizeH="0" baseline="0" noProof="0" dirty="0">
                <a:ln>
                  <a:noFill/>
                </a:ln>
                <a:solidFill>
                  <a:srgbClr val="76707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Борьба</a:t>
            </a:r>
            <a:r>
              <a:rPr kumimoji="0" sz="900" b="0" i="0" u="none" strike="noStrike" kern="1200" cap="none" spc="-60" normalizeH="0" baseline="0" noProof="0" dirty="0">
                <a:ln>
                  <a:noFill/>
                </a:ln>
                <a:solidFill>
                  <a:srgbClr val="76707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900" b="0" i="0" u="none" strike="noStrike" kern="1200" cap="none" spc="0" normalizeH="0" baseline="0" noProof="0" dirty="0">
                <a:ln>
                  <a:noFill/>
                </a:ln>
                <a:solidFill>
                  <a:srgbClr val="76707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за</a:t>
            </a:r>
            <a:r>
              <a:rPr kumimoji="0" sz="900" b="0" i="0" u="none" strike="noStrike" kern="1200" cap="none" spc="-10" normalizeH="0" baseline="0" noProof="0" dirty="0">
                <a:ln>
                  <a:noFill/>
                </a:ln>
                <a:solidFill>
                  <a:srgbClr val="76707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900" b="0" i="0" u="none" strike="noStrike" kern="1200" cap="none" spc="0" normalizeH="0" baseline="0" noProof="0" dirty="0">
                <a:ln>
                  <a:noFill/>
                </a:ln>
                <a:solidFill>
                  <a:srgbClr val="76707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бактерии,</a:t>
            </a:r>
            <a:r>
              <a:rPr kumimoji="0" sz="900" b="0" i="0" u="none" strike="noStrike" kern="1200" cap="none" spc="10" normalizeH="0" baseline="0" noProof="0" dirty="0">
                <a:ln>
                  <a:noFill/>
                </a:ln>
                <a:solidFill>
                  <a:srgbClr val="76707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900" b="0" i="0" u="none" strike="noStrike" kern="1200" cap="none" spc="0" normalizeH="0" baseline="0" noProof="0" dirty="0">
                <a:ln>
                  <a:noFill/>
                </a:ln>
                <a:solidFill>
                  <a:srgbClr val="76707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2015</a:t>
            </a:r>
            <a:r>
              <a:rPr kumimoji="0" sz="900" b="0" i="0" u="none" strike="noStrike" kern="1200" cap="none" spc="-35" normalizeH="0" baseline="0" noProof="0" dirty="0">
                <a:ln>
                  <a:noFill/>
                </a:ln>
                <a:solidFill>
                  <a:srgbClr val="76707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900" b="0" i="0" u="none" strike="noStrike" kern="1200" cap="none" spc="-25" normalizeH="0" baseline="0" noProof="0" dirty="0">
                <a:ln>
                  <a:noFill/>
                </a:ln>
                <a:solidFill>
                  <a:srgbClr val="76707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г.</a:t>
            </a:r>
            <a:endParaRPr kumimoji="0" sz="9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20" name="Rectangle 1">
            <a:extLst>
              <a:ext uri="{FF2B5EF4-FFF2-40B4-BE49-F238E27FC236}">
                <a16:creationId xmlns:a16="http://schemas.microsoft.com/office/drawing/2014/main" id="{652B6477-1991-4EC7-92D3-EDE80A22D5B8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91491" y="508727"/>
            <a:ext cx="8107558" cy="466803"/>
          </a:xfrm>
          <a:prstGeom prst="rect">
            <a:avLst/>
          </a:prstGeom>
          <a:solidFill>
            <a:srgbClr val="F8F9FA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-12696" rIns="0" bIns="-12696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75000"/>
                  </a:srgbClr>
                </a:solidFill>
                <a:effectLst/>
                <a:uLnTx/>
                <a:uFillTx/>
                <a:latin typeface="inherit"/>
                <a:ea typeface="+mn-ea"/>
                <a:cs typeface="+mn-cs"/>
              </a:rPr>
              <a:t>Bağırsaq </a:t>
            </a:r>
            <a:r>
              <a:rPr kumimoji="0" lang="en-US" altLang="en-US" sz="3200" b="1" i="0" u="none" strike="noStrike" kern="1200" cap="none" spc="0" normalizeH="0" baseline="0" noProof="0" dirty="0" err="1">
                <a:ln>
                  <a:noFill/>
                </a:ln>
                <a:solidFill>
                  <a:srgbClr val="4472C4">
                    <a:lumMod val="75000"/>
                  </a:srgbClr>
                </a:solidFill>
                <a:effectLst/>
                <a:uLnTx/>
                <a:uFillTx/>
                <a:latin typeface="inherit"/>
                <a:ea typeface="+mn-ea"/>
                <a:cs typeface="+mn-cs"/>
              </a:rPr>
              <a:t>disbiyozunun</a:t>
            </a:r>
            <a:r>
              <a:rPr kumimoji="0" lang="en-US" alt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75000"/>
                  </a:srgbClr>
                </a:solidFill>
                <a:effectLst/>
                <a:uLnTx/>
                <a:uFillTx/>
                <a:latin typeface="inherit"/>
                <a:ea typeface="+mn-ea"/>
                <a:cs typeface="+mn-cs"/>
              </a:rPr>
              <a:t> </a:t>
            </a:r>
            <a:r>
              <a:rPr kumimoji="0" lang="en-US" altLang="en-US" sz="3200" b="1" i="0" u="none" strike="noStrike" kern="1200" cap="none" spc="0" normalizeH="0" baseline="0" noProof="0" dirty="0" err="1">
                <a:ln>
                  <a:noFill/>
                </a:ln>
                <a:solidFill>
                  <a:srgbClr val="4472C4">
                    <a:lumMod val="75000"/>
                  </a:srgbClr>
                </a:solidFill>
                <a:effectLst/>
                <a:uLnTx/>
                <a:uFillTx/>
                <a:latin typeface="inherit"/>
                <a:ea typeface="+mn-ea"/>
                <a:cs typeface="+mn-cs"/>
              </a:rPr>
              <a:t>klinik</a:t>
            </a:r>
            <a:r>
              <a:rPr kumimoji="0" lang="az-Latn-AZ" alt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75000"/>
                  </a:srgbClr>
                </a:solidFill>
                <a:effectLst/>
                <a:uLnTx/>
                <a:uFillTx/>
                <a:latin typeface="inherit"/>
                <a:ea typeface="+mn-ea"/>
                <a:cs typeface="+mn-cs"/>
              </a:rPr>
              <a:t>i əlamətləri</a:t>
            </a:r>
            <a:r>
              <a:rPr kumimoji="0" lang="en-US" alt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endParaRPr kumimoji="0" lang="en-US" altLang="en-US" sz="3200" b="1" i="0" u="none" strike="noStrike" kern="1200" cap="none" spc="0" normalizeH="0" baseline="0" noProof="0" dirty="0">
              <a:ln>
                <a:noFill/>
              </a:ln>
              <a:solidFill>
                <a:srgbClr val="4472C4">
                  <a:lumMod val="75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21" name="Rectangle 2">
            <a:extLst>
              <a:ext uri="{FF2B5EF4-FFF2-40B4-BE49-F238E27FC236}">
                <a16:creationId xmlns:a16="http://schemas.microsoft.com/office/drawing/2014/main" id="{4308FAA5-1F70-440E-8573-1710062F8BAF}"/>
              </a:ext>
            </a:extLst>
          </p:cNvPr>
          <p:cNvSpPr>
            <a:spLocks noChangeArrowheads="1"/>
          </p:cNvSpPr>
          <p:nvPr/>
        </p:nvSpPr>
        <p:spPr bwMode="auto">
          <a:xfrm>
            <a:off x="9970218" y="5258978"/>
            <a:ext cx="960581" cy="297525"/>
          </a:xfrm>
          <a:prstGeom prst="rect">
            <a:avLst/>
          </a:prstGeom>
          <a:solidFill>
            <a:srgbClr val="F8F9FA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-12696" rIns="0" bIns="-12696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2100" b="1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75000"/>
                  </a:srgbClr>
                </a:solidFill>
                <a:effectLst/>
                <a:uLnTx/>
                <a:uFillTx/>
                <a:latin typeface="inherit"/>
                <a:ea typeface="+mn-ea"/>
                <a:cs typeface="+mn-cs"/>
              </a:rPr>
              <a:t>gəyirmə</a:t>
            </a:r>
            <a:r>
              <a:rPr kumimoji="0" lang="en-US" alt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endParaRPr kumimoji="0" lang="en-US" altLang="en-US" sz="1800" b="1" i="0" u="none" strike="noStrike" kern="1200" cap="none" spc="0" normalizeH="0" baseline="0" noProof="0" dirty="0">
              <a:ln>
                <a:noFill/>
              </a:ln>
              <a:solidFill>
                <a:srgbClr val="4472C4">
                  <a:lumMod val="75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22" name="Прямоугольник 21">
            <a:extLst>
              <a:ext uri="{FF2B5EF4-FFF2-40B4-BE49-F238E27FC236}">
                <a16:creationId xmlns:a16="http://schemas.microsoft.com/office/drawing/2014/main" id="{E6E25315-D8A0-4E17-9D9F-A20CEF8BC286}"/>
              </a:ext>
            </a:extLst>
          </p:cNvPr>
          <p:cNvSpPr/>
          <p:nvPr/>
        </p:nvSpPr>
        <p:spPr>
          <a:xfrm rot="10800000" flipV="1">
            <a:off x="9250640" y="2510337"/>
            <a:ext cx="1584999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ürəkbulanma</a:t>
            </a:r>
          </a:p>
        </p:txBody>
      </p:sp>
      <p:sp>
        <p:nvSpPr>
          <p:cNvPr id="23" name="Прямоугольник 22">
            <a:extLst>
              <a:ext uri="{FF2B5EF4-FFF2-40B4-BE49-F238E27FC236}">
                <a16:creationId xmlns:a16="http://schemas.microsoft.com/office/drawing/2014/main" id="{E1117018-4C66-413D-9EBC-56050A0006B1}"/>
              </a:ext>
            </a:extLst>
          </p:cNvPr>
          <p:cNvSpPr/>
          <p:nvPr/>
        </p:nvSpPr>
        <p:spPr>
          <a:xfrm>
            <a:off x="6880830" y="1304279"/>
            <a:ext cx="1015141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4472C4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qəbizlik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4472C4">
                  <a:lumMod val="75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4" name="Прямоугольник 23">
            <a:extLst>
              <a:ext uri="{FF2B5EF4-FFF2-40B4-BE49-F238E27FC236}">
                <a16:creationId xmlns:a16="http://schemas.microsoft.com/office/drawing/2014/main" id="{E8181F0E-F82B-48EF-BDF9-060D7CA8B32F}"/>
              </a:ext>
            </a:extLst>
          </p:cNvPr>
          <p:cNvSpPr/>
          <p:nvPr/>
        </p:nvSpPr>
        <p:spPr>
          <a:xfrm>
            <a:off x="4369329" y="1304279"/>
            <a:ext cx="1355955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qarın </a:t>
            </a: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4472C4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ğrısı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4472C4">
                  <a:lumMod val="75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5" name="Прямоугольник 24">
            <a:extLst>
              <a:ext uri="{FF2B5EF4-FFF2-40B4-BE49-F238E27FC236}">
                <a16:creationId xmlns:a16="http://schemas.microsoft.com/office/drawing/2014/main" id="{A479FA72-7B1A-4CFA-B75D-E0899382522C}"/>
              </a:ext>
            </a:extLst>
          </p:cNvPr>
          <p:cNvSpPr/>
          <p:nvPr/>
        </p:nvSpPr>
        <p:spPr>
          <a:xfrm>
            <a:off x="1422400" y="4439522"/>
            <a:ext cx="84974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shal</a:t>
            </a:r>
          </a:p>
        </p:txBody>
      </p:sp>
      <p:sp>
        <p:nvSpPr>
          <p:cNvPr id="26" name="Прямоугольник 25">
            <a:extLst>
              <a:ext uri="{FF2B5EF4-FFF2-40B4-BE49-F238E27FC236}">
                <a16:creationId xmlns:a16="http://schemas.microsoft.com/office/drawing/2014/main" id="{2A860E21-1C3D-4848-9582-8672A5B510BC}"/>
              </a:ext>
            </a:extLst>
          </p:cNvPr>
          <p:cNvSpPr/>
          <p:nvPr/>
        </p:nvSpPr>
        <p:spPr>
          <a:xfrm>
            <a:off x="1487054" y="1954647"/>
            <a:ext cx="123873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4472C4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eteorizm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4472C4">
                  <a:lumMod val="75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" name="object 4">
            <a:extLst>
              <a:ext uri="{FF2B5EF4-FFF2-40B4-BE49-F238E27FC236}">
                <a16:creationId xmlns:a16="http://schemas.microsoft.com/office/drawing/2014/main" id="{A46F3EF2-0544-496B-BED2-7B61600EE2A4}"/>
              </a:ext>
            </a:extLst>
          </p:cNvPr>
          <p:cNvSpPr/>
          <p:nvPr/>
        </p:nvSpPr>
        <p:spPr>
          <a:xfrm>
            <a:off x="10537062" y="6556441"/>
            <a:ext cx="1526396" cy="266850"/>
          </a:xfrm>
          <a:custGeom>
            <a:avLst/>
            <a:gdLst/>
            <a:ahLst/>
            <a:cxnLst/>
            <a:rect l="l" t="t" r="r" b="b"/>
            <a:pathLst>
              <a:path w="2517140" h="440054">
                <a:moveTo>
                  <a:pt x="1895565" y="0"/>
                </a:moveTo>
                <a:lnTo>
                  <a:pt x="1879199" y="0"/>
                </a:lnTo>
                <a:lnTo>
                  <a:pt x="1827621" y="6715"/>
                </a:lnTo>
                <a:lnTo>
                  <a:pt x="1781331" y="23104"/>
                </a:lnTo>
                <a:lnTo>
                  <a:pt x="1741292" y="48314"/>
                </a:lnTo>
                <a:lnTo>
                  <a:pt x="1708472" y="81490"/>
                </a:lnTo>
                <a:lnTo>
                  <a:pt x="1683833" y="121776"/>
                </a:lnTo>
                <a:lnTo>
                  <a:pt x="1668343" y="168320"/>
                </a:lnTo>
                <a:lnTo>
                  <a:pt x="1662965" y="220265"/>
                </a:lnTo>
                <a:lnTo>
                  <a:pt x="1667391" y="267667"/>
                </a:lnTo>
                <a:lnTo>
                  <a:pt x="1680149" y="310356"/>
                </a:lnTo>
                <a:lnTo>
                  <a:pt x="1700460" y="347836"/>
                </a:lnTo>
                <a:lnTo>
                  <a:pt x="1727541" y="379614"/>
                </a:lnTo>
                <a:lnTo>
                  <a:pt x="1760614" y="405192"/>
                </a:lnTo>
                <a:lnTo>
                  <a:pt x="1798897" y="424075"/>
                </a:lnTo>
                <a:lnTo>
                  <a:pt x="1841610" y="435769"/>
                </a:lnTo>
                <a:lnTo>
                  <a:pt x="1887973" y="439777"/>
                </a:lnTo>
                <a:lnTo>
                  <a:pt x="1939453" y="435743"/>
                </a:lnTo>
                <a:lnTo>
                  <a:pt x="1984997" y="423985"/>
                </a:lnTo>
                <a:lnTo>
                  <a:pt x="2024319" y="405023"/>
                </a:lnTo>
                <a:lnTo>
                  <a:pt x="2057133" y="379374"/>
                </a:lnTo>
                <a:lnTo>
                  <a:pt x="2083154" y="347556"/>
                </a:lnTo>
                <a:lnTo>
                  <a:pt x="2102094" y="310086"/>
                </a:lnTo>
                <a:lnTo>
                  <a:pt x="2104600" y="300859"/>
                </a:lnTo>
                <a:lnTo>
                  <a:pt x="1883230" y="300859"/>
                </a:lnTo>
                <a:lnTo>
                  <a:pt x="1864707" y="297494"/>
                </a:lnTo>
                <a:lnTo>
                  <a:pt x="1823640" y="264065"/>
                </a:lnTo>
                <a:lnTo>
                  <a:pt x="1813419" y="212165"/>
                </a:lnTo>
                <a:lnTo>
                  <a:pt x="1819145" y="185922"/>
                </a:lnTo>
                <a:lnTo>
                  <a:pt x="1842898" y="152257"/>
                </a:lnTo>
                <a:lnTo>
                  <a:pt x="1890717" y="137932"/>
                </a:lnTo>
                <a:lnTo>
                  <a:pt x="2102424" y="137932"/>
                </a:lnTo>
                <a:lnTo>
                  <a:pt x="2100621" y="131924"/>
                </a:lnTo>
                <a:lnTo>
                  <a:pt x="2080569" y="94826"/>
                </a:lnTo>
                <a:lnTo>
                  <a:pt x="2053837" y="63108"/>
                </a:lnTo>
                <a:lnTo>
                  <a:pt x="2021198" y="37267"/>
                </a:lnTo>
                <a:lnTo>
                  <a:pt x="1983424" y="17804"/>
                </a:lnTo>
                <a:lnTo>
                  <a:pt x="1941289" y="5215"/>
                </a:lnTo>
                <a:lnTo>
                  <a:pt x="1895565" y="0"/>
                </a:lnTo>
                <a:close/>
              </a:path>
              <a:path w="2517140" h="440054">
                <a:moveTo>
                  <a:pt x="2516865" y="11989"/>
                </a:moveTo>
                <a:lnTo>
                  <a:pt x="2136270" y="11989"/>
                </a:lnTo>
                <a:lnTo>
                  <a:pt x="2136270" y="136613"/>
                </a:lnTo>
                <a:lnTo>
                  <a:pt x="2276380" y="136613"/>
                </a:lnTo>
                <a:lnTo>
                  <a:pt x="2098145" y="427662"/>
                </a:lnTo>
                <a:lnTo>
                  <a:pt x="2496447" y="427662"/>
                </a:lnTo>
                <a:lnTo>
                  <a:pt x="2496447" y="303236"/>
                </a:lnTo>
                <a:lnTo>
                  <a:pt x="2342043" y="303236"/>
                </a:lnTo>
                <a:lnTo>
                  <a:pt x="2516865" y="11989"/>
                </a:lnTo>
                <a:close/>
              </a:path>
              <a:path w="2517140" h="440054">
                <a:moveTo>
                  <a:pt x="2102424" y="137932"/>
                </a:moveTo>
                <a:lnTo>
                  <a:pt x="1890717" y="137932"/>
                </a:lnTo>
                <a:lnTo>
                  <a:pt x="1908941" y="139491"/>
                </a:lnTo>
                <a:lnTo>
                  <a:pt x="1924858" y="144828"/>
                </a:lnTo>
                <a:lnTo>
                  <a:pt x="1938414" y="153376"/>
                </a:lnTo>
                <a:lnTo>
                  <a:pt x="1949553" y="164570"/>
                </a:lnTo>
                <a:lnTo>
                  <a:pt x="1963114" y="190264"/>
                </a:lnTo>
                <a:lnTo>
                  <a:pt x="1967353" y="219490"/>
                </a:lnTo>
                <a:lnTo>
                  <a:pt x="1962522" y="248693"/>
                </a:lnTo>
                <a:lnTo>
                  <a:pt x="1935834" y="287152"/>
                </a:lnTo>
                <a:lnTo>
                  <a:pt x="1883230" y="300859"/>
                </a:lnTo>
                <a:lnTo>
                  <a:pt x="2104600" y="300859"/>
                </a:lnTo>
                <a:lnTo>
                  <a:pt x="2113668" y="267483"/>
                </a:lnTo>
                <a:lnTo>
                  <a:pt x="2117589" y="220265"/>
                </a:lnTo>
                <a:lnTo>
                  <a:pt x="2113218" y="173903"/>
                </a:lnTo>
                <a:lnTo>
                  <a:pt x="2102424" y="137932"/>
                </a:lnTo>
                <a:close/>
              </a:path>
              <a:path w="2517140" h="440054">
                <a:moveTo>
                  <a:pt x="1360848" y="11989"/>
                </a:moveTo>
                <a:lnTo>
                  <a:pt x="1251857" y="11989"/>
                </a:lnTo>
                <a:lnTo>
                  <a:pt x="1251857" y="427662"/>
                </a:lnTo>
                <a:lnTo>
                  <a:pt x="1366272" y="427662"/>
                </a:lnTo>
                <a:lnTo>
                  <a:pt x="1413925" y="426500"/>
                </a:lnTo>
                <a:lnTo>
                  <a:pt x="1462836" y="423877"/>
                </a:lnTo>
                <a:lnTo>
                  <a:pt x="1507477" y="415676"/>
                </a:lnTo>
                <a:lnTo>
                  <a:pt x="1547155" y="401393"/>
                </a:lnTo>
                <a:lnTo>
                  <a:pt x="1581175" y="380527"/>
                </a:lnTo>
                <a:lnTo>
                  <a:pt x="1608844" y="352576"/>
                </a:lnTo>
                <a:lnTo>
                  <a:pt x="1629466" y="317036"/>
                </a:lnTo>
                <a:lnTo>
                  <a:pt x="1633421" y="303645"/>
                </a:lnTo>
                <a:lnTo>
                  <a:pt x="1401151" y="303645"/>
                </a:lnTo>
                <a:lnTo>
                  <a:pt x="1401151" y="136613"/>
                </a:lnTo>
                <a:lnTo>
                  <a:pt x="1633157" y="136613"/>
                </a:lnTo>
                <a:lnTo>
                  <a:pt x="1628526" y="121196"/>
                </a:lnTo>
                <a:lnTo>
                  <a:pt x="1606949" y="84992"/>
                </a:lnTo>
                <a:lnTo>
                  <a:pt x="1578200" y="57008"/>
                </a:lnTo>
                <a:lnTo>
                  <a:pt x="1543120" y="36514"/>
                </a:lnTo>
                <a:lnTo>
                  <a:pt x="1502552" y="22780"/>
                </a:lnTo>
                <a:lnTo>
                  <a:pt x="1457335" y="15075"/>
                </a:lnTo>
                <a:lnTo>
                  <a:pt x="1408313" y="12669"/>
                </a:lnTo>
                <a:lnTo>
                  <a:pt x="1360848" y="11989"/>
                </a:lnTo>
                <a:close/>
              </a:path>
              <a:path w="2517140" h="440054">
                <a:moveTo>
                  <a:pt x="1633157" y="136613"/>
                </a:moveTo>
                <a:lnTo>
                  <a:pt x="1418354" y="136613"/>
                </a:lnTo>
                <a:lnTo>
                  <a:pt x="1452773" y="142950"/>
                </a:lnTo>
                <a:lnTo>
                  <a:pt x="1477284" y="160709"/>
                </a:lnTo>
                <a:lnTo>
                  <a:pt x="1491948" y="188014"/>
                </a:lnTo>
                <a:lnTo>
                  <a:pt x="1496823" y="222987"/>
                </a:lnTo>
                <a:lnTo>
                  <a:pt x="1491797" y="258680"/>
                </a:lnTo>
                <a:lnTo>
                  <a:pt x="1476880" y="283840"/>
                </a:lnTo>
                <a:lnTo>
                  <a:pt x="1452318" y="298739"/>
                </a:lnTo>
                <a:lnTo>
                  <a:pt x="1418354" y="303645"/>
                </a:lnTo>
                <a:lnTo>
                  <a:pt x="1633421" y="303645"/>
                </a:lnTo>
                <a:lnTo>
                  <a:pt x="1642349" y="273407"/>
                </a:lnTo>
                <a:lnTo>
                  <a:pt x="1646798" y="221186"/>
                </a:lnTo>
                <a:lnTo>
                  <a:pt x="1642089" y="166351"/>
                </a:lnTo>
                <a:lnTo>
                  <a:pt x="1633157" y="136613"/>
                </a:lnTo>
                <a:close/>
              </a:path>
              <a:path w="2517140" h="440054">
                <a:moveTo>
                  <a:pt x="937144" y="11989"/>
                </a:moveTo>
                <a:lnTo>
                  <a:pt x="793263" y="11989"/>
                </a:lnTo>
                <a:lnTo>
                  <a:pt x="793263" y="427662"/>
                </a:lnTo>
                <a:lnTo>
                  <a:pt x="937144" y="427662"/>
                </a:lnTo>
                <a:lnTo>
                  <a:pt x="937144" y="225312"/>
                </a:lnTo>
                <a:lnTo>
                  <a:pt x="1204821" y="225312"/>
                </a:lnTo>
                <a:lnTo>
                  <a:pt x="1204821" y="215878"/>
                </a:lnTo>
                <a:lnTo>
                  <a:pt x="1061988" y="215878"/>
                </a:lnTo>
                <a:lnTo>
                  <a:pt x="937144" y="11989"/>
                </a:lnTo>
                <a:close/>
              </a:path>
              <a:path w="2517140" h="440054">
                <a:moveTo>
                  <a:pt x="1204821" y="225312"/>
                </a:moveTo>
                <a:lnTo>
                  <a:pt x="937144" y="225312"/>
                </a:lnTo>
                <a:lnTo>
                  <a:pt x="1061988" y="427662"/>
                </a:lnTo>
                <a:lnTo>
                  <a:pt x="1204821" y="427662"/>
                </a:lnTo>
                <a:lnTo>
                  <a:pt x="1204821" y="225312"/>
                </a:lnTo>
                <a:close/>
              </a:path>
              <a:path w="2517140" h="440054">
                <a:moveTo>
                  <a:pt x="1204821" y="11989"/>
                </a:moveTo>
                <a:lnTo>
                  <a:pt x="1061988" y="11989"/>
                </a:lnTo>
                <a:lnTo>
                  <a:pt x="1061988" y="215878"/>
                </a:lnTo>
                <a:lnTo>
                  <a:pt x="1204821" y="215878"/>
                </a:lnTo>
                <a:lnTo>
                  <a:pt x="1204821" y="11989"/>
                </a:lnTo>
                <a:close/>
              </a:path>
              <a:path w="2517140" h="440054">
                <a:moveTo>
                  <a:pt x="51422" y="278200"/>
                </a:moveTo>
                <a:lnTo>
                  <a:pt x="0" y="395066"/>
                </a:lnTo>
                <a:lnTo>
                  <a:pt x="39832" y="412552"/>
                </a:lnTo>
                <a:lnTo>
                  <a:pt x="81091" y="426755"/>
                </a:lnTo>
                <a:lnTo>
                  <a:pt x="123584" y="436291"/>
                </a:lnTo>
                <a:lnTo>
                  <a:pt x="167115" y="439777"/>
                </a:lnTo>
                <a:lnTo>
                  <a:pt x="212966" y="436341"/>
                </a:lnTo>
                <a:lnTo>
                  <a:pt x="254265" y="425563"/>
                </a:lnTo>
                <a:lnTo>
                  <a:pt x="289324" y="406733"/>
                </a:lnTo>
                <a:lnTo>
                  <a:pt x="316457" y="379145"/>
                </a:lnTo>
                <a:lnTo>
                  <a:pt x="333974" y="342090"/>
                </a:lnTo>
                <a:lnTo>
                  <a:pt x="336468" y="323131"/>
                </a:lnTo>
                <a:lnTo>
                  <a:pt x="154927" y="323131"/>
                </a:lnTo>
                <a:lnTo>
                  <a:pt x="125910" y="319325"/>
                </a:lnTo>
                <a:lnTo>
                  <a:pt x="99660" y="309237"/>
                </a:lnTo>
                <a:lnTo>
                  <a:pt x="75161" y="294860"/>
                </a:lnTo>
                <a:lnTo>
                  <a:pt x="51422" y="278200"/>
                </a:lnTo>
                <a:close/>
              </a:path>
              <a:path w="2517140" h="440054">
                <a:moveTo>
                  <a:pt x="642273" y="11989"/>
                </a:moveTo>
                <a:lnTo>
                  <a:pt x="473064" y="11989"/>
                </a:lnTo>
                <a:lnTo>
                  <a:pt x="327958" y="427662"/>
                </a:lnTo>
                <a:lnTo>
                  <a:pt x="484058" y="427662"/>
                </a:lnTo>
                <a:lnTo>
                  <a:pt x="499105" y="375035"/>
                </a:lnTo>
                <a:lnTo>
                  <a:pt x="762990" y="375035"/>
                </a:lnTo>
                <a:lnTo>
                  <a:pt x="730314" y="276766"/>
                </a:lnTo>
                <a:lnTo>
                  <a:pt x="518780" y="276766"/>
                </a:lnTo>
                <a:lnTo>
                  <a:pt x="554841" y="146655"/>
                </a:lnTo>
                <a:lnTo>
                  <a:pt x="687051" y="146655"/>
                </a:lnTo>
                <a:lnTo>
                  <a:pt x="642273" y="11989"/>
                </a:lnTo>
                <a:close/>
              </a:path>
              <a:path w="2517140" h="440054">
                <a:moveTo>
                  <a:pt x="762990" y="375035"/>
                </a:moveTo>
                <a:lnTo>
                  <a:pt x="611363" y="375035"/>
                </a:lnTo>
                <a:lnTo>
                  <a:pt x="623415" y="427662"/>
                </a:lnTo>
                <a:lnTo>
                  <a:pt x="780489" y="427662"/>
                </a:lnTo>
                <a:lnTo>
                  <a:pt x="762990" y="375035"/>
                </a:lnTo>
                <a:close/>
              </a:path>
              <a:path w="2517140" h="440054">
                <a:moveTo>
                  <a:pt x="197459" y="513"/>
                </a:moveTo>
                <a:lnTo>
                  <a:pt x="152176" y="3896"/>
                </a:lnTo>
                <a:lnTo>
                  <a:pt x="110930" y="14535"/>
                </a:lnTo>
                <a:lnTo>
                  <a:pt x="75594" y="33165"/>
                </a:lnTo>
                <a:lnTo>
                  <a:pt x="48038" y="60519"/>
                </a:lnTo>
                <a:lnTo>
                  <a:pt x="30132" y="97333"/>
                </a:lnTo>
                <a:lnTo>
                  <a:pt x="23747" y="144341"/>
                </a:lnTo>
                <a:lnTo>
                  <a:pt x="32196" y="196141"/>
                </a:lnTo>
                <a:lnTo>
                  <a:pt x="54139" y="230883"/>
                </a:lnTo>
                <a:lnTo>
                  <a:pt x="84472" y="252855"/>
                </a:lnTo>
                <a:lnTo>
                  <a:pt x="118091" y="266340"/>
                </a:lnTo>
                <a:lnTo>
                  <a:pt x="149890" y="275625"/>
                </a:lnTo>
                <a:lnTo>
                  <a:pt x="165011" y="280313"/>
                </a:lnTo>
                <a:lnTo>
                  <a:pt x="177113" y="285500"/>
                </a:lnTo>
                <a:lnTo>
                  <a:pt x="185146" y="292754"/>
                </a:lnTo>
                <a:lnTo>
                  <a:pt x="188057" y="303645"/>
                </a:lnTo>
                <a:lnTo>
                  <a:pt x="184442" y="313960"/>
                </a:lnTo>
                <a:lnTo>
                  <a:pt x="175658" y="319851"/>
                </a:lnTo>
                <a:lnTo>
                  <a:pt x="164790" y="322510"/>
                </a:lnTo>
                <a:lnTo>
                  <a:pt x="154927" y="323131"/>
                </a:lnTo>
                <a:lnTo>
                  <a:pt x="336468" y="323131"/>
                </a:lnTo>
                <a:lnTo>
                  <a:pt x="331514" y="242893"/>
                </a:lnTo>
                <a:lnTo>
                  <a:pt x="309037" y="207597"/>
                </a:lnTo>
                <a:lnTo>
                  <a:pt x="278077" y="184891"/>
                </a:lnTo>
                <a:lnTo>
                  <a:pt x="200318" y="157286"/>
                </a:lnTo>
                <a:lnTo>
                  <a:pt x="188202" y="152443"/>
                </a:lnTo>
                <a:lnTo>
                  <a:pt x="178692" y="145639"/>
                </a:lnTo>
                <a:lnTo>
                  <a:pt x="174842" y="136121"/>
                </a:lnTo>
                <a:lnTo>
                  <a:pt x="177437" y="126708"/>
                </a:lnTo>
                <a:lnTo>
                  <a:pt x="184897" y="120108"/>
                </a:lnTo>
                <a:lnTo>
                  <a:pt x="196735" y="116222"/>
                </a:lnTo>
                <a:lnTo>
                  <a:pt x="212464" y="114949"/>
                </a:lnTo>
                <a:lnTo>
                  <a:pt x="304971" y="114949"/>
                </a:lnTo>
                <a:lnTo>
                  <a:pt x="336356" y="43119"/>
                </a:lnTo>
                <a:lnTo>
                  <a:pt x="305761" y="25179"/>
                </a:lnTo>
                <a:lnTo>
                  <a:pt x="270186" y="11787"/>
                </a:lnTo>
                <a:lnTo>
                  <a:pt x="232972" y="3409"/>
                </a:lnTo>
                <a:lnTo>
                  <a:pt x="197459" y="513"/>
                </a:lnTo>
                <a:close/>
              </a:path>
              <a:path w="2517140" h="440054">
                <a:moveTo>
                  <a:pt x="687051" y="146655"/>
                </a:moveTo>
                <a:lnTo>
                  <a:pt x="554841" y="146655"/>
                </a:lnTo>
                <a:lnTo>
                  <a:pt x="590767" y="276766"/>
                </a:lnTo>
                <a:lnTo>
                  <a:pt x="730314" y="276766"/>
                </a:lnTo>
                <a:lnTo>
                  <a:pt x="687051" y="146655"/>
                </a:lnTo>
                <a:close/>
              </a:path>
              <a:path w="2517140" h="440054">
                <a:moveTo>
                  <a:pt x="304971" y="114949"/>
                </a:moveTo>
                <a:lnTo>
                  <a:pt x="212464" y="114949"/>
                </a:lnTo>
                <a:lnTo>
                  <a:pt x="236670" y="115471"/>
                </a:lnTo>
                <a:lnTo>
                  <a:pt x="252853" y="119127"/>
                </a:lnTo>
                <a:lnTo>
                  <a:pt x="268318" y="129049"/>
                </a:lnTo>
                <a:lnTo>
                  <a:pt x="290368" y="148372"/>
                </a:lnTo>
                <a:lnTo>
                  <a:pt x="304971" y="114949"/>
                </a:lnTo>
                <a:close/>
              </a:path>
            </a:pathLst>
          </a:custGeom>
          <a:solidFill>
            <a:srgbClr val="006BB3"/>
          </a:solid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09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343327" y="761077"/>
            <a:ext cx="9319718" cy="617042"/>
          </a:xfrm>
          <a:prstGeom prst="rect">
            <a:avLst/>
          </a:prstGeom>
        </p:spPr>
        <p:txBody>
          <a:bodyPr vert="horz" wrap="square" lIns="0" tIns="7316" rIns="0" bIns="0" rtlCol="0">
            <a:spAutoFit/>
          </a:bodyPr>
          <a:lstStyle/>
          <a:p>
            <a:pPr marL="15403" marR="10782">
              <a:lnSpc>
                <a:spcPct val="100600"/>
              </a:lnSpc>
              <a:spcBef>
                <a:spcPts val="58"/>
              </a:spcBef>
            </a:pPr>
            <a:r>
              <a:rPr lang="it-IT" sz="2000" spc="49" dirty="0">
                <a:solidFill>
                  <a:srgbClr val="003B71"/>
                </a:solidFill>
              </a:rPr>
              <a:t>Bağırsaqlara daxil olduqdan sonra </a:t>
            </a:r>
            <a:r>
              <a:rPr lang="it-IT" sz="2000" spc="49" dirty="0">
                <a:solidFill>
                  <a:schemeClr val="accent6">
                    <a:lumMod val="75000"/>
                  </a:schemeClr>
                </a:solidFill>
              </a:rPr>
              <a:t>LINEX FORTE</a:t>
            </a:r>
            <a:r>
              <a:rPr lang="it-IT" sz="2000" spc="49" dirty="0">
                <a:solidFill>
                  <a:srgbClr val="003B71"/>
                </a:solidFill>
              </a:rPr>
              <a:t>®-nin komponentləri normal bağırsaq mikroflorasının bütün funksiyalarını yerinə yetirir:</a:t>
            </a:r>
            <a:endParaRPr sz="2000" dirty="0">
              <a:latin typeface="Gadugi"/>
              <a:cs typeface="Gadugi"/>
            </a:endParaRPr>
          </a:p>
        </p:txBody>
      </p:sp>
      <p:sp>
        <p:nvSpPr>
          <p:cNvPr id="3" name="object 3"/>
          <p:cNvSpPr txBox="1"/>
          <p:nvPr/>
        </p:nvSpPr>
        <p:spPr>
          <a:xfrm>
            <a:off x="2434601" y="6338702"/>
            <a:ext cx="4525279" cy="84357"/>
          </a:xfrm>
          <a:prstGeom prst="rect">
            <a:avLst/>
          </a:prstGeom>
        </p:spPr>
        <p:txBody>
          <a:bodyPr vert="horz" wrap="square" lIns="0" tIns="9627" rIns="0" bIns="0" rtlCol="0">
            <a:spAutoFit/>
          </a:bodyPr>
          <a:lstStyle/>
          <a:p>
            <a:pPr marL="23104" marR="0" lvl="0" indent="0" algn="l" defTabSz="554492" rtl="0" eaLnBrk="1" fontAlgn="auto" latinLnBrk="0" hangingPunct="1">
              <a:lnSpc>
                <a:spcPct val="100000"/>
              </a:lnSpc>
              <a:spcBef>
                <a:spcPts val="76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485" b="0" i="0" u="none" strike="noStrike" kern="1200" cap="none" spc="9" normalizeH="0" baseline="0" noProof="0" dirty="0">
                <a:ln>
                  <a:noFill/>
                </a:ln>
                <a:solidFill>
                  <a:srgbClr val="1D4067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Адаптировано</a:t>
            </a:r>
            <a:r>
              <a:rPr kumimoji="0" sz="485" b="0" i="0" u="none" strike="noStrike" kern="1200" cap="none" spc="-45" normalizeH="0" baseline="0" noProof="0" dirty="0">
                <a:ln>
                  <a:noFill/>
                </a:ln>
                <a:solidFill>
                  <a:srgbClr val="1D4067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 </a:t>
            </a:r>
            <a:r>
              <a:rPr kumimoji="0" sz="485" b="0" i="0" u="none" strike="noStrike" kern="1200" cap="none" spc="-30" normalizeH="0" baseline="0" noProof="0" dirty="0">
                <a:ln>
                  <a:noFill/>
                </a:ln>
                <a:solidFill>
                  <a:srgbClr val="1D4067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из:</a:t>
            </a:r>
            <a:r>
              <a:rPr kumimoji="0" sz="485" b="0" i="0" u="none" strike="noStrike" kern="1200" cap="none" spc="-45" normalizeH="0" baseline="0" noProof="0" dirty="0">
                <a:ln>
                  <a:noFill/>
                </a:ln>
                <a:solidFill>
                  <a:srgbClr val="1D4067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 </a:t>
            </a:r>
            <a:r>
              <a:rPr kumimoji="0" sz="485" b="0" i="0" u="none" strike="noStrike" kern="1200" cap="none" spc="-3" normalizeH="0" baseline="0" noProof="0" dirty="0">
                <a:ln>
                  <a:noFill/>
                </a:ln>
                <a:solidFill>
                  <a:srgbClr val="1D4067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Линекс</a:t>
            </a:r>
            <a:r>
              <a:rPr kumimoji="0" sz="409" b="0" i="0" u="none" strike="noStrike" kern="1200" cap="none" spc="-4" normalizeH="0" baseline="30864" noProof="0" dirty="0">
                <a:ln>
                  <a:noFill/>
                </a:ln>
                <a:solidFill>
                  <a:srgbClr val="1D4067"/>
                </a:solidFill>
                <a:effectLst/>
                <a:uLnTx/>
                <a:uFillTx/>
                <a:latin typeface="Gadugi"/>
                <a:ea typeface="+mn-ea"/>
                <a:cs typeface="Gadugi"/>
              </a:rPr>
              <a:t>®</a:t>
            </a:r>
            <a:r>
              <a:rPr kumimoji="0" sz="409" b="0" i="0" u="none" strike="noStrike" kern="1200" cap="none" spc="41" normalizeH="0" baseline="30864" noProof="0" dirty="0">
                <a:ln>
                  <a:noFill/>
                </a:ln>
                <a:solidFill>
                  <a:srgbClr val="1D4067"/>
                </a:solidFill>
                <a:effectLst/>
                <a:uLnTx/>
                <a:uFillTx/>
                <a:latin typeface="Gadugi"/>
                <a:ea typeface="+mn-ea"/>
                <a:cs typeface="Gadugi"/>
              </a:rPr>
              <a:t> </a:t>
            </a:r>
            <a:r>
              <a:rPr kumimoji="0" sz="485" b="0" i="0" u="none" strike="noStrike" kern="1200" cap="none" spc="-18" normalizeH="0" baseline="0" noProof="0" dirty="0">
                <a:ln>
                  <a:noFill/>
                </a:ln>
                <a:solidFill>
                  <a:srgbClr val="1D4067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Форте,</a:t>
            </a:r>
            <a:r>
              <a:rPr kumimoji="0" sz="485" b="0" i="0" u="none" strike="noStrike" kern="1200" cap="none" spc="-45" normalizeH="0" baseline="0" noProof="0" dirty="0">
                <a:ln>
                  <a:noFill/>
                </a:ln>
                <a:solidFill>
                  <a:srgbClr val="1D4067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 </a:t>
            </a:r>
            <a:r>
              <a:rPr kumimoji="0" sz="485" b="0" i="0" u="none" strike="noStrike" kern="1200" cap="none" spc="3" normalizeH="0" baseline="0" noProof="0" dirty="0">
                <a:ln>
                  <a:noFill/>
                </a:ln>
                <a:solidFill>
                  <a:srgbClr val="1D4067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инструкция</a:t>
            </a:r>
            <a:r>
              <a:rPr kumimoji="0" sz="485" b="0" i="0" u="none" strike="noStrike" kern="1200" cap="none" spc="-45" normalizeH="0" baseline="0" noProof="0" dirty="0">
                <a:ln>
                  <a:noFill/>
                </a:ln>
                <a:solidFill>
                  <a:srgbClr val="1D4067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 </a:t>
            </a:r>
            <a:r>
              <a:rPr kumimoji="0" sz="485" b="0" i="0" u="none" strike="noStrike" kern="1200" cap="none" spc="0" normalizeH="0" baseline="0" noProof="0" dirty="0">
                <a:ln>
                  <a:noFill/>
                </a:ln>
                <a:solidFill>
                  <a:srgbClr val="1D4067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по</a:t>
            </a:r>
            <a:r>
              <a:rPr kumimoji="0" sz="485" b="0" i="0" u="none" strike="noStrike" kern="1200" cap="none" spc="-42" normalizeH="0" baseline="0" noProof="0" dirty="0">
                <a:ln>
                  <a:noFill/>
                </a:ln>
                <a:solidFill>
                  <a:srgbClr val="1D4067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 </a:t>
            </a:r>
            <a:r>
              <a:rPr kumimoji="0" sz="485" b="0" i="0" u="none" strike="noStrike" kern="1200" cap="none" spc="3" normalizeH="0" baseline="0" noProof="0" dirty="0">
                <a:ln>
                  <a:noFill/>
                </a:ln>
                <a:solidFill>
                  <a:srgbClr val="1D4067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медицинскому</a:t>
            </a:r>
            <a:r>
              <a:rPr kumimoji="0" sz="485" b="0" i="0" u="none" strike="noStrike" kern="1200" cap="none" spc="-45" normalizeH="0" baseline="0" noProof="0" dirty="0">
                <a:ln>
                  <a:noFill/>
                </a:ln>
                <a:solidFill>
                  <a:srgbClr val="1D4067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 </a:t>
            </a:r>
            <a:r>
              <a:rPr kumimoji="0" sz="485" b="0" i="0" u="none" strike="noStrike" kern="1200" cap="none" spc="-12" normalizeH="0" baseline="0" noProof="0" dirty="0">
                <a:ln>
                  <a:noFill/>
                </a:ln>
                <a:solidFill>
                  <a:srgbClr val="1D4067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применению,</a:t>
            </a:r>
            <a:r>
              <a:rPr kumimoji="0" sz="485" b="0" i="0" u="none" strike="noStrike" kern="1200" cap="none" spc="-45" normalizeH="0" baseline="0" noProof="0" dirty="0">
                <a:ln>
                  <a:noFill/>
                </a:ln>
                <a:solidFill>
                  <a:srgbClr val="1D4067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 </a:t>
            </a:r>
            <a:r>
              <a:rPr kumimoji="0" sz="485" b="0" i="0" u="none" strike="noStrike" kern="1200" cap="none" spc="0" normalizeH="0" baseline="0" noProof="0" dirty="0">
                <a:ln>
                  <a:noFill/>
                </a:ln>
                <a:solidFill>
                  <a:srgbClr val="1D4067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приказ</a:t>
            </a:r>
            <a:r>
              <a:rPr kumimoji="0" sz="485" b="0" i="0" u="none" strike="noStrike" kern="1200" cap="none" spc="-45" normalizeH="0" baseline="0" noProof="0" dirty="0">
                <a:ln>
                  <a:noFill/>
                </a:ln>
                <a:solidFill>
                  <a:srgbClr val="1D4067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 </a:t>
            </a:r>
            <a:r>
              <a:rPr kumimoji="0" sz="485" b="0" i="0" u="none" strike="noStrike" kern="1200" cap="none" spc="61" normalizeH="0" baseline="0" noProof="0" dirty="0">
                <a:ln>
                  <a:noFill/>
                </a:ln>
                <a:solidFill>
                  <a:srgbClr val="1D4067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№</a:t>
            </a:r>
            <a:r>
              <a:rPr kumimoji="0" sz="485" b="0" i="0" u="none" strike="noStrike" kern="1200" cap="none" spc="-45" normalizeH="0" baseline="0" noProof="0" dirty="0">
                <a:ln>
                  <a:noFill/>
                </a:ln>
                <a:solidFill>
                  <a:srgbClr val="1D4067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 </a:t>
            </a:r>
            <a:r>
              <a:rPr kumimoji="0" sz="485" b="0" i="0" u="none" strike="noStrike" kern="1200" cap="none" spc="36" normalizeH="0" baseline="0" noProof="0" dirty="0">
                <a:ln>
                  <a:noFill/>
                </a:ln>
                <a:solidFill>
                  <a:srgbClr val="1D4067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N005358</a:t>
            </a:r>
            <a:r>
              <a:rPr kumimoji="0" sz="485" b="0" i="0" u="none" strike="noStrike" kern="1200" cap="none" spc="-42" normalizeH="0" baseline="0" noProof="0" dirty="0">
                <a:ln>
                  <a:noFill/>
                </a:ln>
                <a:solidFill>
                  <a:srgbClr val="1D4067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 </a:t>
            </a:r>
            <a:r>
              <a:rPr kumimoji="0" sz="485" b="0" i="0" u="none" strike="noStrike" kern="1200" cap="none" spc="0" normalizeH="0" baseline="0" noProof="0" dirty="0">
                <a:ln>
                  <a:noFill/>
                </a:ln>
                <a:solidFill>
                  <a:srgbClr val="1D4067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от</a:t>
            </a:r>
            <a:r>
              <a:rPr kumimoji="0" sz="485" b="0" i="0" u="none" strike="noStrike" kern="1200" cap="none" spc="-45" normalizeH="0" baseline="0" noProof="0" dirty="0">
                <a:ln>
                  <a:noFill/>
                </a:ln>
                <a:solidFill>
                  <a:srgbClr val="1D4067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 </a:t>
            </a:r>
            <a:r>
              <a:rPr kumimoji="0" sz="485" b="0" i="0" u="none" strike="noStrike" kern="1200" cap="none" spc="-18" normalizeH="0" baseline="0" noProof="0" dirty="0">
                <a:ln>
                  <a:noFill/>
                </a:ln>
                <a:solidFill>
                  <a:srgbClr val="1D4067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09.12.2016</a:t>
            </a:r>
            <a:r>
              <a:rPr kumimoji="0" sz="485" b="0" i="0" u="none" strike="noStrike" kern="1200" cap="none" spc="-45" normalizeH="0" baseline="0" noProof="0" dirty="0">
                <a:ln>
                  <a:noFill/>
                </a:ln>
                <a:solidFill>
                  <a:srgbClr val="1D4067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 </a:t>
            </a:r>
            <a:r>
              <a:rPr kumimoji="0" sz="485" b="0" i="0" u="none" strike="noStrike" kern="1200" cap="none" spc="-82" normalizeH="0" baseline="0" noProof="0" dirty="0">
                <a:ln>
                  <a:noFill/>
                </a:ln>
                <a:solidFill>
                  <a:srgbClr val="1D4067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г.,</a:t>
            </a:r>
            <a:r>
              <a:rPr kumimoji="0" sz="485" b="0" i="0" u="none" strike="noStrike" kern="1200" cap="none" spc="-45" normalizeH="0" baseline="0" noProof="0" dirty="0">
                <a:ln>
                  <a:noFill/>
                </a:ln>
                <a:solidFill>
                  <a:srgbClr val="1D4067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 </a:t>
            </a:r>
            <a:r>
              <a:rPr kumimoji="0" sz="485" b="0" i="0" u="none" strike="noStrike" kern="1200" cap="none" spc="12" normalizeH="0" baseline="0" noProof="0" dirty="0">
                <a:ln>
                  <a:noFill/>
                </a:ln>
                <a:solidFill>
                  <a:srgbClr val="1D4067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РК-ЛС-5№018524</a:t>
            </a:r>
            <a:r>
              <a:rPr kumimoji="0" sz="485" b="0" i="0" u="none" strike="noStrike" kern="1200" cap="none" spc="-45" normalizeH="0" baseline="0" noProof="0" dirty="0">
                <a:ln>
                  <a:noFill/>
                </a:ln>
                <a:solidFill>
                  <a:srgbClr val="1D4067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 </a:t>
            </a:r>
            <a:r>
              <a:rPr kumimoji="0" sz="485" b="0" i="0" u="none" strike="noStrike" kern="1200" cap="none" spc="0" normalizeH="0" baseline="0" noProof="0" dirty="0">
                <a:ln>
                  <a:noFill/>
                </a:ln>
                <a:solidFill>
                  <a:srgbClr val="1D4067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от</a:t>
            </a:r>
            <a:r>
              <a:rPr kumimoji="0" sz="485" b="0" i="0" u="none" strike="noStrike" kern="1200" cap="none" spc="-42" normalizeH="0" baseline="0" noProof="0" dirty="0">
                <a:ln>
                  <a:noFill/>
                </a:ln>
                <a:solidFill>
                  <a:srgbClr val="1D4067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 </a:t>
            </a:r>
            <a:r>
              <a:rPr kumimoji="0" sz="485" b="0" i="0" u="none" strike="noStrike" kern="1200" cap="none" spc="-18" normalizeH="0" baseline="0" noProof="0" dirty="0">
                <a:ln>
                  <a:noFill/>
                </a:ln>
                <a:solidFill>
                  <a:srgbClr val="1D4067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09.12.2016</a:t>
            </a:r>
            <a:r>
              <a:rPr kumimoji="0" sz="485" b="0" i="0" u="none" strike="noStrike" kern="1200" cap="none" spc="-45" normalizeH="0" baseline="0" noProof="0" dirty="0">
                <a:ln>
                  <a:noFill/>
                </a:ln>
                <a:solidFill>
                  <a:srgbClr val="1D4067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 </a:t>
            </a:r>
            <a:r>
              <a:rPr kumimoji="0" sz="485" b="0" i="0" u="none" strike="noStrike" kern="1200" cap="none" spc="9" normalizeH="0" baseline="0" noProof="0" dirty="0">
                <a:ln>
                  <a:noFill/>
                </a:ln>
                <a:solidFill>
                  <a:srgbClr val="1D4067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до</a:t>
            </a:r>
            <a:r>
              <a:rPr kumimoji="0" sz="485" b="0" i="0" u="none" strike="noStrike" kern="1200" cap="none" spc="-45" normalizeH="0" baseline="0" noProof="0" dirty="0">
                <a:ln>
                  <a:noFill/>
                </a:ln>
                <a:solidFill>
                  <a:srgbClr val="1D4067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 </a:t>
            </a:r>
            <a:r>
              <a:rPr kumimoji="0" sz="485" b="0" i="0" u="none" strike="noStrike" kern="1200" cap="none" spc="3" normalizeH="0" baseline="0" noProof="0" dirty="0">
                <a:ln>
                  <a:noFill/>
                </a:ln>
                <a:solidFill>
                  <a:srgbClr val="1D4067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бессрочно</a:t>
            </a:r>
            <a:endParaRPr kumimoji="0" sz="485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rebuchet MS"/>
              <a:ea typeface="+mn-ea"/>
              <a:cs typeface="Trebuchet MS"/>
            </a:endParaRPr>
          </a:p>
        </p:txBody>
      </p:sp>
      <p:grpSp>
        <p:nvGrpSpPr>
          <p:cNvPr id="4" name="object 4"/>
          <p:cNvGrpSpPr/>
          <p:nvPr/>
        </p:nvGrpSpPr>
        <p:grpSpPr>
          <a:xfrm>
            <a:off x="3580986" y="1698947"/>
            <a:ext cx="5003548" cy="4215415"/>
            <a:chOff x="5924901" y="2754690"/>
            <a:chExt cx="8251221" cy="6951531"/>
          </a:xfrm>
        </p:grpSpPr>
        <p:pic>
          <p:nvPicPr>
            <p:cNvPr id="5" name="object 5"/>
            <p:cNvPicPr/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5924901" y="2754690"/>
              <a:ext cx="8251221" cy="6951531"/>
            </a:xfrm>
            <a:prstGeom prst="rect">
              <a:avLst/>
            </a:prstGeom>
          </p:spPr>
        </p:pic>
        <p:sp>
          <p:nvSpPr>
            <p:cNvPr id="6" name="object 6"/>
            <p:cNvSpPr/>
            <p:nvPr/>
          </p:nvSpPr>
          <p:spPr>
            <a:xfrm>
              <a:off x="10160127" y="8454637"/>
              <a:ext cx="2581910" cy="458470"/>
            </a:xfrm>
            <a:custGeom>
              <a:avLst/>
              <a:gdLst/>
              <a:ahLst/>
              <a:cxnLst/>
              <a:rect l="l" t="t" r="r" b="b"/>
              <a:pathLst>
                <a:path w="2581909" h="458470">
                  <a:moveTo>
                    <a:pt x="2581821" y="229222"/>
                  </a:moveTo>
                  <a:lnTo>
                    <a:pt x="2384475" y="0"/>
                  </a:lnTo>
                  <a:lnTo>
                    <a:pt x="2384475" y="105968"/>
                  </a:lnTo>
                  <a:lnTo>
                    <a:pt x="0" y="105968"/>
                  </a:lnTo>
                  <a:lnTo>
                    <a:pt x="0" y="352475"/>
                  </a:lnTo>
                  <a:lnTo>
                    <a:pt x="2384475" y="352475"/>
                  </a:lnTo>
                  <a:lnTo>
                    <a:pt x="2384475" y="458457"/>
                  </a:lnTo>
                  <a:lnTo>
                    <a:pt x="2581821" y="229222"/>
                  </a:lnTo>
                  <a:close/>
                </a:path>
              </a:pathLst>
            </a:custGeom>
            <a:solidFill>
              <a:srgbClr val="003B71"/>
            </a:solidFill>
          </p:spPr>
          <p:txBody>
            <a:bodyPr wrap="square" lIns="0" tIns="0" rIns="0" bIns="0" rtlCol="0"/>
            <a:lstStyle/>
            <a:p>
              <a:pPr marL="0" marR="0" lvl="0" indent="0" algn="l" defTabSz="55449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092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" name="object 7"/>
            <p:cNvSpPr/>
            <p:nvPr/>
          </p:nvSpPr>
          <p:spPr>
            <a:xfrm>
              <a:off x="7962595" y="3636608"/>
              <a:ext cx="551815" cy="551815"/>
            </a:xfrm>
            <a:custGeom>
              <a:avLst/>
              <a:gdLst/>
              <a:ahLst/>
              <a:cxnLst/>
              <a:rect l="l" t="t" r="r" b="b"/>
              <a:pathLst>
                <a:path w="551815" h="551814">
                  <a:moveTo>
                    <a:pt x="263067" y="0"/>
                  </a:moveTo>
                  <a:lnTo>
                    <a:pt x="216407" y="6180"/>
                  </a:lnTo>
                  <a:lnTo>
                    <a:pt x="171343" y="20207"/>
                  </a:lnTo>
                  <a:lnTo>
                    <a:pt x="128968" y="41936"/>
                  </a:lnTo>
                  <a:lnTo>
                    <a:pt x="90375" y="71221"/>
                  </a:lnTo>
                  <a:lnTo>
                    <a:pt x="56656" y="107919"/>
                  </a:lnTo>
                  <a:lnTo>
                    <a:pt x="29999" y="150024"/>
                  </a:lnTo>
                  <a:lnTo>
                    <a:pt x="11767" y="194907"/>
                  </a:lnTo>
                  <a:lnTo>
                    <a:pt x="1816" y="241476"/>
                  </a:lnTo>
                  <a:lnTo>
                    <a:pt x="0" y="288636"/>
                  </a:lnTo>
                  <a:lnTo>
                    <a:pt x="6175" y="335295"/>
                  </a:lnTo>
                  <a:lnTo>
                    <a:pt x="20197" y="380359"/>
                  </a:lnTo>
                  <a:lnTo>
                    <a:pt x="41922" y="422735"/>
                  </a:lnTo>
                  <a:lnTo>
                    <a:pt x="71204" y="461329"/>
                  </a:lnTo>
                  <a:lnTo>
                    <a:pt x="107900" y="495048"/>
                  </a:lnTo>
                  <a:lnTo>
                    <a:pt x="150009" y="521704"/>
                  </a:lnTo>
                  <a:lnTo>
                    <a:pt x="194896" y="539936"/>
                  </a:lnTo>
                  <a:lnTo>
                    <a:pt x="241468" y="549886"/>
                  </a:lnTo>
                  <a:lnTo>
                    <a:pt x="288631" y="551701"/>
                  </a:lnTo>
                  <a:lnTo>
                    <a:pt x="335293" y="545525"/>
                  </a:lnTo>
                  <a:lnTo>
                    <a:pt x="380359" y="531502"/>
                  </a:lnTo>
                  <a:lnTo>
                    <a:pt x="422736" y="509778"/>
                  </a:lnTo>
                  <a:lnTo>
                    <a:pt x="461331" y="480497"/>
                  </a:lnTo>
                  <a:lnTo>
                    <a:pt x="495051" y="443804"/>
                  </a:lnTo>
                  <a:lnTo>
                    <a:pt x="521707" y="401696"/>
                  </a:lnTo>
                  <a:lnTo>
                    <a:pt x="539938" y="356809"/>
                  </a:lnTo>
                  <a:lnTo>
                    <a:pt x="549889" y="310238"/>
                  </a:lnTo>
                  <a:lnTo>
                    <a:pt x="551704" y="263075"/>
                  </a:lnTo>
                  <a:lnTo>
                    <a:pt x="545528" y="216414"/>
                  </a:lnTo>
                  <a:lnTo>
                    <a:pt x="531505" y="171347"/>
                  </a:lnTo>
                  <a:lnTo>
                    <a:pt x="509781" y="128967"/>
                  </a:lnTo>
                  <a:lnTo>
                    <a:pt x="480500" y="90368"/>
                  </a:lnTo>
                  <a:lnTo>
                    <a:pt x="443806" y="56643"/>
                  </a:lnTo>
                  <a:lnTo>
                    <a:pt x="401692" y="29987"/>
                  </a:lnTo>
                  <a:lnTo>
                    <a:pt x="356802" y="11758"/>
                  </a:lnTo>
                  <a:lnTo>
                    <a:pt x="310230" y="1811"/>
                  </a:lnTo>
                  <a:lnTo>
                    <a:pt x="263067" y="0"/>
                  </a:lnTo>
                  <a:close/>
                </a:path>
              </a:pathLst>
            </a:custGeom>
            <a:solidFill>
              <a:srgbClr val="0071BC"/>
            </a:solidFill>
          </p:spPr>
          <p:txBody>
            <a:bodyPr wrap="square" lIns="0" tIns="0" rIns="0" bIns="0" rtlCol="0"/>
            <a:lstStyle/>
            <a:p>
              <a:pPr marL="0" marR="0" lvl="0" indent="0" algn="l" defTabSz="55449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092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8" name="object 8"/>
          <p:cNvSpPr txBox="1"/>
          <p:nvPr/>
        </p:nvSpPr>
        <p:spPr>
          <a:xfrm>
            <a:off x="4900759" y="2236636"/>
            <a:ext cx="204854" cy="224784"/>
          </a:xfrm>
          <a:prstGeom prst="rect">
            <a:avLst/>
          </a:prstGeom>
        </p:spPr>
        <p:txBody>
          <a:bodyPr vert="horz" wrap="square" lIns="0" tIns="10012" rIns="0" bIns="0" rtlCol="0">
            <a:spAutoFit/>
          </a:bodyPr>
          <a:lstStyle/>
          <a:p>
            <a:pPr marL="7701" marR="0" lvl="0" indent="0" algn="l" defTabSz="554492" rtl="0" eaLnBrk="1" fontAlgn="auto" latinLnBrk="0" hangingPunct="1">
              <a:lnSpc>
                <a:spcPct val="100000"/>
              </a:lnSpc>
              <a:spcBef>
                <a:spcPts val="79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395" b="1" i="0" u="none" strike="noStrike" kern="1200" cap="none" spc="69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Fe</a:t>
            </a:r>
            <a:endParaRPr kumimoji="0" sz="1395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</p:txBody>
      </p:sp>
      <p:sp>
        <p:nvSpPr>
          <p:cNvPr id="9" name="object 9"/>
          <p:cNvSpPr/>
          <p:nvPr/>
        </p:nvSpPr>
        <p:spPr>
          <a:xfrm>
            <a:off x="5568077" y="2165997"/>
            <a:ext cx="334621" cy="334621"/>
          </a:xfrm>
          <a:custGeom>
            <a:avLst/>
            <a:gdLst/>
            <a:ahLst/>
            <a:cxnLst/>
            <a:rect l="l" t="t" r="r" b="b"/>
            <a:pathLst>
              <a:path w="551815" h="551814">
                <a:moveTo>
                  <a:pt x="263067" y="0"/>
                </a:moveTo>
                <a:lnTo>
                  <a:pt x="216407" y="6180"/>
                </a:lnTo>
                <a:lnTo>
                  <a:pt x="171343" y="20207"/>
                </a:lnTo>
                <a:lnTo>
                  <a:pt x="128968" y="41936"/>
                </a:lnTo>
                <a:lnTo>
                  <a:pt x="90375" y="71221"/>
                </a:lnTo>
                <a:lnTo>
                  <a:pt x="56656" y="107919"/>
                </a:lnTo>
                <a:lnTo>
                  <a:pt x="29999" y="150024"/>
                </a:lnTo>
                <a:lnTo>
                  <a:pt x="11767" y="194907"/>
                </a:lnTo>
                <a:lnTo>
                  <a:pt x="1816" y="241476"/>
                </a:lnTo>
                <a:lnTo>
                  <a:pt x="0" y="288636"/>
                </a:lnTo>
                <a:lnTo>
                  <a:pt x="6175" y="335295"/>
                </a:lnTo>
                <a:lnTo>
                  <a:pt x="20197" y="380359"/>
                </a:lnTo>
                <a:lnTo>
                  <a:pt x="41922" y="422735"/>
                </a:lnTo>
                <a:lnTo>
                  <a:pt x="71204" y="461329"/>
                </a:lnTo>
                <a:lnTo>
                  <a:pt x="107900" y="495048"/>
                </a:lnTo>
                <a:lnTo>
                  <a:pt x="150009" y="521704"/>
                </a:lnTo>
                <a:lnTo>
                  <a:pt x="194896" y="539936"/>
                </a:lnTo>
                <a:lnTo>
                  <a:pt x="241468" y="549886"/>
                </a:lnTo>
                <a:lnTo>
                  <a:pt x="288631" y="551701"/>
                </a:lnTo>
                <a:lnTo>
                  <a:pt x="335293" y="545525"/>
                </a:lnTo>
                <a:lnTo>
                  <a:pt x="380359" y="531502"/>
                </a:lnTo>
                <a:lnTo>
                  <a:pt x="422736" y="509778"/>
                </a:lnTo>
                <a:lnTo>
                  <a:pt x="461331" y="480497"/>
                </a:lnTo>
                <a:lnTo>
                  <a:pt x="495051" y="443804"/>
                </a:lnTo>
                <a:lnTo>
                  <a:pt x="521707" y="401696"/>
                </a:lnTo>
                <a:lnTo>
                  <a:pt x="539938" y="356809"/>
                </a:lnTo>
                <a:lnTo>
                  <a:pt x="549889" y="310238"/>
                </a:lnTo>
                <a:lnTo>
                  <a:pt x="551704" y="263075"/>
                </a:lnTo>
                <a:lnTo>
                  <a:pt x="545528" y="216414"/>
                </a:lnTo>
                <a:lnTo>
                  <a:pt x="531505" y="171347"/>
                </a:lnTo>
                <a:lnTo>
                  <a:pt x="509781" y="128967"/>
                </a:lnTo>
                <a:lnTo>
                  <a:pt x="480500" y="90368"/>
                </a:lnTo>
                <a:lnTo>
                  <a:pt x="443806" y="56643"/>
                </a:lnTo>
                <a:lnTo>
                  <a:pt x="401692" y="29987"/>
                </a:lnTo>
                <a:lnTo>
                  <a:pt x="356802" y="11758"/>
                </a:lnTo>
                <a:lnTo>
                  <a:pt x="310230" y="1811"/>
                </a:lnTo>
                <a:lnTo>
                  <a:pt x="263067" y="0"/>
                </a:lnTo>
                <a:close/>
              </a:path>
            </a:pathLst>
          </a:custGeom>
          <a:solidFill>
            <a:srgbClr val="29ABE2"/>
          </a:solidFill>
        </p:spPr>
        <p:txBody>
          <a:bodyPr wrap="square" lIns="0" tIns="0" rIns="0" bIns="0" rtlCol="0"/>
          <a:lstStyle/>
          <a:p>
            <a:pPr marL="0" marR="0" lvl="0" indent="0" algn="l" defTabSz="55449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09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0" name="object 10"/>
          <p:cNvSpPr txBox="1"/>
          <p:nvPr/>
        </p:nvSpPr>
        <p:spPr>
          <a:xfrm>
            <a:off x="5620261" y="2197391"/>
            <a:ext cx="225648" cy="224784"/>
          </a:xfrm>
          <a:prstGeom prst="rect">
            <a:avLst/>
          </a:prstGeom>
        </p:spPr>
        <p:txBody>
          <a:bodyPr vert="horz" wrap="square" lIns="0" tIns="10012" rIns="0" bIns="0" rtlCol="0">
            <a:spAutoFit/>
          </a:bodyPr>
          <a:lstStyle/>
          <a:p>
            <a:pPr marL="7701" marR="0" lvl="0" indent="0" algn="l" defTabSz="554492" rtl="0" eaLnBrk="1" fontAlgn="auto" latinLnBrk="0" hangingPunct="1">
              <a:lnSpc>
                <a:spcPct val="100000"/>
              </a:lnSpc>
              <a:spcBef>
                <a:spcPts val="79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395" b="1" i="0" u="none" strike="noStrike" kern="1200" cap="none" spc="109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Ca</a:t>
            </a:r>
            <a:endParaRPr kumimoji="0" sz="1395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</p:txBody>
      </p:sp>
      <p:sp>
        <p:nvSpPr>
          <p:cNvPr id="11" name="object 11"/>
          <p:cNvSpPr/>
          <p:nvPr/>
        </p:nvSpPr>
        <p:spPr>
          <a:xfrm>
            <a:off x="5221409" y="2630402"/>
            <a:ext cx="334621" cy="334621"/>
          </a:xfrm>
          <a:custGeom>
            <a:avLst/>
            <a:gdLst/>
            <a:ahLst/>
            <a:cxnLst/>
            <a:rect l="l" t="t" r="r" b="b"/>
            <a:pathLst>
              <a:path w="551815" h="551814">
                <a:moveTo>
                  <a:pt x="263067" y="0"/>
                </a:moveTo>
                <a:lnTo>
                  <a:pt x="216407" y="6179"/>
                </a:lnTo>
                <a:lnTo>
                  <a:pt x="171343" y="20205"/>
                </a:lnTo>
                <a:lnTo>
                  <a:pt x="128968" y="41932"/>
                </a:lnTo>
                <a:lnTo>
                  <a:pt x="90375" y="71215"/>
                </a:lnTo>
                <a:lnTo>
                  <a:pt x="56656" y="107909"/>
                </a:lnTo>
                <a:lnTo>
                  <a:pt x="29999" y="150017"/>
                </a:lnTo>
                <a:lnTo>
                  <a:pt x="11767" y="194903"/>
                </a:lnTo>
                <a:lnTo>
                  <a:pt x="1816" y="241474"/>
                </a:lnTo>
                <a:lnTo>
                  <a:pt x="0" y="288636"/>
                </a:lnTo>
                <a:lnTo>
                  <a:pt x="6175" y="335295"/>
                </a:lnTo>
                <a:lnTo>
                  <a:pt x="20197" y="380360"/>
                </a:lnTo>
                <a:lnTo>
                  <a:pt x="41922" y="422736"/>
                </a:lnTo>
                <a:lnTo>
                  <a:pt x="71204" y="461330"/>
                </a:lnTo>
                <a:lnTo>
                  <a:pt x="107900" y="495049"/>
                </a:lnTo>
                <a:lnTo>
                  <a:pt x="150006" y="521705"/>
                </a:lnTo>
                <a:lnTo>
                  <a:pt x="194892" y="539936"/>
                </a:lnTo>
                <a:lnTo>
                  <a:pt x="241463" y="549887"/>
                </a:lnTo>
                <a:lnTo>
                  <a:pt x="288627" y="551702"/>
                </a:lnTo>
                <a:lnTo>
                  <a:pt x="335289" y="545526"/>
                </a:lnTo>
                <a:lnTo>
                  <a:pt x="380357" y="531503"/>
                </a:lnTo>
                <a:lnTo>
                  <a:pt x="422735" y="509779"/>
                </a:lnTo>
                <a:lnTo>
                  <a:pt x="461331" y="480498"/>
                </a:lnTo>
                <a:lnTo>
                  <a:pt x="495051" y="443805"/>
                </a:lnTo>
                <a:lnTo>
                  <a:pt x="521707" y="401696"/>
                </a:lnTo>
                <a:lnTo>
                  <a:pt x="539938" y="356810"/>
                </a:lnTo>
                <a:lnTo>
                  <a:pt x="549889" y="310239"/>
                </a:lnTo>
                <a:lnTo>
                  <a:pt x="551704" y="263076"/>
                </a:lnTo>
                <a:lnTo>
                  <a:pt x="545528" y="216415"/>
                </a:lnTo>
                <a:lnTo>
                  <a:pt x="531505" y="171348"/>
                </a:lnTo>
                <a:lnTo>
                  <a:pt x="509781" y="128968"/>
                </a:lnTo>
                <a:lnTo>
                  <a:pt x="480500" y="90369"/>
                </a:lnTo>
                <a:lnTo>
                  <a:pt x="443806" y="56644"/>
                </a:lnTo>
                <a:lnTo>
                  <a:pt x="401692" y="29988"/>
                </a:lnTo>
                <a:lnTo>
                  <a:pt x="356802" y="11759"/>
                </a:lnTo>
                <a:lnTo>
                  <a:pt x="310230" y="1811"/>
                </a:lnTo>
                <a:lnTo>
                  <a:pt x="263067" y="0"/>
                </a:lnTo>
                <a:close/>
              </a:path>
            </a:pathLst>
          </a:custGeom>
          <a:solidFill>
            <a:srgbClr val="D4145A"/>
          </a:solidFill>
        </p:spPr>
        <p:txBody>
          <a:bodyPr wrap="square" lIns="0" tIns="0" rIns="0" bIns="0" rtlCol="0"/>
          <a:lstStyle/>
          <a:p>
            <a:pPr marL="0" marR="0" lvl="0" indent="0" algn="l" defTabSz="55449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09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2" name="object 12"/>
          <p:cNvSpPr txBox="1"/>
          <p:nvPr/>
        </p:nvSpPr>
        <p:spPr>
          <a:xfrm>
            <a:off x="5332460" y="2674878"/>
            <a:ext cx="128226" cy="224784"/>
          </a:xfrm>
          <a:prstGeom prst="rect">
            <a:avLst/>
          </a:prstGeom>
        </p:spPr>
        <p:txBody>
          <a:bodyPr vert="horz" wrap="square" lIns="0" tIns="10012" rIns="0" bIns="0" rtlCol="0">
            <a:spAutoFit/>
          </a:bodyPr>
          <a:lstStyle/>
          <a:p>
            <a:pPr marL="7701" marR="0" lvl="0" indent="0" algn="l" defTabSz="554492" rtl="0" eaLnBrk="1" fontAlgn="auto" latinLnBrk="0" hangingPunct="1">
              <a:lnSpc>
                <a:spcPct val="100000"/>
              </a:lnSpc>
              <a:spcBef>
                <a:spcPts val="79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395" b="1" i="0" u="none" strike="noStrike" kern="1200" cap="none" spc="6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D</a:t>
            </a:r>
            <a:endParaRPr kumimoji="0" sz="1395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</p:txBody>
      </p:sp>
      <p:grpSp>
        <p:nvGrpSpPr>
          <p:cNvPr id="13" name="object 13"/>
          <p:cNvGrpSpPr/>
          <p:nvPr/>
        </p:nvGrpSpPr>
        <p:grpSpPr>
          <a:xfrm>
            <a:off x="3782358" y="2239097"/>
            <a:ext cx="1864483" cy="3348907"/>
            <a:chOff x="6236683" y="3692437"/>
            <a:chExt cx="3074670" cy="5522595"/>
          </a:xfrm>
        </p:grpSpPr>
        <p:pic>
          <p:nvPicPr>
            <p:cNvPr id="14" name="object 14"/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8459731" y="3692437"/>
              <a:ext cx="237313" cy="116446"/>
            </a:xfrm>
            <a:prstGeom prst="rect">
              <a:avLst/>
            </a:prstGeom>
          </p:spPr>
        </p:pic>
        <p:pic>
          <p:nvPicPr>
            <p:cNvPr id="15" name="object 15"/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9073814" y="4077043"/>
              <a:ext cx="237530" cy="153112"/>
            </a:xfrm>
            <a:prstGeom prst="rect">
              <a:avLst/>
            </a:prstGeom>
          </p:spPr>
        </p:pic>
        <p:pic>
          <p:nvPicPr>
            <p:cNvPr id="16" name="object 16"/>
            <p:cNvPicPr/>
            <p:nvPr/>
          </p:nvPicPr>
          <p:blipFill>
            <a:blip r:embed="rId5" cstate="print"/>
            <a:stretch>
              <a:fillRect/>
            </a:stretch>
          </p:blipFill>
          <p:spPr>
            <a:xfrm>
              <a:off x="8597424" y="4162765"/>
              <a:ext cx="122111" cy="249647"/>
            </a:xfrm>
            <a:prstGeom prst="rect">
              <a:avLst/>
            </a:prstGeom>
          </p:spPr>
        </p:pic>
        <p:pic>
          <p:nvPicPr>
            <p:cNvPr id="17" name="object 17"/>
            <p:cNvPicPr/>
            <p:nvPr/>
          </p:nvPicPr>
          <p:blipFill>
            <a:blip r:embed="rId6" cstate="print"/>
            <a:stretch>
              <a:fillRect/>
            </a:stretch>
          </p:blipFill>
          <p:spPr>
            <a:xfrm>
              <a:off x="6236683" y="4967363"/>
              <a:ext cx="1947512" cy="2195612"/>
            </a:xfrm>
            <a:prstGeom prst="rect">
              <a:avLst/>
            </a:prstGeom>
          </p:spPr>
        </p:pic>
        <p:sp>
          <p:nvSpPr>
            <p:cNvPr id="18" name="object 18"/>
            <p:cNvSpPr/>
            <p:nvPr/>
          </p:nvSpPr>
          <p:spPr>
            <a:xfrm>
              <a:off x="7812886" y="8524238"/>
              <a:ext cx="393065" cy="393065"/>
            </a:xfrm>
            <a:custGeom>
              <a:avLst/>
              <a:gdLst/>
              <a:ahLst/>
              <a:cxnLst/>
              <a:rect l="l" t="t" r="r" b="b"/>
              <a:pathLst>
                <a:path w="393065" h="393065">
                  <a:moveTo>
                    <a:pt x="194610" y="0"/>
                  </a:moveTo>
                  <a:lnTo>
                    <a:pt x="151699" y="5202"/>
                  </a:lnTo>
                  <a:lnTo>
                    <a:pt x="111132" y="19539"/>
                  </a:lnTo>
                  <a:lnTo>
                    <a:pt x="74482" y="42455"/>
                  </a:lnTo>
                  <a:lnTo>
                    <a:pt x="43321" y="73395"/>
                  </a:lnTo>
                  <a:lnTo>
                    <a:pt x="19221" y="111804"/>
                  </a:lnTo>
                  <a:lnTo>
                    <a:pt x="4487" y="154687"/>
                  </a:lnTo>
                  <a:lnTo>
                    <a:pt x="0" y="198371"/>
                  </a:lnTo>
                  <a:lnTo>
                    <a:pt x="5202" y="241284"/>
                  </a:lnTo>
                  <a:lnTo>
                    <a:pt x="19539" y="281853"/>
                  </a:lnTo>
                  <a:lnTo>
                    <a:pt x="42455" y="318506"/>
                  </a:lnTo>
                  <a:lnTo>
                    <a:pt x="73395" y="349671"/>
                  </a:lnTo>
                  <a:lnTo>
                    <a:pt x="111804" y="373776"/>
                  </a:lnTo>
                  <a:lnTo>
                    <a:pt x="154688" y="388506"/>
                  </a:lnTo>
                  <a:lnTo>
                    <a:pt x="198373" y="392992"/>
                  </a:lnTo>
                  <a:lnTo>
                    <a:pt x="241287" y="387790"/>
                  </a:lnTo>
                  <a:lnTo>
                    <a:pt x="281857" y="373453"/>
                  </a:lnTo>
                  <a:lnTo>
                    <a:pt x="318511" y="350536"/>
                  </a:lnTo>
                  <a:lnTo>
                    <a:pt x="349674" y="319594"/>
                  </a:lnTo>
                  <a:lnTo>
                    <a:pt x="373776" y="281181"/>
                  </a:lnTo>
                  <a:lnTo>
                    <a:pt x="388509" y="238295"/>
                  </a:lnTo>
                  <a:lnTo>
                    <a:pt x="392997" y="194610"/>
                  </a:lnTo>
                  <a:lnTo>
                    <a:pt x="387794" y="151699"/>
                  </a:lnTo>
                  <a:lnTo>
                    <a:pt x="373456" y="111132"/>
                  </a:lnTo>
                  <a:lnTo>
                    <a:pt x="350538" y="74482"/>
                  </a:lnTo>
                  <a:lnTo>
                    <a:pt x="319594" y="43321"/>
                  </a:lnTo>
                  <a:lnTo>
                    <a:pt x="281181" y="19221"/>
                  </a:lnTo>
                  <a:lnTo>
                    <a:pt x="238295" y="4487"/>
                  </a:lnTo>
                  <a:lnTo>
                    <a:pt x="194610" y="0"/>
                  </a:lnTo>
                  <a:close/>
                </a:path>
              </a:pathLst>
            </a:custGeom>
            <a:solidFill>
              <a:srgbClr val="DF4937"/>
            </a:solidFill>
          </p:spPr>
          <p:txBody>
            <a:bodyPr wrap="square" lIns="0" tIns="0" rIns="0" bIns="0" rtlCol="0"/>
            <a:lstStyle/>
            <a:p>
              <a:pPr marL="0" marR="0" lvl="0" indent="0" algn="l" defTabSz="55449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092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9" name="object 19"/>
            <p:cNvSpPr/>
            <p:nvPr/>
          </p:nvSpPr>
          <p:spPr>
            <a:xfrm>
              <a:off x="8110525" y="8508574"/>
              <a:ext cx="824230" cy="706755"/>
            </a:xfrm>
            <a:custGeom>
              <a:avLst/>
              <a:gdLst/>
              <a:ahLst/>
              <a:cxnLst/>
              <a:rect l="l" t="t" r="r" b="b"/>
              <a:pathLst>
                <a:path w="824229" h="706754">
                  <a:moveTo>
                    <a:pt x="393001" y="507923"/>
                  </a:moveTo>
                  <a:lnTo>
                    <a:pt x="387794" y="465023"/>
                  </a:lnTo>
                  <a:lnTo>
                    <a:pt x="373456" y="424446"/>
                  </a:lnTo>
                  <a:lnTo>
                    <a:pt x="350532" y="387794"/>
                  </a:lnTo>
                  <a:lnTo>
                    <a:pt x="319595" y="356641"/>
                  </a:lnTo>
                  <a:lnTo>
                    <a:pt x="281178" y="332536"/>
                  </a:lnTo>
                  <a:lnTo>
                    <a:pt x="238290" y="317804"/>
                  </a:lnTo>
                  <a:lnTo>
                    <a:pt x="194614" y="313309"/>
                  </a:lnTo>
                  <a:lnTo>
                    <a:pt x="151701" y="318516"/>
                  </a:lnTo>
                  <a:lnTo>
                    <a:pt x="111125" y="332854"/>
                  </a:lnTo>
                  <a:lnTo>
                    <a:pt x="74485" y="355765"/>
                  </a:lnTo>
                  <a:lnTo>
                    <a:pt x="43319" y="386715"/>
                  </a:lnTo>
                  <a:lnTo>
                    <a:pt x="19215" y="425132"/>
                  </a:lnTo>
                  <a:lnTo>
                    <a:pt x="4483" y="468007"/>
                  </a:lnTo>
                  <a:lnTo>
                    <a:pt x="0" y="511683"/>
                  </a:lnTo>
                  <a:lnTo>
                    <a:pt x="5194" y="554596"/>
                  </a:lnTo>
                  <a:lnTo>
                    <a:pt x="19532" y="595172"/>
                  </a:lnTo>
                  <a:lnTo>
                    <a:pt x="42456" y="631825"/>
                  </a:lnTo>
                  <a:lnTo>
                    <a:pt x="73393" y="662990"/>
                  </a:lnTo>
                  <a:lnTo>
                    <a:pt x="111798" y="687082"/>
                  </a:lnTo>
                  <a:lnTo>
                    <a:pt x="154686" y="701814"/>
                  </a:lnTo>
                  <a:lnTo>
                    <a:pt x="198374" y="706297"/>
                  </a:lnTo>
                  <a:lnTo>
                    <a:pt x="241287" y="701103"/>
                  </a:lnTo>
                  <a:lnTo>
                    <a:pt x="281851" y="686765"/>
                  </a:lnTo>
                  <a:lnTo>
                    <a:pt x="318516" y="663841"/>
                  </a:lnTo>
                  <a:lnTo>
                    <a:pt x="349669" y="632904"/>
                  </a:lnTo>
                  <a:lnTo>
                    <a:pt x="373773" y="594487"/>
                  </a:lnTo>
                  <a:lnTo>
                    <a:pt x="388505" y="551611"/>
                  </a:lnTo>
                  <a:lnTo>
                    <a:pt x="393001" y="507923"/>
                  </a:lnTo>
                  <a:close/>
                </a:path>
                <a:path w="824229" h="706754">
                  <a:moveTo>
                    <a:pt x="823798" y="194614"/>
                  </a:moveTo>
                  <a:lnTo>
                    <a:pt x="818591" y="151701"/>
                  </a:lnTo>
                  <a:lnTo>
                    <a:pt x="804252" y="111137"/>
                  </a:lnTo>
                  <a:lnTo>
                    <a:pt x="781342" y="74485"/>
                  </a:lnTo>
                  <a:lnTo>
                    <a:pt x="750392" y="43332"/>
                  </a:lnTo>
                  <a:lnTo>
                    <a:pt x="711987" y="19227"/>
                  </a:lnTo>
                  <a:lnTo>
                    <a:pt x="669099" y="4495"/>
                  </a:lnTo>
                  <a:lnTo>
                    <a:pt x="625411" y="0"/>
                  </a:lnTo>
                  <a:lnTo>
                    <a:pt x="582498" y="5207"/>
                  </a:lnTo>
                  <a:lnTo>
                    <a:pt x="541934" y="19545"/>
                  </a:lnTo>
                  <a:lnTo>
                    <a:pt x="505282" y="42456"/>
                  </a:lnTo>
                  <a:lnTo>
                    <a:pt x="474116" y="73406"/>
                  </a:lnTo>
                  <a:lnTo>
                    <a:pt x="450024" y="111810"/>
                  </a:lnTo>
                  <a:lnTo>
                    <a:pt x="435279" y="154698"/>
                  </a:lnTo>
                  <a:lnTo>
                    <a:pt x="430796" y="198374"/>
                  </a:lnTo>
                  <a:lnTo>
                    <a:pt x="435991" y="241287"/>
                  </a:lnTo>
                  <a:lnTo>
                    <a:pt x="450329" y="281863"/>
                  </a:lnTo>
                  <a:lnTo>
                    <a:pt x="473252" y="318516"/>
                  </a:lnTo>
                  <a:lnTo>
                    <a:pt x="504190" y="349681"/>
                  </a:lnTo>
                  <a:lnTo>
                    <a:pt x="542607" y="373786"/>
                  </a:lnTo>
                  <a:lnTo>
                    <a:pt x="585482" y="388518"/>
                  </a:lnTo>
                  <a:lnTo>
                    <a:pt x="629170" y="393001"/>
                  </a:lnTo>
                  <a:lnTo>
                    <a:pt x="672084" y="387794"/>
                  </a:lnTo>
                  <a:lnTo>
                    <a:pt x="712660" y="373456"/>
                  </a:lnTo>
                  <a:lnTo>
                    <a:pt x="749312" y="350545"/>
                  </a:lnTo>
                  <a:lnTo>
                    <a:pt x="780478" y="319595"/>
                  </a:lnTo>
                  <a:lnTo>
                    <a:pt x="804570" y="281190"/>
                  </a:lnTo>
                  <a:lnTo>
                    <a:pt x="819315" y="238302"/>
                  </a:lnTo>
                  <a:lnTo>
                    <a:pt x="823798" y="194614"/>
                  </a:lnTo>
                  <a:close/>
                </a:path>
              </a:pathLst>
            </a:custGeom>
            <a:solidFill>
              <a:srgbClr val="DF4937"/>
            </a:solidFill>
          </p:spPr>
          <p:txBody>
            <a:bodyPr wrap="square" lIns="0" tIns="0" rIns="0" bIns="0" rtlCol="0"/>
            <a:lstStyle/>
            <a:p>
              <a:pPr marL="0" marR="0" lvl="0" indent="0" algn="l" defTabSz="55449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092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20" name="object 20"/>
          <p:cNvSpPr txBox="1"/>
          <p:nvPr/>
        </p:nvSpPr>
        <p:spPr>
          <a:xfrm>
            <a:off x="5258106" y="5187619"/>
            <a:ext cx="84714" cy="165632"/>
          </a:xfrm>
          <a:prstGeom prst="rect">
            <a:avLst/>
          </a:prstGeom>
        </p:spPr>
        <p:txBody>
          <a:bodyPr vert="horz" wrap="square" lIns="0" tIns="6931" rIns="0" bIns="0" rtlCol="0">
            <a:spAutoFit/>
          </a:bodyPr>
          <a:lstStyle/>
          <a:p>
            <a:pPr marL="7701" marR="0" lvl="0" indent="0" algn="l" defTabSz="554492" rtl="0" eaLnBrk="1" fontAlgn="auto" latinLnBrk="0" hangingPunct="1">
              <a:lnSpc>
                <a:spcPct val="100000"/>
              </a:lnSpc>
              <a:spcBef>
                <a:spcPts val="5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031" b="1" i="0" u="none" strike="noStrike" kern="1200" cap="none" spc="39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E</a:t>
            </a:r>
            <a:endParaRPr kumimoji="0" sz="1031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</p:txBody>
      </p:sp>
      <p:sp>
        <p:nvSpPr>
          <p:cNvPr id="21" name="object 21"/>
          <p:cNvSpPr/>
          <p:nvPr/>
        </p:nvSpPr>
        <p:spPr>
          <a:xfrm>
            <a:off x="4966157" y="5021861"/>
            <a:ext cx="238355" cy="238355"/>
          </a:xfrm>
          <a:custGeom>
            <a:avLst/>
            <a:gdLst/>
            <a:ahLst/>
            <a:cxnLst/>
            <a:rect l="l" t="t" r="r" b="b"/>
            <a:pathLst>
              <a:path w="393065" h="393065">
                <a:moveTo>
                  <a:pt x="194615" y="0"/>
                </a:moveTo>
                <a:lnTo>
                  <a:pt x="151703" y="5204"/>
                </a:lnTo>
                <a:lnTo>
                  <a:pt x="111136" y="19543"/>
                </a:lnTo>
                <a:lnTo>
                  <a:pt x="74487" y="42461"/>
                </a:lnTo>
                <a:lnTo>
                  <a:pt x="43326" y="73403"/>
                </a:lnTo>
                <a:lnTo>
                  <a:pt x="19225" y="111813"/>
                </a:lnTo>
                <a:lnTo>
                  <a:pt x="4489" y="154696"/>
                </a:lnTo>
                <a:lnTo>
                  <a:pt x="0" y="198379"/>
                </a:lnTo>
                <a:lnTo>
                  <a:pt x="5202" y="241291"/>
                </a:lnTo>
                <a:lnTo>
                  <a:pt x="19540" y="281859"/>
                </a:lnTo>
                <a:lnTo>
                  <a:pt x="42458" y="318511"/>
                </a:lnTo>
                <a:lnTo>
                  <a:pt x="73399" y="349673"/>
                </a:lnTo>
                <a:lnTo>
                  <a:pt x="111809" y="373773"/>
                </a:lnTo>
                <a:lnTo>
                  <a:pt x="154692" y="388507"/>
                </a:lnTo>
                <a:lnTo>
                  <a:pt x="198376" y="392995"/>
                </a:lnTo>
                <a:lnTo>
                  <a:pt x="241288" y="387793"/>
                </a:lnTo>
                <a:lnTo>
                  <a:pt x="281857" y="373456"/>
                </a:lnTo>
                <a:lnTo>
                  <a:pt x="318511" y="350539"/>
                </a:lnTo>
                <a:lnTo>
                  <a:pt x="349676" y="319599"/>
                </a:lnTo>
                <a:lnTo>
                  <a:pt x="373780" y="281190"/>
                </a:lnTo>
                <a:lnTo>
                  <a:pt x="388513" y="238304"/>
                </a:lnTo>
                <a:lnTo>
                  <a:pt x="393001" y="194618"/>
                </a:lnTo>
                <a:lnTo>
                  <a:pt x="387798" y="151706"/>
                </a:lnTo>
                <a:lnTo>
                  <a:pt x="373460" y="111138"/>
                </a:lnTo>
                <a:lnTo>
                  <a:pt x="350542" y="74487"/>
                </a:lnTo>
                <a:lnTo>
                  <a:pt x="319599" y="43323"/>
                </a:lnTo>
                <a:lnTo>
                  <a:pt x="281186" y="19219"/>
                </a:lnTo>
                <a:lnTo>
                  <a:pt x="238300" y="4486"/>
                </a:lnTo>
                <a:lnTo>
                  <a:pt x="194615" y="0"/>
                </a:lnTo>
                <a:close/>
              </a:path>
            </a:pathLst>
          </a:custGeom>
          <a:solidFill>
            <a:srgbClr val="DF4937"/>
          </a:solidFill>
        </p:spPr>
        <p:txBody>
          <a:bodyPr wrap="square" lIns="0" tIns="0" rIns="0" bIns="0" rtlCol="0"/>
          <a:lstStyle/>
          <a:p>
            <a:pPr marL="0" marR="0" lvl="0" indent="0" algn="l" defTabSz="55449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09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2" name="object 22"/>
          <p:cNvSpPr txBox="1"/>
          <p:nvPr/>
        </p:nvSpPr>
        <p:spPr>
          <a:xfrm>
            <a:off x="4790292" y="5049876"/>
            <a:ext cx="383524" cy="499056"/>
          </a:xfrm>
          <a:prstGeom prst="rect">
            <a:avLst/>
          </a:prstGeom>
        </p:spPr>
        <p:txBody>
          <a:bodyPr vert="horz" wrap="square" lIns="0" tIns="6931" rIns="0" bIns="0" rtlCol="0">
            <a:spAutoFit/>
          </a:bodyPr>
          <a:lstStyle/>
          <a:p>
            <a:pPr marL="217946" marR="0" lvl="0" indent="0" algn="l" defTabSz="554492" rtl="0" eaLnBrk="1" fontAlgn="auto" latinLnBrk="0" hangingPunct="1">
              <a:lnSpc>
                <a:spcPts val="1198"/>
              </a:lnSpc>
              <a:spcBef>
                <a:spcPts val="5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031" b="1" i="0" u="none" strike="noStrike" kern="1200" cap="none" spc="67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B2</a:t>
            </a:r>
            <a:endParaRPr kumimoji="0" sz="1031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  <a:p>
            <a:pPr marL="7701" marR="0" lvl="0" indent="0" algn="l" defTabSz="554492" rtl="0" eaLnBrk="1" fontAlgn="auto" latinLnBrk="0" hangingPunct="1">
              <a:lnSpc>
                <a:spcPts val="1198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031" b="1" i="0" u="none" strike="noStrike" kern="1200" cap="none" spc="-73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B1</a:t>
            </a:r>
            <a:endParaRPr kumimoji="0" sz="1031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  <a:p>
            <a:pPr marL="208705" marR="0" lvl="0" indent="0" algn="l" defTabSz="554492" rtl="0" eaLnBrk="1" fontAlgn="auto" latinLnBrk="0" hangingPunct="1">
              <a:lnSpc>
                <a:spcPct val="100000"/>
              </a:lnSpc>
              <a:spcBef>
                <a:spcPts val="18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031" b="1" i="0" u="none" strike="noStrike" kern="1200" cap="none" spc="61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K</a:t>
            </a:r>
            <a:endParaRPr kumimoji="0" sz="1031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</p:txBody>
      </p:sp>
      <p:sp>
        <p:nvSpPr>
          <p:cNvPr id="24" name="object 24"/>
          <p:cNvSpPr txBox="1"/>
          <p:nvPr/>
        </p:nvSpPr>
        <p:spPr>
          <a:xfrm>
            <a:off x="8185011" y="1457458"/>
            <a:ext cx="3759502" cy="1035105"/>
          </a:xfrm>
          <a:prstGeom prst="rect">
            <a:avLst/>
          </a:prstGeom>
        </p:spPr>
        <p:txBody>
          <a:bodyPr vert="horz" wrap="square" lIns="0" tIns="7316" rIns="0" bIns="0" rtlCol="0">
            <a:spAutoFit/>
          </a:bodyPr>
          <a:lstStyle/>
          <a:p>
            <a:pPr marL="276861" marR="3081" lvl="0" indent="-40817" algn="ctr" defTabSz="554492" rtl="0" eaLnBrk="1" fontAlgn="auto" latinLnBrk="0" hangingPunct="1">
              <a:lnSpc>
                <a:spcPct val="100400"/>
              </a:lnSpc>
              <a:spcBef>
                <a:spcPts val="58"/>
              </a:spcBef>
              <a:spcAft>
                <a:spcPts val="0"/>
              </a:spcAft>
              <a:buClrTx/>
              <a:buSzTx/>
              <a:buFontTx/>
              <a:buNone/>
              <a:tabLst>
                <a:tab pos="2484048" algn="l"/>
                <a:tab pos="4310791" algn="l"/>
              </a:tabLst>
              <a:defRPr/>
            </a:pPr>
            <a:r>
              <a:rPr kumimoji="0" lang="az-Latn-AZ" sz="2400" b="1" i="0" u="none" strike="noStrike" kern="1200" cap="none" spc="76" normalizeH="0" baseline="0" noProof="0" dirty="0">
                <a:ln>
                  <a:noFill/>
                </a:ln>
                <a:solidFill>
                  <a:srgbClr val="1D4067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Vit. D, Ca,Fe </a:t>
            </a:r>
          </a:p>
          <a:p>
            <a:pPr marL="276861" marR="3081" lvl="0" indent="-40817" algn="ctr" defTabSz="554492" rtl="0" eaLnBrk="1" fontAlgn="auto" latinLnBrk="0" hangingPunct="1">
              <a:lnSpc>
                <a:spcPct val="100400"/>
              </a:lnSpc>
              <a:spcBef>
                <a:spcPts val="58"/>
              </a:spcBef>
              <a:spcAft>
                <a:spcPts val="0"/>
              </a:spcAft>
              <a:buClrTx/>
              <a:buSzTx/>
              <a:buFontTx/>
              <a:buNone/>
              <a:tabLst>
                <a:tab pos="2484048" algn="l"/>
                <a:tab pos="4310791" algn="l"/>
              </a:tabLst>
              <a:defRPr/>
            </a:pPr>
            <a:r>
              <a:rPr kumimoji="0" lang="az-Latn-AZ" sz="2400" b="1" i="0" u="none" strike="noStrike" kern="1200" cap="none" spc="76" normalizeH="0" baseline="0" noProof="0" dirty="0">
                <a:ln>
                  <a:noFill/>
                </a:ln>
                <a:solidFill>
                  <a:srgbClr val="1D4067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sovrulmasında iştirak edir</a:t>
            </a:r>
            <a:r>
              <a:rPr kumimoji="0" sz="2800" b="1" i="0" u="none" strike="noStrike" kern="1200" cap="none" spc="-36" normalizeH="0" baseline="0" noProof="0" dirty="0">
                <a:ln>
                  <a:noFill/>
                </a:ln>
                <a:solidFill>
                  <a:srgbClr val="1D4067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395" b="1" i="0" u="none" strike="noStrike" kern="1200" cap="none" spc="0" normalizeH="0" baseline="0" noProof="0" dirty="0">
                <a:ln>
                  <a:noFill/>
                </a:ln>
                <a:solidFill>
                  <a:srgbClr val="1D4067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	</a:t>
            </a:r>
            <a:r>
              <a:rPr kumimoji="0" lang="ru-RU" sz="1395" b="1" i="0" u="none" strike="noStrike" kern="1200" cap="none" spc="0" normalizeH="0" baseline="0" noProof="0" dirty="0">
                <a:ln>
                  <a:noFill/>
                </a:ln>
                <a:solidFill>
                  <a:srgbClr val="1D4067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endParaRPr kumimoji="0" sz="1395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rebuchet MS"/>
              <a:ea typeface="+mn-ea"/>
              <a:cs typeface="Trebuchet MS"/>
            </a:endParaRPr>
          </a:p>
        </p:txBody>
      </p:sp>
      <p:sp>
        <p:nvSpPr>
          <p:cNvPr id="26" name="object 26"/>
          <p:cNvSpPr txBox="1"/>
          <p:nvPr/>
        </p:nvSpPr>
        <p:spPr>
          <a:xfrm>
            <a:off x="-437059" y="2274403"/>
            <a:ext cx="4310615" cy="1141031"/>
          </a:xfrm>
          <a:prstGeom prst="rect">
            <a:avLst/>
          </a:prstGeom>
        </p:spPr>
        <p:txBody>
          <a:bodyPr vert="horz" wrap="square" lIns="0" tIns="7316" rIns="0" bIns="0" rtlCol="0">
            <a:spAutoFit/>
          </a:bodyPr>
          <a:lstStyle/>
          <a:p>
            <a:pPr marL="7701" marR="3081" lvl="0" indent="357339" algn="ctr" defTabSz="554492" rtl="0" eaLnBrk="1" fontAlgn="auto" latinLnBrk="0" hangingPunct="1">
              <a:lnSpc>
                <a:spcPct val="100400"/>
              </a:lnSpc>
              <a:spcBef>
                <a:spcPts val="58"/>
              </a:spcBef>
              <a:spcAft>
                <a:spcPts val="0"/>
              </a:spcAft>
              <a:buClrTx/>
              <a:buSzTx/>
              <a:buFontTx/>
              <a:buNone/>
              <a:tabLst>
                <a:tab pos="1948809" algn="l"/>
                <a:tab pos="2875273" algn="l"/>
              </a:tabLst>
              <a:defRPr/>
            </a:pPr>
            <a:r>
              <a:rPr kumimoji="0" lang="it-IT" sz="2400" b="1" i="0" u="none" strike="noStrike" kern="1200" cap="none" spc="21" normalizeH="0" baseline="0" noProof="0" dirty="0">
                <a:ln>
                  <a:noFill/>
                </a:ln>
                <a:solidFill>
                  <a:srgbClr val="DE6614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Zülalların, yağların</a:t>
            </a:r>
            <a:endParaRPr kumimoji="0" lang="az-Latn-AZ" sz="2400" b="1" i="0" u="none" strike="noStrike" kern="1200" cap="none" spc="21" normalizeH="0" baseline="0" noProof="0" dirty="0">
              <a:ln>
                <a:noFill/>
              </a:ln>
              <a:solidFill>
                <a:srgbClr val="DE6614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  <a:p>
            <a:pPr marL="7701" marR="3081" lvl="0" indent="357339" algn="ctr" defTabSz="554492" rtl="0" eaLnBrk="1" fontAlgn="auto" latinLnBrk="0" hangingPunct="1">
              <a:lnSpc>
                <a:spcPct val="100400"/>
              </a:lnSpc>
              <a:spcBef>
                <a:spcPts val="58"/>
              </a:spcBef>
              <a:spcAft>
                <a:spcPts val="0"/>
              </a:spcAft>
              <a:buClrTx/>
              <a:buSzTx/>
              <a:buFontTx/>
              <a:buNone/>
              <a:tabLst>
                <a:tab pos="1948809" algn="l"/>
                <a:tab pos="2875273" algn="l"/>
              </a:tabLst>
              <a:defRPr/>
            </a:pPr>
            <a:r>
              <a:rPr kumimoji="0" lang="it-IT" sz="2400" b="1" i="0" u="none" strike="noStrike" kern="1200" cap="none" spc="21" normalizeH="0" baseline="0" noProof="0" dirty="0">
                <a:ln>
                  <a:noFill/>
                </a:ln>
                <a:solidFill>
                  <a:srgbClr val="DE6614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və mürəkkəb karbohidratların</a:t>
            </a:r>
            <a:endParaRPr kumimoji="0" lang="az-Latn-AZ" sz="2400" b="1" i="0" u="none" strike="noStrike" kern="1200" cap="none" spc="21" normalizeH="0" baseline="0" noProof="0" dirty="0">
              <a:ln>
                <a:noFill/>
              </a:ln>
              <a:solidFill>
                <a:srgbClr val="DE6614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  <a:p>
            <a:pPr marL="7701" marR="3081" lvl="0" indent="357339" algn="ctr" defTabSz="554492" rtl="0" eaLnBrk="1" fontAlgn="auto" latinLnBrk="0" hangingPunct="1">
              <a:lnSpc>
                <a:spcPct val="100400"/>
              </a:lnSpc>
              <a:spcBef>
                <a:spcPts val="58"/>
              </a:spcBef>
              <a:spcAft>
                <a:spcPts val="0"/>
              </a:spcAft>
              <a:buClrTx/>
              <a:buSzTx/>
              <a:buFontTx/>
              <a:buNone/>
              <a:tabLst>
                <a:tab pos="1948809" algn="l"/>
                <a:tab pos="2875273" algn="l"/>
              </a:tabLst>
              <a:defRPr/>
            </a:pPr>
            <a:r>
              <a:rPr kumimoji="0" lang="it-IT" sz="2400" b="1" i="0" u="none" strike="noStrike" kern="1200" cap="none" spc="21" normalizeH="0" baseline="0" noProof="0" dirty="0">
                <a:ln>
                  <a:noFill/>
                </a:ln>
                <a:solidFill>
                  <a:srgbClr val="DE6614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parçalanması</a:t>
            </a:r>
            <a:endParaRPr kumimoji="0" sz="2400" b="1" i="0" u="none" strike="noStrike" kern="1200" cap="none" spc="21" normalizeH="0" baseline="0" noProof="0" dirty="0">
              <a:ln>
                <a:noFill/>
              </a:ln>
              <a:solidFill>
                <a:srgbClr val="DE6614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</p:txBody>
      </p:sp>
      <p:sp>
        <p:nvSpPr>
          <p:cNvPr id="28" name="object 28"/>
          <p:cNvSpPr txBox="1"/>
          <p:nvPr/>
        </p:nvSpPr>
        <p:spPr>
          <a:xfrm>
            <a:off x="-501637" y="4354352"/>
            <a:ext cx="5090905" cy="1553973"/>
          </a:xfrm>
          <a:prstGeom prst="rect">
            <a:avLst/>
          </a:prstGeom>
        </p:spPr>
        <p:txBody>
          <a:bodyPr vert="horz" wrap="square" lIns="0" tIns="8086" rIns="0" bIns="0" rtlCol="0">
            <a:spAutoFit/>
          </a:bodyPr>
          <a:lstStyle/>
          <a:p>
            <a:pPr marL="7701" marR="0" lvl="0" indent="0" algn="l" defTabSz="554492" rtl="0" eaLnBrk="1" fontAlgn="auto" latinLnBrk="0" hangingPunct="1">
              <a:lnSpc>
                <a:spcPct val="100000"/>
              </a:lnSpc>
              <a:spcBef>
                <a:spcPts val="64"/>
              </a:spcBef>
              <a:spcAft>
                <a:spcPts val="0"/>
              </a:spcAft>
              <a:buClrTx/>
              <a:buSzTx/>
              <a:buFontTx/>
              <a:buNone/>
              <a:tabLst>
                <a:tab pos="2609194" algn="l"/>
                <a:tab pos="4524117" algn="l"/>
              </a:tabLst>
              <a:defRPr/>
            </a:pPr>
            <a:r>
              <a:rPr kumimoji="0" lang="ru-RU" sz="1395" b="1" i="0" u="none" strike="noStrike" kern="1200" cap="none" spc="18" normalizeH="0" baseline="0" noProof="0" dirty="0">
                <a:ln>
                  <a:noFill/>
                </a:ln>
                <a:solidFill>
                  <a:srgbClr val="1D4067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	</a:t>
            </a:r>
            <a:endParaRPr kumimoji="0" lang="az-Latn-AZ" sz="1395" b="1" i="0" u="heavy" strike="noStrike" kern="1200" cap="none" spc="18" normalizeH="0" baseline="0" noProof="0" dirty="0">
              <a:ln>
                <a:noFill/>
              </a:ln>
              <a:solidFill>
                <a:srgbClr val="1D4067"/>
              </a:solidFill>
              <a:effectLst/>
              <a:uLnTx/>
              <a:uFill>
                <a:solidFill>
                  <a:srgbClr val="FFFFFF"/>
                </a:solidFill>
              </a:uFill>
              <a:latin typeface="Calibri"/>
              <a:ea typeface="+mn-ea"/>
              <a:cs typeface="Calibri"/>
            </a:endParaRPr>
          </a:p>
          <a:p>
            <a:pPr marL="7701" marR="0" lvl="0" indent="0" algn="ctr" defTabSz="554492" rtl="0" eaLnBrk="1" fontAlgn="auto" latinLnBrk="0" hangingPunct="1">
              <a:lnSpc>
                <a:spcPct val="100000"/>
              </a:lnSpc>
              <a:spcBef>
                <a:spcPts val="64"/>
              </a:spcBef>
              <a:spcAft>
                <a:spcPts val="0"/>
              </a:spcAft>
              <a:buClrTx/>
              <a:buSzTx/>
              <a:buFontTx/>
              <a:buNone/>
              <a:tabLst>
                <a:tab pos="2609194" algn="l"/>
                <a:tab pos="4524117" algn="l"/>
              </a:tabLst>
              <a:defRPr/>
            </a:pPr>
            <a:r>
              <a:rPr kumimoji="0" lang="it-IT" sz="2800" b="1" i="0" u="none" strike="noStrike" kern="1200" cap="none" spc="0" normalizeH="0" baseline="0" noProof="0" dirty="0">
                <a:ln>
                  <a:noFill/>
                </a:ln>
                <a:solidFill>
                  <a:srgbClr val="4F81BD">
                    <a:lumMod val="50000"/>
                  </a:srgbClr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B1,B2,B3, </a:t>
            </a:r>
            <a:endParaRPr kumimoji="0" lang="az-Latn-AZ" sz="2800" b="1" i="0" u="none" strike="noStrike" kern="1200" cap="none" spc="0" normalizeH="0" baseline="0" noProof="0" dirty="0">
              <a:ln>
                <a:noFill/>
              </a:ln>
              <a:solidFill>
                <a:srgbClr val="4F81BD">
                  <a:lumMod val="50000"/>
                </a:srgbClr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  <a:p>
            <a:pPr marL="7701" marR="0" lvl="0" indent="0" algn="ctr" defTabSz="554492" rtl="0" eaLnBrk="1" fontAlgn="auto" latinLnBrk="0" hangingPunct="1">
              <a:lnSpc>
                <a:spcPct val="100000"/>
              </a:lnSpc>
              <a:spcBef>
                <a:spcPts val="64"/>
              </a:spcBef>
              <a:spcAft>
                <a:spcPts val="0"/>
              </a:spcAft>
              <a:buClrTx/>
              <a:buSzTx/>
              <a:buFontTx/>
              <a:buNone/>
              <a:tabLst>
                <a:tab pos="2609194" algn="l"/>
                <a:tab pos="4524117" algn="l"/>
              </a:tabLst>
              <a:defRPr/>
            </a:pPr>
            <a:r>
              <a:rPr kumimoji="0" lang="it-IT" sz="2800" b="1" i="0" u="none" strike="noStrike" kern="1200" cap="none" spc="0" normalizeH="0" baseline="0" noProof="0" dirty="0">
                <a:ln>
                  <a:noFill/>
                </a:ln>
                <a:solidFill>
                  <a:srgbClr val="4F81BD">
                    <a:lumMod val="50000"/>
                  </a:srgbClr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fol turşusu</a:t>
            </a:r>
            <a:r>
              <a:rPr kumimoji="0" lang="az-Latn-AZ" sz="2800" b="1" i="0" u="none" strike="noStrike" kern="1200" cap="none" spc="0" normalizeH="0" baseline="0" noProof="0" dirty="0">
                <a:ln>
                  <a:noFill/>
                </a:ln>
                <a:solidFill>
                  <a:srgbClr val="4F81BD">
                    <a:lumMod val="50000"/>
                  </a:srgbClr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, </a:t>
            </a:r>
            <a:r>
              <a:rPr kumimoji="0" lang="it-IT" sz="2800" b="1" i="0" u="none" strike="noStrike" kern="1200" cap="none" spc="0" normalizeH="0" baseline="0" noProof="0" dirty="0">
                <a:ln>
                  <a:noFill/>
                </a:ln>
                <a:solidFill>
                  <a:srgbClr val="4F81BD">
                    <a:lumMod val="50000"/>
                  </a:srgbClr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PP, K, C</a:t>
            </a:r>
            <a:endParaRPr kumimoji="0" lang="az-Latn-AZ" sz="2800" b="1" i="0" u="none" strike="noStrike" kern="1200" cap="none" spc="0" normalizeH="0" baseline="0" noProof="0" dirty="0">
              <a:ln>
                <a:noFill/>
              </a:ln>
              <a:solidFill>
                <a:srgbClr val="4F81BD">
                  <a:lumMod val="50000"/>
                </a:srgbClr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  <a:p>
            <a:pPr marL="7701" marR="0" lvl="0" indent="0" algn="ctr" defTabSz="554492" rtl="0" eaLnBrk="1" fontAlgn="auto" latinLnBrk="0" hangingPunct="1">
              <a:lnSpc>
                <a:spcPct val="100000"/>
              </a:lnSpc>
              <a:spcBef>
                <a:spcPts val="64"/>
              </a:spcBef>
              <a:spcAft>
                <a:spcPts val="0"/>
              </a:spcAft>
              <a:buClrTx/>
              <a:buSzTx/>
              <a:buFontTx/>
              <a:buNone/>
              <a:tabLst>
                <a:tab pos="2609194" algn="l"/>
                <a:tab pos="4524117" algn="l"/>
              </a:tabLst>
              <a:defRPr/>
            </a:pPr>
            <a:r>
              <a:rPr kumimoji="0" lang="it-IT" sz="2800" b="1" i="0" u="none" strike="noStrike" kern="1200" cap="none" spc="0" normalizeH="0" baseline="0" noProof="0" dirty="0">
                <a:ln>
                  <a:noFill/>
                </a:ln>
                <a:solidFill>
                  <a:srgbClr val="4F81BD">
                    <a:lumMod val="50000"/>
                  </a:srgbClr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və E vit. sintezində iştirak</a:t>
            </a:r>
            <a:endParaRPr kumimoji="0" lang="ru-RU" sz="2800" b="1" i="0" u="none" strike="noStrike" kern="1200" cap="none" spc="0" normalizeH="0" baseline="0" noProof="0" dirty="0">
              <a:ln>
                <a:noFill/>
              </a:ln>
              <a:solidFill>
                <a:srgbClr val="4F81BD">
                  <a:lumMod val="50000"/>
                </a:srgbClr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</p:txBody>
      </p:sp>
      <p:sp>
        <p:nvSpPr>
          <p:cNvPr id="29" name="object 29"/>
          <p:cNvSpPr txBox="1"/>
          <p:nvPr/>
        </p:nvSpPr>
        <p:spPr>
          <a:xfrm>
            <a:off x="9033853" y="4796874"/>
            <a:ext cx="3058728" cy="1300049"/>
          </a:xfrm>
          <a:prstGeom prst="rect">
            <a:avLst/>
          </a:prstGeom>
        </p:spPr>
        <p:txBody>
          <a:bodyPr vert="horz" wrap="square" lIns="0" tIns="7316" rIns="0" bIns="0" rtlCol="0">
            <a:spAutoFit/>
          </a:bodyPr>
          <a:lstStyle/>
          <a:p>
            <a:pPr marL="7701" marR="3081" lvl="0" indent="0" algn="ctr" defTabSz="554492" rtl="0" eaLnBrk="1" fontAlgn="auto" latinLnBrk="0" hangingPunct="1">
              <a:lnSpc>
                <a:spcPct val="100400"/>
              </a:lnSpc>
              <a:spcBef>
                <a:spcPts val="64"/>
              </a:spcBef>
              <a:spcAft>
                <a:spcPts val="0"/>
              </a:spcAft>
              <a:buClrTx/>
              <a:buSzTx/>
              <a:buFontTx/>
              <a:buNone/>
              <a:tabLst>
                <a:tab pos="2609194" algn="l"/>
                <a:tab pos="4524117" algn="l"/>
              </a:tabLst>
              <a:defRPr/>
            </a:pPr>
            <a:r>
              <a:rPr kumimoji="0" lang="az-Latn-AZ" sz="2800" b="1" i="0" u="none" strike="noStrike" kern="1200" cap="none" spc="21" normalizeH="0" baseline="0" noProof="0" dirty="0">
                <a:ln>
                  <a:noFill/>
                </a:ln>
                <a:solidFill>
                  <a:srgbClr val="DE6614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Süd</a:t>
            </a:r>
            <a:r>
              <a:rPr kumimoji="0" lang="it-IT" sz="2800" b="1" i="0" u="none" strike="noStrike" kern="1200" cap="none" spc="21" normalizeH="0" baseline="0" noProof="0" dirty="0">
                <a:ln>
                  <a:noFill/>
                </a:ln>
                <a:solidFill>
                  <a:srgbClr val="DE6614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turşunun sintezi və bağırsaq pH-nın azaldılması</a:t>
            </a:r>
            <a:endParaRPr kumimoji="0" sz="2800" b="1" i="0" u="none" strike="noStrike" kern="1200" cap="none" spc="21" normalizeH="0" baseline="0" noProof="0" dirty="0">
              <a:ln>
                <a:noFill/>
              </a:ln>
              <a:solidFill>
                <a:srgbClr val="DE6614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</p:txBody>
      </p:sp>
      <p:grpSp>
        <p:nvGrpSpPr>
          <p:cNvPr id="30" name="object 30"/>
          <p:cNvGrpSpPr/>
          <p:nvPr/>
        </p:nvGrpSpPr>
        <p:grpSpPr>
          <a:xfrm>
            <a:off x="3101138" y="1637446"/>
            <a:ext cx="6109705" cy="3868300"/>
            <a:chOff x="5044828" y="2718202"/>
            <a:chExt cx="10075355" cy="6379114"/>
          </a:xfrm>
        </p:grpSpPr>
        <p:sp>
          <p:nvSpPr>
            <p:cNvPr id="36" name="object 36"/>
            <p:cNvSpPr/>
            <p:nvPr/>
          </p:nvSpPr>
          <p:spPr>
            <a:xfrm>
              <a:off x="8198704" y="2718202"/>
              <a:ext cx="6389213" cy="502321"/>
            </a:xfrm>
            <a:custGeom>
              <a:avLst/>
              <a:gdLst/>
              <a:ahLst/>
              <a:cxnLst/>
              <a:rect l="l" t="t" r="r" b="b"/>
              <a:pathLst>
                <a:path w="3013075">
                  <a:moveTo>
                    <a:pt x="0" y="0"/>
                  </a:moveTo>
                  <a:lnTo>
                    <a:pt x="3012714" y="0"/>
                  </a:lnTo>
                </a:path>
              </a:pathLst>
            </a:custGeom>
            <a:ln w="20941">
              <a:solidFill>
                <a:srgbClr val="FFFFFF"/>
              </a:solidFill>
              <a:prstDash val="sysDash"/>
            </a:ln>
          </p:spPr>
          <p:txBody>
            <a:bodyPr wrap="square" lIns="0" tIns="0" rIns="0" bIns="0" rtlCol="0"/>
            <a:lstStyle/>
            <a:p>
              <a:pPr marL="0" marR="0" lvl="0" indent="0" algn="l" defTabSz="55449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092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7" name="object 37"/>
            <p:cNvSpPr/>
            <p:nvPr/>
          </p:nvSpPr>
          <p:spPr>
            <a:xfrm>
              <a:off x="8198703" y="3563598"/>
              <a:ext cx="0" cy="76200"/>
            </a:xfrm>
            <a:custGeom>
              <a:avLst/>
              <a:gdLst/>
              <a:ahLst/>
              <a:cxnLst/>
              <a:rect l="l" t="t" r="r" b="b"/>
              <a:pathLst>
                <a:path h="76200">
                  <a:moveTo>
                    <a:pt x="0" y="0"/>
                  </a:moveTo>
                  <a:lnTo>
                    <a:pt x="0" y="75913"/>
                  </a:lnTo>
                </a:path>
              </a:pathLst>
            </a:custGeom>
            <a:ln w="20941">
              <a:solidFill>
                <a:srgbClr val="FFFFFF"/>
              </a:solidFill>
              <a:prstDash val="sysDash"/>
            </a:ln>
          </p:spPr>
          <p:txBody>
            <a:bodyPr wrap="square" lIns="0" tIns="0" rIns="0" bIns="0" rtlCol="0"/>
            <a:lstStyle/>
            <a:p>
              <a:pPr marL="0" marR="0" lvl="0" indent="0" algn="l" defTabSz="55449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092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9" name="object 39"/>
            <p:cNvSpPr/>
            <p:nvPr/>
          </p:nvSpPr>
          <p:spPr>
            <a:xfrm>
              <a:off x="8198707" y="3657836"/>
              <a:ext cx="0" cy="29209"/>
            </a:xfrm>
            <a:custGeom>
              <a:avLst/>
              <a:gdLst/>
              <a:ahLst/>
              <a:cxnLst/>
              <a:rect l="l" t="t" r="r" b="b"/>
              <a:pathLst>
                <a:path h="29210">
                  <a:moveTo>
                    <a:pt x="-10470" y="14397"/>
                  </a:moveTo>
                  <a:lnTo>
                    <a:pt x="10470" y="14397"/>
                  </a:lnTo>
                </a:path>
              </a:pathLst>
            </a:custGeom>
            <a:ln w="28794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55449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092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1" name="object 41"/>
            <p:cNvSpPr/>
            <p:nvPr/>
          </p:nvSpPr>
          <p:spPr>
            <a:xfrm>
              <a:off x="5198273" y="4094975"/>
              <a:ext cx="1527809" cy="0"/>
            </a:xfrm>
            <a:custGeom>
              <a:avLst/>
              <a:gdLst/>
              <a:ahLst/>
              <a:cxnLst/>
              <a:rect l="l" t="t" r="r" b="b"/>
              <a:pathLst>
                <a:path w="1527809">
                  <a:moveTo>
                    <a:pt x="0" y="0"/>
                  </a:moveTo>
                  <a:lnTo>
                    <a:pt x="1527586" y="0"/>
                  </a:lnTo>
                </a:path>
              </a:pathLst>
            </a:custGeom>
            <a:ln w="20941">
              <a:solidFill>
                <a:srgbClr val="FFFFFF"/>
              </a:solidFill>
              <a:prstDash val="sysDash"/>
            </a:ln>
          </p:spPr>
          <p:txBody>
            <a:bodyPr wrap="square" lIns="0" tIns="0" rIns="0" bIns="0" rtlCol="0"/>
            <a:lstStyle/>
            <a:p>
              <a:pPr marL="0" marR="0" lvl="0" indent="0" algn="l" defTabSz="55449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092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2" name="object 42"/>
            <p:cNvSpPr/>
            <p:nvPr/>
          </p:nvSpPr>
          <p:spPr>
            <a:xfrm>
              <a:off x="6672882" y="5618508"/>
              <a:ext cx="0" cy="396240"/>
            </a:xfrm>
            <a:custGeom>
              <a:avLst/>
              <a:gdLst/>
              <a:ahLst/>
              <a:cxnLst/>
              <a:rect l="l" t="t" r="r" b="b"/>
              <a:pathLst>
                <a:path h="396239">
                  <a:moveTo>
                    <a:pt x="0" y="0"/>
                  </a:moveTo>
                  <a:lnTo>
                    <a:pt x="0" y="395673"/>
                  </a:lnTo>
                </a:path>
              </a:pathLst>
            </a:custGeom>
            <a:ln w="20941">
              <a:solidFill>
                <a:srgbClr val="FFFFFF"/>
              </a:solidFill>
              <a:prstDash val="sysDash"/>
            </a:ln>
          </p:spPr>
          <p:txBody>
            <a:bodyPr wrap="square" lIns="0" tIns="0" rIns="0" bIns="0" rtlCol="0"/>
            <a:lstStyle/>
            <a:p>
              <a:pPr marL="0" marR="0" lvl="0" indent="0" algn="l" defTabSz="55449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092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4" name="object 44"/>
            <p:cNvSpPr/>
            <p:nvPr/>
          </p:nvSpPr>
          <p:spPr>
            <a:xfrm>
              <a:off x="6711841" y="6076064"/>
              <a:ext cx="0" cy="31750"/>
            </a:xfrm>
            <a:custGeom>
              <a:avLst/>
              <a:gdLst/>
              <a:ahLst/>
              <a:cxnLst/>
              <a:rect l="l" t="t" r="r" b="b"/>
              <a:pathLst>
                <a:path h="31750">
                  <a:moveTo>
                    <a:pt x="-10470" y="15638"/>
                  </a:moveTo>
                  <a:lnTo>
                    <a:pt x="10470" y="15638"/>
                  </a:lnTo>
                </a:path>
              </a:pathLst>
            </a:custGeom>
            <a:ln w="31276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55449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092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5" name="object 45"/>
            <p:cNvSpPr/>
            <p:nvPr/>
          </p:nvSpPr>
          <p:spPr>
            <a:xfrm>
              <a:off x="5044828" y="4052643"/>
              <a:ext cx="1735454" cy="604519"/>
            </a:xfrm>
            <a:custGeom>
              <a:avLst/>
              <a:gdLst/>
              <a:ahLst/>
              <a:cxnLst/>
              <a:rect l="l" t="t" r="r" b="b"/>
              <a:pathLst>
                <a:path w="1735454" h="604520">
                  <a:moveTo>
                    <a:pt x="83756" y="41884"/>
                  </a:moveTo>
                  <a:lnTo>
                    <a:pt x="80467" y="25590"/>
                  </a:lnTo>
                  <a:lnTo>
                    <a:pt x="71488" y="12268"/>
                  </a:lnTo>
                  <a:lnTo>
                    <a:pt x="58178" y="3302"/>
                  </a:lnTo>
                  <a:lnTo>
                    <a:pt x="41884" y="0"/>
                  </a:lnTo>
                  <a:lnTo>
                    <a:pt x="25577" y="3302"/>
                  </a:lnTo>
                  <a:lnTo>
                    <a:pt x="12268" y="12268"/>
                  </a:lnTo>
                  <a:lnTo>
                    <a:pt x="3289" y="25590"/>
                  </a:lnTo>
                  <a:lnTo>
                    <a:pt x="0" y="41884"/>
                  </a:lnTo>
                  <a:lnTo>
                    <a:pt x="3289" y="58191"/>
                  </a:lnTo>
                  <a:lnTo>
                    <a:pt x="12268" y="71501"/>
                  </a:lnTo>
                  <a:lnTo>
                    <a:pt x="25577" y="80479"/>
                  </a:lnTo>
                  <a:lnTo>
                    <a:pt x="41884" y="83769"/>
                  </a:lnTo>
                  <a:lnTo>
                    <a:pt x="58178" y="80479"/>
                  </a:lnTo>
                  <a:lnTo>
                    <a:pt x="71488" y="71501"/>
                  </a:lnTo>
                  <a:lnTo>
                    <a:pt x="80467" y="58191"/>
                  </a:lnTo>
                  <a:lnTo>
                    <a:pt x="83756" y="41884"/>
                  </a:lnTo>
                  <a:close/>
                </a:path>
                <a:path w="1735454" h="604520">
                  <a:moveTo>
                    <a:pt x="1735137" y="562470"/>
                  </a:moveTo>
                  <a:lnTo>
                    <a:pt x="1731835" y="546163"/>
                  </a:lnTo>
                  <a:lnTo>
                    <a:pt x="1722869" y="532853"/>
                  </a:lnTo>
                  <a:lnTo>
                    <a:pt x="1709547" y="523875"/>
                  </a:lnTo>
                  <a:lnTo>
                    <a:pt x="1693252" y="520585"/>
                  </a:lnTo>
                  <a:lnTo>
                    <a:pt x="1676946" y="523875"/>
                  </a:lnTo>
                  <a:lnTo>
                    <a:pt x="1663636" y="532853"/>
                  </a:lnTo>
                  <a:lnTo>
                    <a:pt x="1654657" y="546163"/>
                  </a:lnTo>
                  <a:lnTo>
                    <a:pt x="1651368" y="562470"/>
                  </a:lnTo>
                  <a:lnTo>
                    <a:pt x="1654657" y="578764"/>
                  </a:lnTo>
                  <a:lnTo>
                    <a:pt x="1663636" y="592086"/>
                  </a:lnTo>
                  <a:lnTo>
                    <a:pt x="1676946" y="601065"/>
                  </a:lnTo>
                  <a:lnTo>
                    <a:pt x="1693252" y="604354"/>
                  </a:lnTo>
                  <a:lnTo>
                    <a:pt x="1709547" y="601065"/>
                  </a:lnTo>
                  <a:lnTo>
                    <a:pt x="1722869" y="592086"/>
                  </a:lnTo>
                  <a:lnTo>
                    <a:pt x="1731835" y="578764"/>
                  </a:lnTo>
                  <a:lnTo>
                    <a:pt x="1735137" y="56247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pPr marL="0" marR="0" lvl="0" indent="0" algn="l" defTabSz="55449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092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6" name="object 46"/>
            <p:cNvSpPr/>
            <p:nvPr/>
          </p:nvSpPr>
          <p:spPr>
            <a:xfrm>
              <a:off x="8345295" y="7899731"/>
              <a:ext cx="0" cy="366395"/>
            </a:xfrm>
            <a:custGeom>
              <a:avLst/>
              <a:gdLst/>
              <a:ahLst/>
              <a:cxnLst/>
              <a:rect l="l" t="t" r="r" b="b"/>
              <a:pathLst>
                <a:path h="366395">
                  <a:moveTo>
                    <a:pt x="0" y="0"/>
                  </a:moveTo>
                  <a:lnTo>
                    <a:pt x="0" y="366051"/>
                  </a:lnTo>
                </a:path>
              </a:pathLst>
            </a:custGeom>
            <a:ln w="20941">
              <a:solidFill>
                <a:srgbClr val="FFFFFF"/>
              </a:solidFill>
              <a:prstDash val="sysDash"/>
            </a:ln>
          </p:spPr>
          <p:txBody>
            <a:bodyPr wrap="square" lIns="0" tIns="0" rIns="0" bIns="0" rtlCol="0"/>
            <a:lstStyle/>
            <a:p>
              <a:pPr marL="0" marR="0" lvl="0" indent="0" algn="l" defTabSz="55449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092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8" name="object 48"/>
            <p:cNvSpPr/>
            <p:nvPr/>
          </p:nvSpPr>
          <p:spPr>
            <a:xfrm>
              <a:off x="8345299" y="8284592"/>
              <a:ext cx="0" cy="29845"/>
            </a:xfrm>
            <a:custGeom>
              <a:avLst/>
              <a:gdLst/>
              <a:ahLst/>
              <a:cxnLst/>
              <a:rect l="l" t="t" r="r" b="b"/>
              <a:pathLst>
                <a:path h="29845">
                  <a:moveTo>
                    <a:pt x="-10470" y="14643"/>
                  </a:moveTo>
                  <a:lnTo>
                    <a:pt x="10470" y="14643"/>
                  </a:lnTo>
                </a:path>
              </a:pathLst>
            </a:custGeom>
            <a:ln w="29287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55449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092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9" name="object 49"/>
            <p:cNvSpPr/>
            <p:nvPr/>
          </p:nvSpPr>
          <p:spPr>
            <a:xfrm>
              <a:off x="5439252" y="7786741"/>
              <a:ext cx="3042431" cy="524864"/>
            </a:xfrm>
            <a:custGeom>
              <a:avLst/>
              <a:gdLst/>
              <a:ahLst/>
              <a:cxnLst/>
              <a:rect l="l" t="t" r="r" b="b"/>
              <a:pathLst>
                <a:path w="3368675" h="565150">
                  <a:moveTo>
                    <a:pt x="83756" y="41884"/>
                  </a:moveTo>
                  <a:lnTo>
                    <a:pt x="80467" y="25590"/>
                  </a:lnTo>
                  <a:lnTo>
                    <a:pt x="71488" y="12268"/>
                  </a:lnTo>
                  <a:lnTo>
                    <a:pt x="58178" y="3302"/>
                  </a:lnTo>
                  <a:lnTo>
                    <a:pt x="41884" y="0"/>
                  </a:lnTo>
                  <a:lnTo>
                    <a:pt x="25577" y="3302"/>
                  </a:lnTo>
                  <a:lnTo>
                    <a:pt x="12268" y="12268"/>
                  </a:lnTo>
                  <a:lnTo>
                    <a:pt x="3289" y="25590"/>
                  </a:lnTo>
                  <a:lnTo>
                    <a:pt x="0" y="41884"/>
                  </a:lnTo>
                  <a:lnTo>
                    <a:pt x="3289" y="58191"/>
                  </a:lnTo>
                  <a:lnTo>
                    <a:pt x="12268" y="71501"/>
                  </a:lnTo>
                  <a:lnTo>
                    <a:pt x="25577" y="80479"/>
                  </a:lnTo>
                  <a:lnTo>
                    <a:pt x="41884" y="83769"/>
                  </a:lnTo>
                  <a:lnTo>
                    <a:pt x="58178" y="80479"/>
                  </a:lnTo>
                  <a:lnTo>
                    <a:pt x="71488" y="71501"/>
                  </a:lnTo>
                  <a:lnTo>
                    <a:pt x="80467" y="58191"/>
                  </a:lnTo>
                  <a:lnTo>
                    <a:pt x="83756" y="41884"/>
                  </a:lnTo>
                  <a:close/>
                </a:path>
                <a:path w="3368675" h="565150">
                  <a:moveTo>
                    <a:pt x="3368586" y="522960"/>
                  </a:moveTo>
                  <a:lnTo>
                    <a:pt x="3365296" y="506666"/>
                  </a:lnTo>
                  <a:lnTo>
                    <a:pt x="3356318" y="493356"/>
                  </a:lnTo>
                  <a:lnTo>
                    <a:pt x="3343008" y="484378"/>
                  </a:lnTo>
                  <a:lnTo>
                    <a:pt x="3326701" y="481088"/>
                  </a:lnTo>
                  <a:lnTo>
                    <a:pt x="3310407" y="484378"/>
                  </a:lnTo>
                  <a:lnTo>
                    <a:pt x="3297085" y="493356"/>
                  </a:lnTo>
                  <a:lnTo>
                    <a:pt x="3288119" y="506666"/>
                  </a:lnTo>
                  <a:lnTo>
                    <a:pt x="3284817" y="522960"/>
                  </a:lnTo>
                  <a:lnTo>
                    <a:pt x="3288119" y="539267"/>
                  </a:lnTo>
                  <a:lnTo>
                    <a:pt x="3297085" y="552589"/>
                  </a:lnTo>
                  <a:lnTo>
                    <a:pt x="3310407" y="561555"/>
                  </a:lnTo>
                  <a:lnTo>
                    <a:pt x="3326701" y="564845"/>
                  </a:lnTo>
                  <a:lnTo>
                    <a:pt x="3343008" y="561555"/>
                  </a:lnTo>
                  <a:lnTo>
                    <a:pt x="3356318" y="552589"/>
                  </a:lnTo>
                  <a:lnTo>
                    <a:pt x="3365296" y="539267"/>
                  </a:lnTo>
                  <a:lnTo>
                    <a:pt x="3368586" y="52296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pPr marL="0" marR="0" lvl="0" indent="0" algn="l" defTabSz="55449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092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7" name="object 57"/>
            <p:cNvSpPr/>
            <p:nvPr/>
          </p:nvSpPr>
          <p:spPr>
            <a:xfrm>
              <a:off x="12753538" y="6617599"/>
              <a:ext cx="2366645" cy="31115"/>
            </a:xfrm>
            <a:custGeom>
              <a:avLst/>
              <a:gdLst/>
              <a:ahLst/>
              <a:cxnLst/>
              <a:rect l="l" t="t" r="r" b="b"/>
              <a:pathLst>
                <a:path w="2366644" h="31115">
                  <a:moveTo>
                    <a:pt x="2366420" y="0"/>
                  </a:moveTo>
                  <a:lnTo>
                    <a:pt x="2335457" y="0"/>
                  </a:lnTo>
                </a:path>
                <a:path w="2366644" h="31115">
                  <a:moveTo>
                    <a:pt x="30962" y="0"/>
                  </a:moveTo>
                  <a:lnTo>
                    <a:pt x="0" y="0"/>
                  </a:lnTo>
                  <a:lnTo>
                    <a:pt x="0" y="30627"/>
                  </a:lnTo>
                </a:path>
              </a:pathLst>
            </a:custGeom>
            <a:ln w="20941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55449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092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8" name="object 58"/>
            <p:cNvSpPr/>
            <p:nvPr/>
          </p:nvSpPr>
          <p:spPr>
            <a:xfrm>
              <a:off x="12753538" y="7602637"/>
              <a:ext cx="0" cy="31115"/>
            </a:xfrm>
            <a:custGeom>
              <a:avLst/>
              <a:gdLst/>
              <a:ahLst/>
              <a:cxnLst/>
              <a:rect l="l" t="t" r="r" b="b"/>
              <a:pathLst>
                <a:path h="31115">
                  <a:moveTo>
                    <a:pt x="-10470" y="15318"/>
                  </a:moveTo>
                  <a:lnTo>
                    <a:pt x="10470" y="15318"/>
                  </a:lnTo>
                </a:path>
              </a:pathLst>
            </a:custGeom>
            <a:ln w="30637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55449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092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0" name="object 60"/>
            <p:cNvSpPr/>
            <p:nvPr/>
          </p:nvSpPr>
          <p:spPr>
            <a:xfrm>
              <a:off x="12365727" y="8282467"/>
              <a:ext cx="2354244" cy="75394"/>
            </a:xfrm>
            <a:custGeom>
              <a:avLst/>
              <a:gdLst/>
              <a:ahLst/>
              <a:cxnLst/>
              <a:rect l="l" t="t" r="r" b="b"/>
              <a:pathLst>
                <a:path w="2681605">
                  <a:moveTo>
                    <a:pt x="2681520" y="0"/>
                  </a:moveTo>
                  <a:lnTo>
                    <a:pt x="0" y="0"/>
                  </a:lnTo>
                </a:path>
              </a:pathLst>
            </a:custGeom>
            <a:ln w="20941">
              <a:solidFill>
                <a:srgbClr val="FFFFFF"/>
              </a:solidFill>
              <a:prstDash val="sysDash"/>
            </a:ln>
          </p:spPr>
          <p:txBody>
            <a:bodyPr wrap="square" lIns="0" tIns="0" rIns="0" bIns="0" rtlCol="0"/>
            <a:lstStyle/>
            <a:p>
              <a:pPr marL="0" marR="0" lvl="0" indent="0" algn="l" defTabSz="55449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092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1" name="object 61"/>
            <p:cNvSpPr/>
            <p:nvPr/>
          </p:nvSpPr>
          <p:spPr>
            <a:xfrm>
              <a:off x="12313761" y="8361001"/>
              <a:ext cx="0" cy="647700"/>
            </a:xfrm>
            <a:custGeom>
              <a:avLst/>
              <a:gdLst/>
              <a:ahLst/>
              <a:cxnLst/>
              <a:rect l="l" t="t" r="r" b="b"/>
              <a:pathLst>
                <a:path h="647700">
                  <a:moveTo>
                    <a:pt x="0" y="0"/>
                  </a:moveTo>
                  <a:lnTo>
                    <a:pt x="0" y="647467"/>
                  </a:lnTo>
                </a:path>
              </a:pathLst>
            </a:custGeom>
            <a:ln w="20941">
              <a:solidFill>
                <a:srgbClr val="FFFFFF"/>
              </a:solidFill>
              <a:prstDash val="sysDash"/>
            </a:ln>
          </p:spPr>
          <p:txBody>
            <a:bodyPr wrap="square" lIns="0" tIns="0" rIns="0" bIns="0" rtlCol="0"/>
            <a:lstStyle/>
            <a:p>
              <a:pPr marL="0" marR="0" lvl="0" indent="0" algn="l" defTabSz="55449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092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3" name="object 63"/>
            <p:cNvSpPr/>
            <p:nvPr/>
          </p:nvSpPr>
          <p:spPr>
            <a:xfrm>
              <a:off x="12313761" y="9031148"/>
              <a:ext cx="0" cy="33655"/>
            </a:xfrm>
            <a:custGeom>
              <a:avLst/>
              <a:gdLst/>
              <a:ahLst/>
              <a:cxnLst/>
              <a:rect l="l" t="t" r="r" b="b"/>
              <a:pathLst>
                <a:path h="33654">
                  <a:moveTo>
                    <a:pt x="-10470" y="16580"/>
                  </a:moveTo>
                  <a:lnTo>
                    <a:pt x="10470" y="16580"/>
                  </a:lnTo>
                </a:path>
              </a:pathLst>
            </a:custGeom>
            <a:ln w="33161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55449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092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4" name="object 64"/>
            <p:cNvSpPr/>
            <p:nvPr/>
          </p:nvSpPr>
          <p:spPr>
            <a:xfrm>
              <a:off x="11937793" y="8231176"/>
              <a:ext cx="2890520" cy="866140"/>
            </a:xfrm>
            <a:custGeom>
              <a:avLst/>
              <a:gdLst/>
              <a:ahLst/>
              <a:cxnLst/>
              <a:rect l="l" t="t" r="r" b="b"/>
              <a:pathLst>
                <a:path w="2890519" h="866140">
                  <a:moveTo>
                    <a:pt x="83769" y="823722"/>
                  </a:moveTo>
                  <a:lnTo>
                    <a:pt x="80479" y="807427"/>
                  </a:lnTo>
                  <a:lnTo>
                    <a:pt x="71501" y="794105"/>
                  </a:lnTo>
                  <a:lnTo>
                    <a:pt x="58191" y="785126"/>
                  </a:lnTo>
                  <a:lnTo>
                    <a:pt x="41884" y="781837"/>
                  </a:lnTo>
                  <a:lnTo>
                    <a:pt x="25577" y="785126"/>
                  </a:lnTo>
                  <a:lnTo>
                    <a:pt x="12268" y="794105"/>
                  </a:lnTo>
                  <a:lnTo>
                    <a:pt x="3289" y="807427"/>
                  </a:lnTo>
                  <a:lnTo>
                    <a:pt x="0" y="823722"/>
                  </a:lnTo>
                  <a:lnTo>
                    <a:pt x="3289" y="840028"/>
                  </a:lnTo>
                  <a:lnTo>
                    <a:pt x="12268" y="853338"/>
                  </a:lnTo>
                  <a:lnTo>
                    <a:pt x="25577" y="862317"/>
                  </a:lnTo>
                  <a:lnTo>
                    <a:pt x="41884" y="865606"/>
                  </a:lnTo>
                  <a:lnTo>
                    <a:pt x="58191" y="862317"/>
                  </a:lnTo>
                  <a:lnTo>
                    <a:pt x="71501" y="853338"/>
                  </a:lnTo>
                  <a:lnTo>
                    <a:pt x="80479" y="840028"/>
                  </a:lnTo>
                  <a:lnTo>
                    <a:pt x="83769" y="823722"/>
                  </a:lnTo>
                  <a:close/>
                </a:path>
                <a:path w="2890519" h="866140">
                  <a:moveTo>
                    <a:pt x="2889961" y="41884"/>
                  </a:moveTo>
                  <a:lnTo>
                    <a:pt x="2886672" y="25577"/>
                  </a:lnTo>
                  <a:lnTo>
                    <a:pt x="2877693" y="12268"/>
                  </a:lnTo>
                  <a:lnTo>
                    <a:pt x="2864383" y="3289"/>
                  </a:lnTo>
                  <a:lnTo>
                    <a:pt x="2848076" y="0"/>
                  </a:lnTo>
                  <a:lnTo>
                    <a:pt x="2831782" y="3289"/>
                  </a:lnTo>
                  <a:lnTo>
                    <a:pt x="2818460" y="12268"/>
                  </a:lnTo>
                  <a:lnTo>
                    <a:pt x="2809494" y="25577"/>
                  </a:lnTo>
                  <a:lnTo>
                    <a:pt x="2806192" y="41884"/>
                  </a:lnTo>
                  <a:lnTo>
                    <a:pt x="2809494" y="58191"/>
                  </a:lnTo>
                  <a:lnTo>
                    <a:pt x="2818460" y="71501"/>
                  </a:lnTo>
                  <a:lnTo>
                    <a:pt x="2831782" y="80479"/>
                  </a:lnTo>
                  <a:lnTo>
                    <a:pt x="2848076" y="83769"/>
                  </a:lnTo>
                  <a:lnTo>
                    <a:pt x="2864383" y="80479"/>
                  </a:lnTo>
                  <a:lnTo>
                    <a:pt x="2877693" y="71501"/>
                  </a:lnTo>
                  <a:lnTo>
                    <a:pt x="2886672" y="58191"/>
                  </a:lnTo>
                  <a:lnTo>
                    <a:pt x="2889961" y="41884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pPr marL="0" marR="0" lvl="0" indent="0" algn="l" defTabSz="55449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092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68" name="object 68"/>
          <p:cNvGrpSpPr/>
          <p:nvPr/>
        </p:nvGrpSpPr>
        <p:grpSpPr>
          <a:xfrm>
            <a:off x="10203309" y="452131"/>
            <a:ext cx="752031" cy="507900"/>
            <a:chOff x="16825307" y="745597"/>
            <a:chExt cx="1240155" cy="837565"/>
          </a:xfrm>
        </p:grpSpPr>
        <p:sp>
          <p:nvSpPr>
            <p:cNvPr id="69" name="object 69"/>
            <p:cNvSpPr/>
            <p:nvPr/>
          </p:nvSpPr>
          <p:spPr>
            <a:xfrm>
              <a:off x="17139943" y="1298248"/>
              <a:ext cx="226060" cy="285115"/>
            </a:xfrm>
            <a:custGeom>
              <a:avLst/>
              <a:gdLst/>
              <a:ahLst/>
              <a:cxnLst/>
              <a:rect l="l" t="t" r="r" b="b"/>
              <a:pathLst>
                <a:path w="226059" h="285115">
                  <a:moveTo>
                    <a:pt x="130519" y="206087"/>
                  </a:moveTo>
                  <a:lnTo>
                    <a:pt x="95358" y="206087"/>
                  </a:lnTo>
                  <a:lnTo>
                    <a:pt x="95358" y="283331"/>
                  </a:lnTo>
                  <a:lnTo>
                    <a:pt x="96939" y="284912"/>
                  </a:lnTo>
                  <a:lnTo>
                    <a:pt x="128299" y="284912"/>
                  </a:lnTo>
                  <a:lnTo>
                    <a:pt x="130519" y="283331"/>
                  </a:lnTo>
                  <a:lnTo>
                    <a:pt x="130519" y="206087"/>
                  </a:lnTo>
                  <a:close/>
                </a:path>
                <a:path w="226059" h="285115">
                  <a:moveTo>
                    <a:pt x="63683" y="62050"/>
                  </a:moveTo>
                  <a:lnTo>
                    <a:pt x="55443" y="62050"/>
                  </a:lnTo>
                  <a:lnTo>
                    <a:pt x="32211" y="66239"/>
                  </a:lnTo>
                  <a:lnTo>
                    <a:pt x="14771" y="77996"/>
                  </a:lnTo>
                  <a:lnTo>
                    <a:pt x="3806" y="96104"/>
                  </a:lnTo>
                  <a:lnTo>
                    <a:pt x="0" y="119347"/>
                  </a:lnTo>
                  <a:lnTo>
                    <a:pt x="0" y="166518"/>
                  </a:lnTo>
                  <a:lnTo>
                    <a:pt x="3806" y="189530"/>
                  </a:lnTo>
                  <a:lnTo>
                    <a:pt x="14771" y="207437"/>
                  </a:lnTo>
                  <a:lnTo>
                    <a:pt x="32211" y="219051"/>
                  </a:lnTo>
                  <a:lnTo>
                    <a:pt x="55443" y="223186"/>
                  </a:lnTo>
                  <a:lnTo>
                    <a:pt x="63683" y="223186"/>
                  </a:lnTo>
                  <a:lnTo>
                    <a:pt x="74643" y="221894"/>
                  </a:lnTo>
                  <a:lnTo>
                    <a:pt x="83439" y="218316"/>
                  </a:lnTo>
                  <a:lnTo>
                    <a:pt x="90276" y="212898"/>
                  </a:lnTo>
                  <a:lnTo>
                    <a:pt x="95358" y="206087"/>
                  </a:lnTo>
                  <a:lnTo>
                    <a:pt x="211926" y="206087"/>
                  </a:lnTo>
                  <a:lnTo>
                    <a:pt x="220842" y="191522"/>
                  </a:lnTo>
                  <a:lnTo>
                    <a:pt x="55757" y="191522"/>
                  </a:lnTo>
                  <a:lnTo>
                    <a:pt x="47332" y="190256"/>
                  </a:lnTo>
                  <a:lnTo>
                    <a:pt x="40835" y="186377"/>
                  </a:lnTo>
                  <a:lnTo>
                    <a:pt x="36652" y="179768"/>
                  </a:lnTo>
                  <a:lnTo>
                    <a:pt x="35171" y="170308"/>
                  </a:lnTo>
                  <a:lnTo>
                    <a:pt x="35171" y="114917"/>
                  </a:lnTo>
                  <a:lnTo>
                    <a:pt x="36652" y="105193"/>
                  </a:lnTo>
                  <a:lnTo>
                    <a:pt x="40835" y="98613"/>
                  </a:lnTo>
                  <a:lnTo>
                    <a:pt x="47332" y="94882"/>
                  </a:lnTo>
                  <a:lnTo>
                    <a:pt x="55757" y="93703"/>
                  </a:lnTo>
                  <a:lnTo>
                    <a:pt x="220609" y="93703"/>
                  </a:lnTo>
                  <a:lnTo>
                    <a:pt x="211100" y="77996"/>
                  </a:lnTo>
                  <a:lnTo>
                    <a:pt x="210916" y="77871"/>
                  </a:lnTo>
                  <a:lnTo>
                    <a:pt x="95358" y="77871"/>
                  </a:lnTo>
                  <a:lnTo>
                    <a:pt x="90276" y="71530"/>
                  </a:lnTo>
                  <a:lnTo>
                    <a:pt x="83439" y="66521"/>
                  </a:lnTo>
                  <a:lnTo>
                    <a:pt x="74643" y="63232"/>
                  </a:lnTo>
                  <a:lnTo>
                    <a:pt x="63683" y="62050"/>
                  </a:lnTo>
                  <a:close/>
                </a:path>
                <a:path w="226059" h="285115">
                  <a:moveTo>
                    <a:pt x="211926" y="206087"/>
                  </a:moveTo>
                  <a:lnTo>
                    <a:pt x="130519" y="206087"/>
                  </a:lnTo>
                  <a:lnTo>
                    <a:pt x="135601" y="212898"/>
                  </a:lnTo>
                  <a:lnTo>
                    <a:pt x="142438" y="218316"/>
                  </a:lnTo>
                  <a:lnTo>
                    <a:pt x="151234" y="221894"/>
                  </a:lnTo>
                  <a:lnTo>
                    <a:pt x="162194" y="223186"/>
                  </a:lnTo>
                  <a:lnTo>
                    <a:pt x="170434" y="223186"/>
                  </a:lnTo>
                  <a:lnTo>
                    <a:pt x="193664" y="219051"/>
                  </a:lnTo>
                  <a:lnTo>
                    <a:pt x="211100" y="207437"/>
                  </a:lnTo>
                  <a:lnTo>
                    <a:pt x="211926" y="206087"/>
                  </a:lnTo>
                  <a:close/>
                </a:path>
                <a:path w="226059" h="285115">
                  <a:moveTo>
                    <a:pt x="151105" y="93703"/>
                  </a:moveTo>
                  <a:lnTo>
                    <a:pt x="74772" y="93703"/>
                  </a:lnTo>
                  <a:lnTo>
                    <a:pt x="83197" y="94882"/>
                  </a:lnTo>
                  <a:lnTo>
                    <a:pt x="89694" y="98613"/>
                  </a:lnTo>
                  <a:lnTo>
                    <a:pt x="93877" y="105193"/>
                  </a:lnTo>
                  <a:lnTo>
                    <a:pt x="95358" y="114917"/>
                  </a:lnTo>
                  <a:lnTo>
                    <a:pt x="95358" y="170308"/>
                  </a:lnTo>
                  <a:lnTo>
                    <a:pt x="93877" y="179768"/>
                  </a:lnTo>
                  <a:lnTo>
                    <a:pt x="89694" y="186377"/>
                  </a:lnTo>
                  <a:lnTo>
                    <a:pt x="83197" y="190256"/>
                  </a:lnTo>
                  <a:lnTo>
                    <a:pt x="74772" y="191522"/>
                  </a:lnTo>
                  <a:lnTo>
                    <a:pt x="151105" y="191522"/>
                  </a:lnTo>
                  <a:lnTo>
                    <a:pt x="142680" y="190256"/>
                  </a:lnTo>
                  <a:lnTo>
                    <a:pt x="136183" y="186377"/>
                  </a:lnTo>
                  <a:lnTo>
                    <a:pt x="132000" y="179768"/>
                  </a:lnTo>
                  <a:lnTo>
                    <a:pt x="130519" y="170308"/>
                  </a:lnTo>
                  <a:lnTo>
                    <a:pt x="130519" y="114917"/>
                  </a:lnTo>
                  <a:lnTo>
                    <a:pt x="132000" y="105193"/>
                  </a:lnTo>
                  <a:lnTo>
                    <a:pt x="136183" y="98613"/>
                  </a:lnTo>
                  <a:lnTo>
                    <a:pt x="142680" y="94882"/>
                  </a:lnTo>
                  <a:lnTo>
                    <a:pt x="151105" y="93703"/>
                  </a:lnTo>
                  <a:close/>
                </a:path>
                <a:path w="226059" h="285115">
                  <a:moveTo>
                    <a:pt x="220609" y="93703"/>
                  </a:moveTo>
                  <a:lnTo>
                    <a:pt x="170120" y="93703"/>
                  </a:lnTo>
                  <a:lnTo>
                    <a:pt x="178546" y="94882"/>
                  </a:lnTo>
                  <a:lnTo>
                    <a:pt x="185048" y="98613"/>
                  </a:lnTo>
                  <a:lnTo>
                    <a:pt x="189234" y="105193"/>
                  </a:lnTo>
                  <a:lnTo>
                    <a:pt x="190716" y="114917"/>
                  </a:lnTo>
                  <a:lnTo>
                    <a:pt x="190716" y="170308"/>
                  </a:lnTo>
                  <a:lnTo>
                    <a:pt x="189234" y="179768"/>
                  </a:lnTo>
                  <a:lnTo>
                    <a:pt x="185048" y="186377"/>
                  </a:lnTo>
                  <a:lnTo>
                    <a:pt x="178546" y="190256"/>
                  </a:lnTo>
                  <a:lnTo>
                    <a:pt x="170120" y="191522"/>
                  </a:lnTo>
                  <a:lnTo>
                    <a:pt x="220842" y="191522"/>
                  </a:lnTo>
                  <a:lnTo>
                    <a:pt x="222062" y="189530"/>
                  </a:lnTo>
                  <a:lnTo>
                    <a:pt x="225867" y="166518"/>
                  </a:lnTo>
                  <a:lnTo>
                    <a:pt x="225867" y="119347"/>
                  </a:lnTo>
                  <a:lnTo>
                    <a:pt x="222062" y="96104"/>
                  </a:lnTo>
                  <a:lnTo>
                    <a:pt x="220609" y="93703"/>
                  </a:lnTo>
                  <a:close/>
                </a:path>
                <a:path w="226059" h="285115">
                  <a:moveTo>
                    <a:pt x="128938" y="0"/>
                  </a:moveTo>
                  <a:lnTo>
                    <a:pt x="97264" y="0"/>
                  </a:lnTo>
                  <a:lnTo>
                    <a:pt x="95358" y="1581"/>
                  </a:lnTo>
                  <a:lnTo>
                    <a:pt x="95358" y="77871"/>
                  </a:lnTo>
                  <a:lnTo>
                    <a:pt x="130519" y="77871"/>
                  </a:lnTo>
                  <a:lnTo>
                    <a:pt x="130519" y="1581"/>
                  </a:lnTo>
                  <a:lnTo>
                    <a:pt x="128938" y="0"/>
                  </a:lnTo>
                  <a:close/>
                </a:path>
                <a:path w="226059" h="285115">
                  <a:moveTo>
                    <a:pt x="170434" y="62050"/>
                  </a:moveTo>
                  <a:lnTo>
                    <a:pt x="162194" y="62050"/>
                  </a:lnTo>
                  <a:lnTo>
                    <a:pt x="151234" y="63232"/>
                  </a:lnTo>
                  <a:lnTo>
                    <a:pt x="142438" y="66521"/>
                  </a:lnTo>
                  <a:lnTo>
                    <a:pt x="135601" y="71530"/>
                  </a:lnTo>
                  <a:lnTo>
                    <a:pt x="130519" y="77871"/>
                  </a:lnTo>
                  <a:lnTo>
                    <a:pt x="210916" y="77871"/>
                  </a:lnTo>
                  <a:lnTo>
                    <a:pt x="193664" y="66239"/>
                  </a:lnTo>
                  <a:lnTo>
                    <a:pt x="170434" y="62050"/>
                  </a:lnTo>
                  <a:close/>
                </a:path>
              </a:pathLst>
            </a:custGeom>
            <a:solidFill>
              <a:srgbClr val="F58220"/>
            </a:solidFill>
          </p:spPr>
          <p:txBody>
            <a:bodyPr wrap="square" lIns="0" tIns="0" rIns="0" bIns="0" rtlCol="0"/>
            <a:lstStyle/>
            <a:p>
              <a:pPr marL="0" marR="0" lvl="0" indent="0" algn="l" defTabSz="55449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092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pic>
          <p:nvPicPr>
            <p:cNvPr id="70" name="object 70"/>
            <p:cNvPicPr/>
            <p:nvPr/>
          </p:nvPicPr>
          <p:blipFill>
            <a:blip r:embed="rId7" cstate="print"/>
            <a:stretch>
              <a:fillRect/>
            </a:stretch>
          </p:blipFill>
          <p:spPr>
            <a:xfrm>
              <a:off x="17386079" y="1360298"/>
              <a:ext cx="127671" cy="161136"/>
            </a:xfrm>
            <a:prstGeom prst="rect">
              <a:avLst/>
            </a:prstGeom>
          </p:spPr>
        </p:pic>
        <p:pic>
          <p:nvPicPr>
            <p:cNvPr id="71" name="object 71"/>
            <p:cNvPicPr/>
            <p:nvPr/>
          </p:nvPicPr>
          <p:blipFill>
            <a:blip r:embed="rId8" cstate="print"/>
            <a:stretch>
              <a:fillRect/>
            </a:stretch>
          </p:blipFill>
          <p:spPr>
            <a:xfrm>
              <a:off x="17539081" y="1360298"/>
              <a:ext cx="394094" cy="222862"/>
            </a:xfrm>
            <a:prstGeom prst="rect">
              <a:avLst/>
            </a:prstGeom>
          </p:spPr>
        </p:pic>
        <p:sp>
          <p:nvSpPr>
            <p:cNvPr id="72" name="object 72"/>
            <p:cNvSpPr/>
            <p:nvPr/>
          </p:nvSpPr>
          <p:spPr>
            <a:xfrm>
              <a:off x="16825303" y="745597"/>
              <a:ext cx="1240155" cy="523875"/>
            </a:xfrm>
            <a:custGeom>
              <a:avLst/>
              <a:gdLst/>
              <a:ahLst/>
              <a:cxnLst/>
              <a:rect l="l" t="t" r="r" b="b"/>
              <a:pathLst>
                <a:path w="1240155" h="523875">
                  <a:moveTo>
                    <a:pt x="410451" y="0"/>
                  </a:moveTo>
                  <a:lnTo>
                    <a:pt x="65227" y="0"/>
                  </a:lnTo>
                  <a:lnTo>
                    <a:pt x="65227" y="291731"/>
                  </a:lnTo>
                  <a:lnTo>
                    <a:pt x="65570" y="367068"/>
                  </a:lnTo>
                  <a:lnTo>
                    <a:pt x="64452" y="383336"/>
                  </a:lnTo>
                  <a:lnTo>
                    <a:pt x="44653" y="418553"/>
                  </a:lnTo>
                  <a:lnTo>
                    <a:pt x="0" y="432828"/>
                  </a:lnTo>
                  <a:lnTo>
                    <a:pt x="0" y="523176"/>
                  </a:lnTo>
                  <a:lnTo>
                    <a:pt x="39497" y="521716"/>
                  </a:lnTo>
                  <a:lnTo>
                    <a:pt x="105511" y="497878"/>
                  </a:lnTo>
                  <a:lnTo>
                    <a:pt x="135890" y="469328"/>
                  </a:lnTo>
                  <a:lnTo>
                    <a:pt x="157810" y="425284"/>
                  </a:lnTo>
                  <a:lnTo>
                    <a:pt x="166230" y="362470"/>
                  </a:lnTo>
                  <a:lnTo>
                    <a:pt x="166331" y="201155"/>
                  </a:lnTo>
                  <a:lnTo>
                    <a:pt x="166992" y="98183"/>
                  </a:lnTo>
                  <a:lnTo>
                    <a:pt x="308533" y="98183"/>
                  </a:lnTo>
                  <a:lnTo>
                    <a:pt x="308533" y="510959"/>
                  </a:lnTo>
                  <a:lnTo>
                    <a:pt x="410451" y="510959"/>
                  </a:lnTo>
                  <a:lnTo>
                    <a:pt x="410451" y="0"/>
                  </a:lnTo>
                  <a:close/>
                </a:path>
                <a:path w="1240155" h="523875">
                  <a:moveTo>
                    <a:pt x="830021" y="0"/>
                  </a:moveTo>
                  <a:lnTo>
                    <a:pt x="728446" y="0"/>
                  </a:lnTo>
                  <a:lnTo>
                    <a:pt x="561352" y="340169"/>
                  </a:lnTo>
                  <a:lnTo>
                    <a:pt x="561352" y="0"/>
                  </a:lnTo>
                  <a:lnTo>
                    <a:pt x="465975" y="0"/>
                  </a:lnTo>
                  <a:lnTo>
                    <a:pt x="465975" y="510959"/>
                  </a:lnTo>
                  <a:lnTo>
                    <a:pt x="567893" y="510959"/>
                  </a:lnTo>
                  <a:lnTo>
                    <a:pt x="734644" y="177419"/>
                  </a:lnTo>
                  <a:lnTo>
                    <a:pt x="734644" y="510959"/>
                  </a:lnTo>
                  <a:lnTo>
                    <a:pt x="830021" y="510959"/>
                  </a:lnTo>
                  <a:lnTo>
                    <a:pt x="830021" y="0"/>
                  </a:lnTo>
                  <a:close/>
                </a:path>
                <a:path w="1240155" h="523875">
                  <a:moveTo>
                    <a:pt x="1240028" y="419"/>
                  </a:moveTo>
                  <a:lnTo>
                    <a:pt x="1138097" y="419"/>
                  </a:lnTo>
                  <a:lnTo>
                    <a:pt x="1138097" y="201079"/>
                  </a:lnTo>
                  <a:lnTo>
                    <a:pt x="976490" y="201079"/>
                  </a:lnTo>
                  <a:lnTo>
                    <a:pt x="976490" y="419"/>
                  </a:lnTo>
                  <a:lnTo>
                    <a:pt x="874560" y="419"/>
                  </a:lnTo>
                  <a:lnTo>
                    <a:pt x="874560" y="201079"/>
                  </a:lnTo>
                  <a:lnTo>
                    <a:pt x="874560" y="287439"/>
                  </a:lnTo>
                  <a:lnTo>
                    <a:pt x="874560" y="510959"/>
                  </a:lnTo>
                  <a:lnTo>
                    <a:pt x="976490" y="510959"/>
                  </a:lnTo>
                  <a:lnTo>
                    <a:pt x="976490" y="287439"/>
                  </a:lnTo>
                  <a:lnTo>
                    <a:pt x="1138097" y="287439"/>
                  </a:lnTo>
                  <a:lnTo>
                    <a:pt x="1138097" y="510959"/>
                  </a:lnTo>
                  <a:lnTo>
                    <a:pt x="1240028" y="510959"/>
                  </a:lnTo>
                  <a:lnTo>
                    <a:pt x="1240028" y="287439"/>
                  </a:lnTo>
                  <a:lnTo>
                    <a:pt x="1240028" y="201079"/>
                  </a:lnTo>
                  <a:lnTo>
                    <a:pt x="1240028" y="419"/>
                  </a:lnTo>
                  <a:close/>
                </a:path>
              </a:pathLst>
            </a:custGeom>
            <a:solidFill>
              <a:srgbClr val="1B3E6F"/>
            </a:solidFill>
          </p:spPr>
          <p:txBody>
            <a:bodyPr wrap="square" lIns="0" tIns="0" rIns="0" bIns="0" rtlCol="0"/>
            <a:lstStyle/>
            <a:p>
              <a:pPr marL="0" marR="0" lvl="0" indent="0" algn="l" defTabSz="55449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092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73" name="object 73"/>
          <p:cNvGrpSpPr/>
          <p:nvPr/>
        </p:nvGrpSpPr>
        <p:grpSpPr>
          <a:xfrm>
            <a:off x="10982262" y="401272"/>
            <a:ext cx="764353" cy="365426"/>
            <a:chOff x="18109858" y="661726"/>
            <a:chExt cx="1260475" cy="602615"/>
          </a:xfrm>
        </p:grpSpPr>
        <p:sp>
          <p:nvSpPr>
            <p:cNvPr id="74" name="object 74"/>
            <p:cNvSpPr/>
            <p:nvPr/>
          </p:nvSpPr>
          <p:spPr>
            <a:xfrm>
              <a:off x="18109857" y="738142"/>
              <a:ext cx="1092200" cy="526415"/>
            </a:xfrm>
            <a:custGeom>
              <a:avLst/>
              <a:gdLst/>
              <a:ahLst/>
              <a:cxnLst/>
              <a:rect l="l" t="t" r="r" b="b"/>
              <a:pathLst>
                <a:path w="1092200" h="526415">
                  <a:moveTo>
                    <a:pt x="296532" y="432054"/>
                  </a:moveTo>
                  <a:lnTo>
                    <a:pt x="101930" y="432054"/>
                  </a:lnTo>
                  <a:lnTo>
                    <a:pt x="101930" y="293624"/>
                  </a:lnTo>
                  <a:lnTo>
                    <a:pt x="267957" y="293624"/>
                  </a:lnTo>
                  <a:lnTo>
                    <a:pt x="267957" y="207264"/>
                  </a:lnTo>
                  <a:lnTo>
                    <a:pt x="101930" y="207264"/>
                  </a:lnTo>
                  <a:lnTo>
                    <a:pt x="101930" y="94234"/>
                  </a:lnTo>
                  <a:lnTo>
                    <a:pt x="286893" y="94234"/>
                  </a:lnTo>
                  <a:lnTo>
                    <a:pt x="286893" y="7874"/>
                  </a:lnTo>
                  <a:lnTo>
                    <a:pt x="0" y="7874"/>
                  </a:lnTo>
                  <a:lnTo>
                    <a:pt x="0" y="94234"/>
                  </a:lnTo>
                  <a:lnTo>
                    <a:pt x="0" y="207264"/>
                  </a:lnTo>
                  <a:lnTo>
                    <a:pt x="0" y="293624"/>
                  </a:lnTo>
                  <a:lnTo>
                    <a:pt x="0" y="432054"/>
                  </a:lnTo>
                  <a:lnTo>
                    <a:pt x="0" y="518414"/>
                  </a:lnTo>
                  <a:lnTo>
                    <a:pt x="296532" y="518414"/>
                  </a:lnTo>
                  <a:lnTo>
                    <a:pt x="296532" y="432054"/>
                  </a:lnTo>
                  <a:close/>
                </a:path>
                <a:path w="1092200" h="526415">
                  <a:moveTo>
                    <a:pt x="721652" y="518414"/>
                  </a:moveTo>
                  <a:lnTo>
                    <a:pt x="551675" y="232714"/>
                  </a:lnTo>
                  <a:lnTo>
                    <a:pt x="711327" y="7467"/>
                  </a:lnTo>
                  <a:lnTo>
                    <a:pt x="587832" y="7467"/>
                  </a:lnTo>
                  <a:lnTo>
                    <a:pt x="433590" y="234353"/>
                  </a:lnTo>
                  <a:lnTo>
                    <a:pt x="433590" y="7467"/>
                  </a:lnTo>
                  <a:lnTo>
                    <a:pt x="331660" y="7467"/>
                  </a:lnTo>
                  <a:lnTo>
                    <a:pt x="331660" y="518414"/>
                  </a:lnTo>
                  <a:lnTo>
                    <a:pt x="433590" y="518414"/>
                  </a:lnTo>
                  <a:lnTo>
                    <a:pt x="433590" y="347484"/>
                  </a:lnTo>
                  <a:lnTo>
                    <a:pt x="474218" y="295325"/>
                  </a:lnTo>
                  <a:lnTo>
                    <a:pt x="603338" y="518414"/>
                  </a:lnTo>
                  <a:lnTo>
                    <a:pt x="721652" y="518414"/>
                  </a:lnTo>
                  <a:close/>
                </a:path>
                <a:path w="1092200" h="526415">
                  <a:moveTo>
                    <a:pt x="1091730" y="177114"/>
                  </a:moveTo>
                  <a:lnTo>
                    <a:pt x="1082649" y="131394"/>
                  </a:lnTo>
                  <a:lnTo>
                    <a:pt x="1064958" y="92303"/>
                  </a:lnTo>
                  <a:lnTo>
                    <a:pt x="1036015" y="55105"/>
                  </a:lnTo>
                  <a:lnTo>
                    <a:pt x="1005992" y="31343"/>
                  </a:lnTo>
                  <a:lnTo>
                    <a:pt x="968133" y="13144"/>
                  </a:lnTo>
                  <a:lnTo>
                    <a:pt x="921626" y="2133"/>
                  </a:lnTo>
                  <a:lnTo>
                    <a:pt x="885253" y="0"/>
                  </a:lnTo>
                  <a:lnTo>
                    <a:pt x="871816" y="419"/>
                  </a:lnTo>
                  <a:lnTo>
                    <a:pt x="831964" y="6654"/>
                  </a:lnTo>
                  <a:lnTo>
                    <a:pt x="793826" y="20637"/>
                  </a:lnTo>
                  <a:lnTo>
                    <a:pt x="758710" y="42760"/>
                  </a:lnTo>
                  <a:lnTo>
                    <a:pt x="727773" y="73304"/>
                  </a:lnTo>
                  <a:lnTo>
                    <a:pt x="702398" y="112572"/>
                  </a:lnTo>
                  <a:lnTo>
                    <a:pt x="683704" y="160947"/>
                  </a:lnTo>
                  <a:lnTo>
                    <a:pt x="675462" y="198450"/>
                  </a:lnTo>
                  <a:lnTo>
                    <a:pt x="671296" y="240322"/>
                  </a:lnTo>
                  <a:lnTo>
                    <a:pt x="670775" y="262928"/>
                  </a:lnTo>
                  <a:lnTo>
                    <a:pt x="671677" y="292201"/>
                  </a:lnTo>
                  <a:lnTo>
                    <a:pt x="678903" y="346430"/>
                  </a:lnTo>
                  <a:lnTo>
                    <a:pt x="693280" y="394792"/>
                  </a:lnTo>
                  <a:lnTo>
                    <a:pt x="714387" y="436257"/>
                  </a:lnTo>
                  <a:lnTo>
                    <a:pt x="742137" y="470547"/>
                  </a:lnTo>
                  <a:lnTo>
                    <a:pt x="776338" y="497027"/>
                  </a:lnTo>
                  <a:lnTo>
                    <a:pt x="816902" y="515416"/>
                  </a:lnTo>
                  <a:lnTo>
                    <a:pt x="863536" y="524700"/>
                  </a:lnTo>
                  <a:lnTo>
                    <a:pt x="889114" y="525868"/>
                  </a:lnTo>
                  <a:lnTo>
                    <a:pt x="907630" y="525157"/>
                  </a:lnTo>
                  <a:lnTo>
                    <a:pt x="959904" y="514629"/>
                  </a:lnTo>
                  <a:lnTo>
                    <a:pt x="1006068" y="491248"/>
                  </a:lnTo>
                  <a:lnTo>
                    <a:pt x="1044448" y="454812"/>
                  </a:lnTo>
                  <a:lnTo>
                    <a:pt x="1073721" y="405117"/>
                  </a:lnTo>
                  <a:lnTo>
                    <a:pt x="1087056" y="364324"/>
                  </a:lnTo>
                  <a:lnTo>
                    <a:pt x="1091730" y="341604"/>
                  </a:lnTo>
                  <a:lnTo>
                    <a:pt x="993800" y="341604"/>
                  </a:lnTo>
                  <a:lnTo>
                    <a:pt x="989952" y="354558"/>
                  </a:lnTo>
                  <a:lnTo>
                    <a:pt x="984808" y="369544"/>
                  </a:lnTo>
                  <a:lnTo>
                    <a:pt x="960958" y="407238"/>
                  </a:lnTo>
                  <a:lnTo>
                    <a:pt x="925487" y="429526"/>
                  </a:lnTo>
                  <a:lnTo>
                    <a:pt x="885253" y="435267"/>
                  </a:lnTo>
                  <a:lnTo>
                    <a:pt x="872121" y="434530"/>
                  </a:lnTo>
                  <a:lnTo>
                    <a:pt x="826655" y="416991"/>
                  </a:lnTo>
                  <a:lnTo>
                    <a:pt x="793394" y="377952"/>
                  </a:lnTo>
                  <a:lnTo>
                    <a:pt x="777392" y="335470"/>
                  </a:lnTo>
                  <a:lnTo>
                    <a:pt x="769848" y="282663"/>
                  </a:lnTo>
                  <a:lnTo>
                    <a:pt x="769340" y="262928"/>
                  </a:lnTo>
                  <a:lnTo>
                    <a:pt x="769721" y="244843"/>
                  </a:lnTo>
                  <a:lnTo>
                    <a:pt x="775449" y="198234"/>
                  </a:lnTo>
                  <a:lnTo>
                    <a:pt x="791349" y="151739"/>
                  </a:lnTo>
                  <a:lnTo>
                    <a:pt x="813663" y="120573"/>
                  </a:lnTo>
                  <a:lnTo>
                    <a:pt x="845400" y="98958"/>
                  </a:lnTo>
                  <a:lnTo>
                    <a:pt x="879271" y="90614"/>
                  </a:lnTo>
                  <a:lnTo>
                    <a:pt x="895515" y="90893"/>
                  </a:lnTo>
                  <a:lnTo>
                    <a:pt x="936802" y="100152"/>
                  </a:lnTo>
                  <a:lnTo>
                    <a:pt x="972972" y="129095"/>
                  </a:lnTo>
                  <a:lnTo>
                    <a:pt x="990269" y="166839"/>
                  </a:lnTo>
                  <a:lnTo>
                    <a:pt x="993152" y="177114"/>
                  </a:lnTo>
                  <a:lnTo>
                    <a:pt x="1091730" y="177114"/>
                  </a:lnTo>
                  <a:close/>
                </a:path>
              </a:pathLst>
            </a:custGeom>
            <a:solidFill>
              <a:srgbClr val="1B3E6F"/>
            </a:solidFill>
          </p:spPr>
          <p:txBody>
            <a:bodyPr wrap="square" lIns="0" tIns="0" rIns="0" bIns="0" rtlCol="0"/>
            <a:lstStyle/>
            <a:p>
              <a:pPr marL="0" marR="0" lvl="0" indent="0" algn="l" defTabSz="55449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092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pic>
          <p:nvPicPr>
            <p:cNvPr id="75" name="object 75"/>
            <p:cNvPicPr/>
            <p:nvPr/>
          </p:nvPicPr>
          <p:blipFill>
            <a:blip r:embed="rId9" cstate="print"/>
            <a:stretch>
              <a:fillRect/>
            </a:stretch>
          </p:blipFill>
          <p:spPr>
            <a:xfrm>
              <a:off x="19212208" y="661726"/>
              <a:ext cx="157523" cy="157419"/>
            </a:xfrm>
            <a:prstGeom prst="rect">
              <a:avLst/>
            </a:prstGeom>
          </p:spPr>
        </p:pic>
      </p:grpSp>
      <p:sp>
        <p:nvSpPr>
          <p:cNvPr id="106" name="TextBox 105">
            <a:extLst>
              <a:ext uri="{FF2B5EF4-FFF2-40B4-BE49-F238E27FC236}">
                <a16:creationId xmlns:a16="http://schemas.microsoft.com/office/drawing/2014/main" id="{5FD1D211-EDB7-0C15-2569-5EED432550F5}"/>
              </a:ext>
            </a:extLst>
          </p:cNvPr>
          <p:cNvSpPr txBox="1"/>
          <p:nvPr/>
        </p:nvSpPr>
        <p:spPr>
          <a:xfrm>
            <a:off x="289242" y="70448"/>
            <a:ext cx="8315869" cy="9848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z-Latn-AZ" altLang="ru-RU" sz="4000" b="1" i="0" u="none" strike="noStrike" kern="1200" cap="none" spc="0" normalizeH="0" baseline="0" noProof="0" dirty="0">
                <a:ln>
                  <a:noFill/>
                </a:ln>
                <a:solidFill>
                  <a:srgbClr val="4F81BD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Normal mikrofloranın funksiyaları</a:t>
            </a:r>
            <a:endParaRPr kumimoji="0" lang="ru-RU" altLang="ru-RU" sz="4000" b="1" i="0" u="none" strike="noStrike" kern="1200" cap="none" spc="0" normalizeH="0" baseline="0" noProof="0" dirty="0">
              <a:ln>
                <a:noFill/>
              </a:ln>
              <a:solidFill>
                <a:srgbClr val="4F81BD">
                  <a:lumMod val="50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6" name="object 60">
            <a:extLst>
              <a:ext uri="{FF2B5EF4-FFF2-40B4-BE49-F238E27FC236}">
                <a16:creationId xmlns:a16="http://schemas.microsoft.com/office/drawing/2014/main" id="{D996714F-F9E2-2559-9A25-D90E9FF87EC3}"/>
              </a:ext>
            </a:extLst>
          </p:cNvPr>
          <p:cNvSpPr/>
          <p:nvPr/>
        </p:nvSpPr>
        <p:spPr>
          <a:xfrm>
            <a:off x="3459206" y="4737976"/>
            <a:ext cx="1626128" cy="0"/>
          </a:xfrm>
          <a:custGeom>
            <a:avLst/>
            <a:gdLst/>
            <a:ahLst/>
            <a:cxnLst/>
            <a:rect l="l" t="t" r="r" b="b"/>
            <a:pathLst>
              <a:path w="2681605">
                <a:moveTo>
                  <a:pt x="2681520" y="0"/>
                </a:moveTo>
                <a:lnTo>
                  <a:pt x="0" y="0"/>
                </a:lnTo>
              </a:path>
            </a:pathLst>
          </a:custGeom>
          <a:ln w="20941">
            <a:solidFill>
              <a:srgbClr val="FFFFFF"/>
            </a:solidFill>
            <a:prstDash val="sysDash"/>
          </a:ln>
        </p:spPr>
        <p:txBody>
          <a:bodyPr wrap="square" lIns="0" tIns="0" rIns="0" bIns="0" rtlCol="0"/>
          <a:lstStyle/>
          <a:p>
            <a:pPr marL="0" marR="0" lvl="0" indent="0" algn="l" defTabSz="55449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09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7" name="object 64">
            <a:extLst>
              <a:ext uri="{FF2B5EF4-FFF2-40B4-BE49-F238E27FC236}">
                <a16:creationId xmlns:a16="http://schemas.microsoft.com/office/drawing/2014/main" id="{3FB81D4F-8903-2CD2-B82D-42E686D35F09}"/>
              </a:ext>
            </a:extLst>
          </p:cNvPr>
          <p:cNvSpPr/>
          <p:nvPr/>
        </p:nvSpPr>
        <p:spPr>
          <a:xfrm>
            <a:off x="7171400" y="1614868"/>
            <a:ext cx="1752814" cy="525228"/>
          </a:xfrm>
          <a:custGeom>
            <a:avLst/>
            <a:gdLst/>
            <a:ahLst/>
            <a:cxnLst/>
            <a:rect l="l" t="t" r="r" b="b"/>
            <a:pathLst>
              <a:path w="2890519" h="866140">
                <a:moveTo>
                  <a:pt x="83769" y="823722"/>
                </a:moveTo>
                <a:lnTo>
                  <a:pt x="80479" y="807427"/>
                </a:lnTo>
                <a:lnTo>
                  <a:pt x="71501" y="794105"/>
                </a:lnTo>
                <a:lnTo>
                  <a:pt x="58191" y="785126"/>
                </a:lnTo>
                <a:lnTo>
                  <a:pt x="41884" y="781837"/>
                </a:lnTo>
                <a:lnTo>
                  <a:pt x="25577" y="785126"/>
                </a:lnTo>
                <a:lnTo>
                  <a:pt x="12268" y="794105"/>
                </a:lnTo>
                <a:lnTo>
                  <a:pt x="3289" y="807427"/>
                </a:lnTo>
                <a:lnTo>
                  <a:pt x="0" y="823722"/>
                </a:lnTo>
                <a:lnTo>
                  <a:pt x="3289" y="840028"/>
                </a:lnTo>
                <a:lnTo>
                  <a:pt x="12268" y="853338"/>
                </a:lnTo>
                <a:lnTo>
                  <a:pt x="25577" y="862317"/>
                </a:lnTo>
                <a:lnTo>
                  <a:pt x="41884" y="865606"/>
                </a:lnTo>
                <a:lnTo>
                  <a:pt x="58191" y="862317"/>
                </a:lnTo>
                <a:lnTo>
                  <a:pt x="71501" y="853338"/>
                </a:lnTo>
                <a:lnTo>
                  <a:pt x="80479" y="840028"/>
                </a:lnTo>
                <a:lnTo>
                  <a:pt x="83769" y="823722"/>
                </a:lnTo>
                <a:close/>
              </a:path>
              <a:path w="2890519" h="866140">
                <a:moveTo>
                  <a:pt x="2889961" y="41884"/>
                </a:moveTo>
                <a:lnTo>
                  <a:pt x="2886672" y="25577"/>
                </a:lnTo>
                <a:lnTo>
                  <a:pt x="2877693" y="12268"/>
                </a:lnTo>
                <a:lnTo>
                  <a:pt x="2864383" y="3289"/>
                </a:lnTo>
                <a:lnTo>
                  <a:pt x="2848076" y="0"/>
                </a:lnTo>
                <a:lnTo>
                  <a:pt x="2831782" y="3289"/>
                </a:lnTo>
                <a:lnTo>
                  <a:pt x="2818460" y="12268"/>
                </a:lnTo>
                <a:lnTo>
                  <a:pt x="2809494" y="25577"/>
                </a:lnTo>
                <a:lnTo>
                  <a:pt x="2806192" y="41884"/>
                </a:lnTo>
                <a:lnTo>
                  <a:pt x="2809494" y="58191"/>
                </a:lnTo>
                <a:lnTo>
                  <a:pt x="2818460" y="71501"/>
                </a:lnTo>
                <a:lnTo>
                  <a:pt x="2831782" y="80479"/>
                </a:lnTo>
                <a:lnTo>
                  <a:pt x="2848076" y="83769"/>
                </a:lnTo>
                <a:lnTo>
                  <a:pt x="2864383" y="80479"/>
                </a:lnTo>
                <a:lnTo>
                  <a:pt x="2877693" y="71501"/>
                </a:lnTo>
                <a:lnTo>
                  <a:pt x="2886672" y="58191"/>
                </a:lnTo>
                <a:lnTo>
                  <a:pt x="2889961" y="41884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pPr marL="0" marR="0" lvl="0" indent="0" algn="l" defTabSz="55449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09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8" name="object 41">
            <a:extLst>
              <a:ext uri="{FF2B5EF4-FFF2-40B4-BE49-F238E27FC236}">
                <a16:creationId xmlns:a16="http://schemas.microsoft.com/office/drawing/2014/main" id="{DC74A937-35F4-3385-D76B-5DAAB4683786}"/>
              </a:ext>
            </a:extLst>
          </p:cNvPr>
          <p:cNvSpPr/>
          <p:nvPr/>
        </p:nvSpPr>
        <p:spPr>
          <a:xfrm rot="5400000" flipV="1">
            <a:off x="4753507" y="1908495"/>
            <a:ext cx="581349" cy="61056"/>
          </a:xfrm>
          <a:custGeom>
            <a:avLst/>
            <a:gdLst/>
            <a:ahLst/>
            <a:cxnLst/>
            <a:rect l="l" t="t" r="r" b="b"/>
            <a:pathLst>
              <a:path w="1527809">
                <a:moveTo>
                  <a:pt x="0" y="0"/>
                </a:moveTo>
                <a:lnTo>
                  <a:pt x="1527586" y="0"/>
                </a:lnTo>
              </a:path>
            </a:pathLst>
          </a:custGeom>
          <a:ln w="20941">
            <a:solidFill>
              <a:srgbClr val="FFFFFF"/>
            </a:solidFill>
            <a:prstDash val="sysDash"/>
          </a:ln>
        </p:spPr>
        <p:txBody>
          <a:bodyPr wrap="square" lIns="0" tIns="0" rIns="0" bIns="0" rtlCol="0"/>
          <a:lstStyle/>
          <a:p>
            <a:pPr marL="0" marR="0" lvl="0" indent="0" algn="l" defTabSz="55449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09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9" name="object 41">
            <a:extLst>
              <a:ext uri="{FF2B5EF4-FFF2-40B4-BE49-F238E27FC236}">
                <a16:creationId xmlns:a16="http://schemas.microsoft.com/office/drawing/2014/main" id="{6145F40B-22EE-290D-D45F-0CEF89B1EE9E}"/>
              </a:ext>
            </a:extLst>
          </p:cNvPr>
          <p:cNvSpPr/>
          <p:nvPr/>
        </p:nvSpPr>
        <p:spPr>
          <a:xfrm rot="5400000">
            <a:off x="3625159" y="2943254"/>
            <a:ext cx="926465" cy="0"/>
          </a:xfrm>
          <a:custGeom>
            <a:avLst/>
            <a:gdLst/>
            <a:ahLst/>
            <a:cxnLst/>
            <a:rect l="l" t="t" r="r" b="b"/>
            <a:pathLst>
              <a:path w="1527809">
                <a:moveTo>
                  <a:pt x="0" y="0"/>
                </a:moveTo>
                <a:lnTo>
                  <a:pt x="1527586" y="0"/>
                </a:lnTo>
              </a:path>
            </a:pathLst>
          </a:custGeom>
          <a:ln w="20941">
            <a:solidFill>
              <a:srgbClr val="FFFFFF"/>
            </a:solidFill>
            <a:prstDash val="sysDash"/>
          </a:ln>
        </p:spPr>
        <p:txBody>
          <a:bodyPr wrap="square" lIns="0" tIns="0" rIns="0" bIns="0" rtlCol="0"/>
          <a:lstStyle/>
          <a:p>
            <a:pPr marL="0" marR="0" lvl="0" indent="0" algn="l" defTabSz="55449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092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81" name="Рисунок 80">
            <a:extLst>
              <a:ext uri="{FF2B5EF4-FFF2-40B4-BE49-F238E27FC236}">
                <a16:creationId xmlns:a16="http://schemas.microsoft.com/office/drawing/2014/main" id="{4A2B9B64-B681-46E6-81D0-8AC6D6C6FB69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09426" y="6510213"/>
            <a:ext cx="1394768" cy="187532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10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10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2" dur="10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10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9" dur="10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0" dur="10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4" grpId="0"/>
      <p:bldP spid="26" grpId="0"/>
      <p:bldP spid="28" grpId="0"/>
      <p:bldP spid="29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1" name="Группа 20">
            <a:extLst>
              <a:ext uri="{FF2B5EF4-FFF2-40B4-BE49-F238E27FC236}">
                <a16:creationId xmlns:a16="http://schemas.microsoft.com/office/drawing/2014/main" id="{067B8086-94F0-534E-B3CC-4CE085453587}"/>
              </a:ext>
            </a:extLst>
          </p:cNvPr>
          <p:cNvGrpSpPr/>
          <p:nvPr/>
        </p:nvGrpSpPr>
        <p:grpSpPr>
          <a:xfrm>
            <a:off x="0" y="17735"/>
            <a:ext cx="12191999" cy="1425875"/>
            <a:chOff x="-665" y="822885"/>
            <a:chExt cx="10499560" cy="966915"/>
          </a:xfrm>
        </p:grpSpPr>
        <p:sp>
          <p:nvSpPr>
            <p:cNvPr id="22" name="Freeform 10">
              <a:extLst>
                <a:ext uri="{FF2B5EF4-FFF2-40B4-BE49-F238E27FC236}">
                  <a16:creationId xmlns:a16="http://schemas.microsoft.com/office/drawing/2014/main" id="{2C1D4E1D-CABD-9040-AA31-E22A27F9AE7A}"/>
                </a:ext>
              </a:extLst>
            </p:cNvPr>
            <p:cNvSpPr>
              <a:spLocks/>
            </p:cNvSpPr>
            <p:nvPr/>
          </p:nvSpPr>
          <p:spPr bwMode="auto">
            <a:xfrm>
              <a:off x="8879028" y="822885"/>
              <a:ext cx="1619867" cy="966915"/>
            </a:xfrm>
            <a:custGeom>
              <a:avLst/>
              <a:gdLst>
                <a:gd name="T0" fmla="*/ 0 w 2850"/>
                <a:gd name="T1" fmla="*/ 0 h 1699"/>
                <a:gd name="T2" fmla="*/ 2850 w 2850"/>
                <a:gd name="T3" fmla="*/ 0 h 1699"/>
                <a:gd name="T4" fmla="*/ 2810 w 2850"/>
                <a:gd name="T5" fmla="*/ 59 h 1699"/>
                <a:gd name="T6" fmla="*/ 2769 w 2850"/>
                <a:gd name="T7" fmla="*/ 120 h 1699"/>
                <a:gd name="T8" fmla="*/ 2727 w 2850"/>
                <a:gd name="T9" fmla="*/ 185 h 1699"/>
                <a:gd name="T10" fmla="*/ 2685 w 2850"/>
                <a:gd name="T11" fmla="*/ 252 h 1699"/>
                <a:gd name="T12" fmla="*/ 2641 w 2850"/>
                <a:gd name="T13" fmla="*/ 322 h 1699"/>
                <a:gd name="T14" fmla="*/ 2595 w 2850"/>
                <a:gd name="T15" fmla="*/ 394 h 1699"/>
                <a:gd name="T16" fmla="*/ 2548 w 2850"/>
                <a:gd name="T17" fmla="*/ 466 h 1699"/>
                <a:gd name="T18" fmla="*/ 2499 w 2850"/>
                <a:gd name="T19" fmla="*/ 540 h 1699"/>
                <a:gd name="T20" fmla="*/ 2447 w 2850"/>
                <a:gd name="T21" fmla="*/ 614 h 1699"/>
                <a:gd name="T22" fmla="*/ 2394 w 2850"/>
                <a:gd name="T23" fmla="*/ 688 h 1699"/>
                <a:gd name="T24" fmla="*/ 2337 w 2850"/>
                <a:gd name="T25" fmla="*/ 764 h 1699"/>
                <a:gd name="T26" fmla="*/ 2277 w 2850"/>
                <a:gd name="T27" fmla="*/ 838 h 1699"/>
                <a:gd name="T28" fmla="*/ 2214 w 2850"/>
                <a:gd name="T29" fmla="*/ 911 h 1699"/>
                <a:gd name="T30" fmla="*/ 2148 w 2850"/>
                <a:gd name="T31" fmla="*/ 984 h 1699"/>
                <a:gd name="T32" fmla="*/ 2079 w 2850"/>
                <a:gd name="T33" fmla="*/ 1055 h 1699"/>
                <a:gd name="T34" fmla="*/ 2006 w 2850"/>
                <a:gd name="T35" fmla="*/ 1125 h 1699"/>
                <a:gd name="T36" fmla="*/ 1929 w 2850"/>
                <a:gd name="T37" fmla="*/ 1192 h 1699"/>
                <a:gd name="T38" fmla="*/ 1848 w 2850"/>
                <a:gd name="T39" fmla="*/ 1257 h 1699"/>
                <a:gd name="T40" fmla="*/ 1763 w 2850"/>
                <a:gd name="T41" fmla="*/ 1318 h 1699"/>
                <a:gd name="T42" fmla="*/ 1673 w 2850"/>
                <a:gd name="T43" fmla="*/ 1377 h 1699"/>
                <a:gd name="T44" fmla="*/ 1578 w 2850"/>
                <a:gd name="T45" fmla="*/ 1431 h 1699"/>
                <a:gd name="T46" fmla="*/ 1477 w 2850"/>
                <a:gd name="T47" fmla="*/ 1482 h 1699"/>
                <a:gd name="T48" fmla="*/ 1372 w 2850"/>
                <a:gd name="T49" fmla="*/ 1528 h 1699"/>
                <a:gd name="T50" fmla="*/ 1263 w 2850"/>
                <a:gd name="T51" fmla="*/ 1569 h 1699"/>
                <a:gd name="T52" fmla="*/ 1146 w 2850"/>
                <a:gd name="T53" fmla="*/ 1606 h 1699"/>
                <a:gd name="T54" fmla="*/ 1023 w 2850"/>
                <a:gd name="T55" fmla="*/ 1636 h 1699"/>
                <a:gd name="T56" fmla="*/ 896 w 2850"/>
                <a:gd name="T57" fmla="*/ 1662 h 1699"/>
                <a:gd name="T58" fmla="*/ 761 w 2850"/>
                <a:gd name="T59" fmla="*/ 1681 h 1699"/>
                <a:gd name="T60" fmla="*/ 620 w 2850"/>
                <a:gd name="T61" fmla="*/ 1693 h 1699"/>
                <a:gd name="T62" fmla="*/ 473 w 2850"/>
                <a:gd name="T63" fmla="*/ 1699 h 1699"/>
                <a:gd name="T64" fmla="*/ 318 w 2850"/>
                <a:gd name="T65" fmla="*/ 1696 h 1699"/>
                <a:gd name="T66" fmla="*/ 157 w 2850"/>
                <a:gd name="T67" fmla="*/ 1687 h 1699"/>
                <a:gd name="T68" fmla="*/ 0 w 2850"/>
                <a:gd name="T69" fmla="*/ 1687 h 1699"/>
                <a:gd name="T70" fmla="*/ 0 w 2850"/>
                <a:gd name="T71" fmla="*/ 0 h 16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2850" h="1699">
                  <a:moveTo>
                    <a:pt x="0" y="0"/>
                  </a:moveTo>
                  <a:lnTo>
                    <a:pt x="2850" y="0"/>
                  </a:lnTo>
                  <a:lnTo>
                    <a:pt x="2810" y="59"/>
                  </a:lnTo>
                  <a:lnTo>
                    <a:pt x="2769" y="120"/>
                  </a:lnTo>
                  <a:lnTo>
                    <a:pt x="2727" y="185"/>
                  </a:lnTo>
                  <a:lnTo>
                    <a:pt x="2685" y="252"/>
                  </a:lnTo>
                  <a:lnTo>
                    <a:pt x="2641" y="322"/>
                  </a:lnTo>
                  <a:lnTo>
                    <a:pt x="2595" y="394"/>
                  </a:lnTo>
                  <a:lnTo>
                    <a:pt x="2548" y="466"/>
                  </a:lnTo>
                  <a:lnTo>
                    <a:pt x="2499" y="540"/>
                  </a:lnTo>
                  <a:lnTo>
                    <a:pt x="2447" y="614"/>
                  </a:lnTo>
                  <a:lnTo>
                    <a:pt x="2394" y="688"/>
                  </a:lnTo>
                  <a:lnTo>
                    <a:pt x="2337" y="764"/>
                  </a:lnTo>
                  <a:lnTo>
                    <a:pt x="2277" y="838"/>
                  </a:lnTo>
                  <a:lnTo>
                    <a:pt x="2214" y="911"/>
                  </a:lnTo>
                  <a:lnTo>
                    <a:pt x="2148" y="984"/>
                  </a:lnTo>
                  <a:lnTo>
                    <a:pt x="2079" y="1055"/>
                  </a:lnTo>
                  <a:lnTo>
                    <a:pt x="2006" y="1125"/>
                  </a:lnTo>
                  <a:lnTo>
                    <a:pt x="1929" y="1192"/>
                  </a:lnTo>
                  <a:lnTo>
                    <a:pt x="1848" y="1257"/>
                  </a:lnTo>
                  <a:lnTo>
                    <a:pt x="1763" y="1318"/>
                  </a:lnTo>
                  <a:lnTo>
                    <a:pt x="1673" y="1377"/>
                  </a:lnTo>
                  <a:lnTo>
                    <a:pt x="1578" y="1431"/>
                  </a:lnTo>
                  <a:lnTo>
                    <a:pt x="1477" y="1482"/>
                  </a:lnTo>
                  <a:lnTo>
                    <a:pt x="1372" y="1528"/>
                  </a:lnTo>
                  <a:lnTo>
                    <a:pt x="1263" y="1569"/>
                  </a:lnTo>
                  <a:lnTo>
                    <a:pt x="1146" y="1606"/>
                  </a:lnTo>
                  <a:lnTo>
                    <a:pt x="1023" y="1636"/>
                  </a:lnTo>
                  <a:lnTo>
                    <a:pt x="896" y="1662"/>
                  </a:lnTo>
                  <a:lnTo>
                    <a:pt x="761" y="1681"/>
                  </a:lnTo>
                  <a:lnTo>
                    <a:pt x="620" y="1693"/>
                  </a:lnTo>
                  <a:lnTo>
                    <a:pt x="473" y="1699"/>
                  </a:lnTo>
                  <a:lnTo>
                    <a:pt x="318" y="1696"/>
                  </a:lnTo>
                  <a:lnTo>
                    <a:pt x="157" y="1687"/>
                  </a:lnTo>
                  <a:lnTo>
                    <a:pt x="0" y="168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97C4DC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6653" tIns="58327" rIns="116653" bIns="58327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434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137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5" name="Freeform 11">
              <a:extLst>
                <a:ext uri="{FF2B5EF4-FFF2-40B4-BE49-F238E27FC236}">
                  <a16:creationId xmlns:a16="http://schemas.microsoft.com/office/drawing/2014/main" id="{CD935760-671D-D340-B117-DA6E51BDC9A9}"/>
                </a:ext>
              </a:extLst>
            </p:cNvPr>
            <p:cNvSpPr>
              <a:spLocks/>
            </p:cNvSpPr>
            <p:nvPr/>
          </p:nvSpPr>
          <p:spPr bwMode="auto">
            <a:xfrm>
              <a:off x="-665" y="822885"/>
              <a:ext cx="10499560" cy="962365"/>
            </a:xfrm>
            <a:custGeom>
              <a:avLst/>
              <a:gdLst>
                <a:gd name="T0" fmla="*/ 0 w 18163"/>
                <a:gd name="T1" fmla="*/ 0 h 1689"/>
                <a:gd name="T2" fmla="*/ 18163 w 18163"/>
                <a:gd name="T3" fmla="*/ 0 h 1689"/>
                <a:gd name="T4" fmla="*/ 18057 w 18163"/>
                <a:gd name="T5" fmla="*/ 48 h 1689"/>
                <a:gd name="T6" fmla="*/ 17955 w 18163"/>
                <a:gd name="T7" fmla="*/ 100 h 1689"/>
                <a:gd name="T8" fmla="*/ 17859 w 18163"/>
                <a:gd name="T9" fmla="*/ 157 h 1689"/>
                <a:gd name="T10" fmla="*/ 17767 w 18163"/>
                <a:gd name="T11" fmla="*/ 216 h 1689"/>
                <a:gd name="T12" fmla="*/ 17678 w 18163"/>
                <a:gd name="T13" fmla="*/ 278 h 1689"/>
                <a:gd name="T14" fmla="*/ 17593 w 18163"/>
                <a:gd name="T15" fmla="*/ 343 h 1689"/>
                <a:gd name="T16" fmla="*/ 17511 w 18163"/>
                <a:gd name="T17" fmla="*/ 410 h 1689"/>
                <a:gd name="T18" fmla="*/ 17432 w 18163"/>
                <a:gd name="T19" fmla="*/ 478 h 1689"/>
                <a:gd name="T20" fmla="*/ 17355 w 18163"/>
                <a:gd name="T21" fmla="*/ 549 h 1689"/>
                <a:gd name="T22" fmla="*/ 17281 w 18163"/>
                <a:gd name="T23" fmla="*/ 621 h 1689"/>
                <a:gd name="T24" fmla="*/ 17208 w 18163"/>
                <a:gd name="T25" fmla="*/ 693 h 1689"/>
                <a:gd name="T26" fmla="*/ 17136 w 18163"/>
                <a:gd name="T27" fmla="*/ 765 h 1689"/>
                <a:gd name="T28" fmla="*/ 16995 w 18163"/>
                <a:gd name="T29" fmla="*/ 910 h 1689"/>
                <a:gd name="T30" fmla="*/ 16858 w 18163"/>
                <a:gd name="T31" fmla="*/ 1051 h 1689"/>
                <a:gd name="T32" fmla="*/ 16788 w 18163"/>
                <a:gd name="T33" fmla="*/ 1119 h 1689"/>
                <a:gd name="T34" fmla="*/ 16717 w 18163"/>
                <a:gd name="T35" fmla="*/ 1186 h 1689"/>
                <a:gd name="T36" fmla="*/ 16646 w 18163"/>
                <a:gd name="T37" fmla="*/ 1250 h 1689"/>
                <a:gd name="T38" fmla="*/ 16573 w 18163"/>
                <a:gd name="T39" fmla="*/ 1311 h 1689"/>
                <a:gd name="T40" fmla="*/ 16499 w 18163"/>
                <a:gd name="T41" fmla="*/ 1369 h 1689"/>
                <a:gd name="T42" fmla="*/ 16422 w 18163"/>
                <a:gd name="T43" fmla="*/ 1423 h 1689"/>
                <a:gd name="T44" fmla="*/ 16343 w 18163"/>
                <a:gd name="T45" fmla="*/ 1474 h 1689"/>
                <a:gd name="T46" fmla="*/ 16262 w 18163"/>
                <a:gd name="T47" fmla="*/ 1520 h 1689"/>
                <a:gd name="T48" fmla="*/ 16177 w 18163"/>
                <a:gd name="T49" fmla="*/ 1561 h 1689"/>
                <a:gd name="T50" fmla="*/ 16089 w 18163"/>
                <a:gd name="T51" fmla="*/ 1597 h 1689"/>
                <a:gd name="T52" fmla="*/ 15997 w 18163"/>
                <a:gd name="T53" fmla="*/ 1628 h 1689"/>
                <a:gd name="T54" fmla="*/ 15901 w 18163"/>
                <a:gd name="T55" fmla="*/ 1653 h 1689"/>
                <a:gd name="T56" fmla="*/ 15801 w 18163"/>
                <a:gd name="T57" fmla="*/ 1672 h 1689"/>
                <a:gd name="T58" fmla="*/ 15696 w 18163"/>
                <a:gd name="T59" fmla="*/ 1683 h 1689"/>
                <a:gd name="T60" fmla="*/ 15585 w 18163"/>
                <a:gd name="T61" fmla="*/ 1689 h 1689"/>
                <a:gd name="T62" fmla="*/ 15470 w 18163"/>
                <a:gd name="T63" fmla="*/ 1687 h 1689"/>
                <a:gd name="T64" fmla="*/ 0 w 18163"/>
                <a:gd name="T65" fmla="*/ 1687 h 1689"/>
                <a:gd name="T66" fmla="*/ 0 w 18163"/>
                <a:gd name="T67" fmla="*/ 0 h 16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8163" h="1689">
                  <a:moveTo>
                    <a:pt x="0" y="0"/>
                  </a:moveTo>
                  <a:lnTo>
                    <a:pt x="18163" y="0"/>
                  </a:lnTo>
                  <a:lnTo>
                    <a:pt x="18057" y="48"/>
                  </a:lnTo>
                  <a:lnTo>
                    <a:pt x="17955" y="100"/>
                  </a:lnTo>
                  <a:lnTo>
                    <a:pt x="17859" y="157"/>
                  </a:lnTo>
                  <a:lnTo>
                    <a:pt x="17767" y="216"/>
                  </a:lnTo>
                  <a:lnTo>
                    <a:pt x="17678" y="278"/>
                  </a:lnTo>
                  <a:lnTo>
                    <a:pt x="17593" y="343"/>
                  </a:lnTo>
                  <a:lnTo>
                    <a:pt x="17511" y="410"/>
                  </a:lnTo>
                  <a:lnTo>
                    <a:pt x="17432" y="478"/>
                  </a:lnTo>
                  <a:lnTo>
                    <a:pt x="17355" y="549"/>
                  </a:lnTo>
                  <a:lnTo>
                    <a:pt x="17281" y="621"/>
                  </a:lnTo>
                  <a:lnTo>
                    <a:pt x="17208" y="693"/>
                  </a:lnTo>
                  <a:lnTo>
                    <a:pt x="17136" y="765"/>
                  </a:lnTo>
                  <a:lnTo>
                    <a:pt x="16995" y="910"/>
                  </a:lnTo>
                  <a:lnTo>
                    <a:pt x="16858" y="1051"/>
                  </a:lnTo>
                  <a:lnTo>
                    <a:pt x="16788" y="1119"/>
                  </a:lnTo>
                  <a:lnTo>
                    <a:pt x="16717" y="1186"/>
                  </a:lnTo>
                  <a:lnTo>
                    <a:pt x="16646" y="1250"/>
                  </a:lnTo>
                  <a:lnTo>
                    <a:pt x="16573" y="1311"/>
                  </a:lnTo>
                  <a:lnTo>
                    <a:pt x="16499" y="1369"/>
                  </a:lnTo>
                  <a:lnTo>
                    <a:pt x="16422" y="1423"/>
                  </a:lnTo>
                  <a:lnTo>
                    <a:pt x="16343" y="1474"/>
                  </a:lnTo>
                  <a:lnTo>
                    <a:pt x="16262" y="1520"/>
                  </a:lnTo>
                  <a:lnTo>
                    <a:pt x="16177" y="1561"/>
                  </a:lnTo>
                  <a:lnTo>
                    <a:pt x="16089" y="1597"/>
                  </a:lnTo>
                  <a:lnTo>
                    <a:pt x="15997" y="1628"/>
                  </a:lnTo>
                  <a:lnTo>
                    <a:pt x="15901" y="1653"/>
                  </a:lnTo>
                  <a:lnTo>
                    <a:pt x="15801" y="1672"/>
                  </a:lnTo>
                  <a:lnTo>
                    <a:pt x="15696" y="1683"/>
                  </a:lnTo>
                  <a:lnTo>
                    <a:pt x="15585" y="1689"/>
                  </a:lnTo>
                  <a:lnTo>
                    <a:pt x="15470" y="1687"/>
                  </a:lnTo>
                  <a:lnTo>
                    <a:pt x="0" y="168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BF0FC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6653" tIns="58327" rIns="116653" bIns="58327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434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137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17" name="Группа 16"/>
          <p:cNvGrpSpPr/>
          <p:nvPr/>
        </p:nvGrpSpPr>
        <p:grpSpPr>
          <a:xfrm>
            <a:off x="0" y="5551331"/>
            <a:ext cx="12191999" cy="1310700"/>
            <a:chOff x="275" y="6236251"/>
            <a:chExt cx="10836000" cy="1472413"/>
          </a:xfrm>
        </p:grpSpPr>
        <p:sp>
          <p:nvSpPr>
            <p:cNvPr id="18" name="Freeform 6"/>
            <p:cNvSpPr>
              <a:spLocks/>
            </p:cNvSpPr>
            <p:nvPr/>
          </p:nvSpPr>
          <p:spPr bwMode="auto">
            <a:xfrm>
              <a:off x="275" y="6236251"/>
              <a:ext cx="10836000" cy="1472413"/>
            </a:xfrm>
            <a:custGeom>
              <a:avLst/>
              <a:gdLst>
                <a:gd name="T0" fmla="*/ 18868 w 18868"/>
                <a:gd name="T1" fmla="*/ 427 h 2579"/>
                <a:gd name="T2" fmla="*/ 18291 w 18868"/>
                <a:gd name="T3" fmla="*/ 321 h 2579"/>
                <a:gd name="T4" fmla="*/ 17714 w 18868"/>
                <a:gd name="T5" fmla="*/ 233 h 2579"/>
                <a:gd name="T6" fmla="*/ 17133 w 18868"/>
                <a:gd name="T7" fmla="*/ 160 h 2579"/>
                <a:gd name="T8" fmla="*/ 16552 w 18868"/>
                <a:gd name="T9" fmla="*/ 102 h 2579"/>
                <a:gd name="T10" fmla="*/ 15969 w 18868"/>
                <a:gd name="T11" fmla="*/ 58 h 2579"/>
                <a:gd name="T12" fmla="*/ 15384 w 18868"/>
                <a:gd name="T13" fmla="*/ 28 h 2579"/>
                <a:gd name="T14" fmla="*/ 14800 w 18868"/>
                <a:gd name="T15" fmla="*/ 9 h 2579"/>
                <a:gd name="T16" fmla="*/ 14214 w 18868"/>
                <a:gd name="T17" fmla="*/ 0 h 2579"/>
                <a:gd name="T18" fmla="*/ 13626 w 18868"/>
                <a:gd name="T19" fmla="*/ 4 h 2579"/>
                <a:gd name="T20" fmla="*/ 13037 w 18868"/>
                <a:gd name="T21" fmla="*/ 16 h 2579"/>
                <a:gd name="T22" fmla="*/ 12448 w 18868"/>
                <a:gd name="T23" fmla="*/ 36 h 2579"/>
                <a:gd name="T24" fmla="*/ 11857 w 18868"/>
                <a:gd name="T25" fmla="*/ 63 h 2579"/>
                <a:gd name="T26" fmla="*/ 11267 w 18868"/>
                <a:gd name="T27" fmla="*/ 97 h 2579"/>
                <a:gd name="T28" fmla="*/ 10675 w 18868"/>
                <a:gd name="T29" fmla="*/ 137 h 2579"/>
                <a:gd name="T30" fmla="*/ 10083 w 18868"/>
                <a:gd name="T31" fmla="*/ 181 h 2579"/>
                <a:gd name="T32" fmla="*/ 9489 w 18868"/>
                <a:gd name="T33" fmla="*/ 229 h 2579"/>
                <a:gd name="T34" fmla="*/ 8896 w 18868"/>
                <a:gd name="T35" fmla="*/ 279 h 2579"/>
                <a:gd name="T36" fmla="*/ 8302 w 18868"/>
                <a:gd name="T37" fmla="*/ 332 h 2579"/>
                <a:gd name="T38" fmla="*/ 7709 w 18868"/>
                <a:gd name="T39" fmla="*/ 385 h 2579"/>
                <a:gd name="T40" fmla="*/ 7114 w 18868"/>
                <a:gd name="T41" fmla="*/ 438 h 2579"/>
                <a:gd name="T42" fmla="*/ 6520 w 18868"/>
                <a:gd name="T43" fmla="*/ 490 h 2579"/>
                <a:gd name="T44" fmla="*/ 5926 w 18868"/>
                <a:gd name="T45" fmla="*/ 539 h 2579"/>
                <a:gd name="T46" fmla="*/ 5331 w 18868"/>
                <a:gd name="T47" fmla="*/ 586 h 2579"/>
                <a:gd name="T48" fmla="*/ 4738 w 18868"/>
                <a:gd name="T49" fmla="*/ 629 h 2579"/>
                <a:gd name="T50" fmla="*/ 4144 w 18868"/>
                <a:gd name="T51" fmla="*/ 668 h 2579"/>
                <a:gd name="T52" fmla="*/ 3551 w 18868"/>
                <a:gd name="T53" fmla="*/ 700 h 2579"/>
                <a:gd name="T54" fmla="*/ 2958 w 18868"/>
                <a:gd name="T55" fmla="*/ 726 h 2579"/>
                <a:gd name="T56" fmla="*/ 2364 w 18868"/>
                <a:gd name="T57" fmla="*/ 744 h 2579"/>
                <a:gd name="T58" fmla="*/ 1772 w 18868"/>
                <a:gd name="T59" fmla="*/ 754 h 2579"/>
                <a:gd name="T60" fmla="*/ 1180 w 18868"/>
                <a:gd name="T61" fmla="*/ 754 h 2579"/>
                <a:gd name="T62" fmla="*/ 590 w 18868"/>
                <a:gd name="T63" fmla="*/ 743 h 2579"/>
                <a:gd name="T64" fmla="*/ 0 w 18868"/>
                <a:gd name="T65" fmla="*/ 722 h 2579"/>
                <a:gd name="T66" fmla="*/ 0 w 18868"/>
                <a:gd name="T67" fmla="*/ 2579 h 2579"/>
                <a:gd name="T68" fmla="*/ 18868 w 18868"/>
                <a:gd name="T69" fmla="*/ 2579 h 2579"/>
                <a:gd name="T70" fmla="*/ 18868 w 18868"/>
                <a:gd name="T71" fmla="*/ 427 h 25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8868" h="2579">
                  <a:moveTo>
                    <a:pt x="18868" y="427"/>
                  </a:moveTo>
                  <a:lnTo>
                    <a:pt x="18291" y="321"/>
                  </a:lnTo>
                  <a:lnTo>
                    <a:pt x="17714" y="233"/>
                  </a:lnTo>
                  <a:lnTo>
                    <a:pt x="17133" y="160"/>
                  </a:lnTo>
                  <a:lnTo>
                    <a:pt x="16552" y="102"/>
                  </a:lnTo>
                  <a:lnTo>
                    <a:pt x="15969" y="58"/>
                  </a:lnTo>
                  <a:lnTo>
                    <a:pt x="15384" y="28"/>
                  </a:lnTo>
                  <a:lnTo>
                    <a:pt x="14800" y="9"/>
                  </a:lnTo>
                  <a:lnTo>
                    <a:pt x="14214" y="0"/>
                  </a:lnTo>
                  <a:lnTo>
                    <a:pt x="13626" y="4"/>
                  </a:lnTo>
                  <a:lnTo>
                    <a:pt x="13037" y="16"/>
                  </a:lnTo>
                  <a:lnTo>
                    <a:pt x="12448" y="36"/>
                  </a:lnTo>
                  <a:lnTo>
                    <a:pt x="11857" y="63"/>
                  </a:lnTo>
                  <a:lnTo>
                    <a:pt x="11267" y="97"/>
                  </a:lnTo>
                  <a:lnTo>
                    <a:pt x="10675" y="137"/>
                  </a:lnTo>
                  <a:lnTo>
                    <a:pt x="10083" y="181"/>
                  </a:lnTo>
                  <a:lnTo>
                    <a:pt x="9489" y="229"/>
                  </a:lnTo>
                  <a:lnTo>
                    <a:pt x="8896" y="279"/>
                  </a:lnTo>
                  <a:lnTo>
                    <a:pt x="8302" y="332"/>
                  </a:lnTo>
                  <a:lnTo>
                    <a:pt x="7709" y="385"/>
                  </a:lnTo>
                  <a:lnTo>
                    <a:pt x="7114" y="438"/>
                  </a:lnTo>
                  <a:lnTo>
                    <a:pt x="6520" y="490"/>
                  </a:lnTo>
                  <a:lnTo>
                    <a:pt x="5926" y="539"/>
                  </a:lnTo>
                  <a:lnTo>
                    <a:pt x="5331" y="586"/>
                  </a:lnTo>
                  <a:lnTo>
                    <a:pt x="4738" y="629"/>
                  </a:lnTo>
                  <a:lnTo>
                    <a:pt x="4144" y="668"/>
                  </a:lnTo>
                  <a:lnTo>
                    <a:pt x="3551" y="700"/>
                  </a:lnTo>
                  <a:lnTo>
                    <a:pt x="2958" y="726"/>
                  </a:lnTo>
                  <a:lnTo>
                    <a:pt x="2364" y="744"/>
                  </a:lnTo>
                  <a:lnTo>
                    <a:pt x="1772" y="754"/>
                  </a:lnTo>
                  <a:lnTo>
                    <a:pt x="1180" y="754"/>
                  </a:lnTo>
                  <a:lnTo>
                    <a:pt x="590" y="743"/>
                  </a:lnTo>
                  <a:lnTo>
                    <a:pt x="0" y="722"/>
                  </a:lnTo>
                  <a:lnTo>
                    <a:pt x="0" y="2579"/>
                  </a:lnTo>
                  <a:lnTo>
                    <a:pt x="18868" y="2579"/>
                  </a:lnTo>
                  <a:lnTo>
                    <a:pt x="18868" y="427"/>
                  </a:lnTo>
                  <a:close/>
                </a:path>
              </a:pathLst>
            </a:custGeom>
            <a:solidFill>
              <a:srgbClr val="FCD5A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6653" tIns="58327" rIns="116653" bIns="58327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434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218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9" name="Freeform 7"/>
            <p:cNvSpPr>
              <a:spLocks/>
            </p:cNvSpPr>
            <p:nvPr/>
          </p:nvSpPr>
          <p:spPr bwMode="auto">
            <a:xfrm>
              <a:off x="275" y="6375503"/>
              <a:ext cx="10836000" cy="1333161"/>
            </a:xfrm>
            <a:custGeom>
              <a:avLst/>
              <a:gdLst>
                <a:gd name="T0" fmla="*/ 0 w 18868"/>
                <a:gd name="T1" fmla="*/ 480 h 2337"/>
                <a:gd name="T2" fmla="*/ 577 w 18868"/>
                <a:gd name="T3" fmla="*/ 374 h 2337"/>
                <a:gd name="T4" fmla="*/ 1154 w 18868"/>
                <a:gd name="T5" fmla="*/ 283 h 2337"/>
                <a:gd name="T6" fmla="*/ 1735 w 18868"/>
                <a:gd name="T7" fmla="*/ 206 h 2337"/>
                <a:gd name="T8" fmla="*/ 2316 w 18868"/>
                <a:gd name="T9" fmla="*/ 143 h 2337"/>
                <a:gd name="T10" fmla="*/ 2899 w 18868"/>
                <a:gd name="T11" fmla="*/ 92 h 2337"/>
                <a:gd name="T12" fmla="*/ 3484 w 18868"/>
                <a:gd name="T13" fmla="*/ 53 h 2337"/>
                <a:gd name="T14" fmla="*/ 4068 w 18868"/>
                <a:gd name="T15" fmla="*/ 26 h 2337"/>
                <a:gd name="T16" fmla="*/ 4654 w 18868"/>
                <a:gd name="T17" fmla="*/ 8 h 2337"/>
                <a:gd name="T18" fmla="*/ 5242 w 18868"/>
                <a:gd name="T19" fmla="*/ 0 h 2337"/>
                <a:gd name="T20" fmla="*/ 5831 w 18868"/>
                <a:gd name="T21" fmla="*/ 0 h 2337"/>
                <a:gd name="T22" fmla="*/ 6420 w 18868"/>
                <a:gd name="T23" fmla="*/ 8 h 2337"/>
                <a:gd name="T24" fmla="*/ 7011 w 18868"/>
                <a:gd name="T25" fmla="*/ 23 h 2337"/>
                <a:gd name="T26" fmla="*/ 7601 w 18868"/>
                <a:gd name="T27" fmla="*/ 44 h 2337"/>
                <a:gd name="T28" fmla="*/ 8193 w 18868"/>
                <a:gd name="T29" fmla="*/ 70 h 2337"/>
                <a:gd name="T30" fmla="*/ 8785 w 18868"/>
                <a:gd name="T31" fmla="*/ 100 h 2337"/>
                <a:gd name="T32" fmla="*/ 9379 w 18868"/>
                <a:gd name="T33" fmla="*/ 135 h 2337"/>
                <a:gd name="T34" fmla="*/ 9972 w 18868"/>
                <a:gd name="T35" fmla="*/ 171 h 2337"/>
                <a:gd name="T36" fmla="*/ 10566 w 18868"/>
                <a:gd name="T37" fmla="*/ 210 h 2337"/>
                <a:gd name="T38" fmla="*/ 11159 w 18868"/>
                <a:gd name="T39" fmla="*/ 249 h 2337"/>
                <a:gd name="T40" fmla="*/ 11754 w 18868"/>
                <a:gd name="T41" fmla="*/ 289 h 2337"/>
                <a:gd name="T42" fmla="*/ 12348 w 18868"/>
                <a:gd name="T43" fmla="*/ 328 h 2337"/>
                <a:gd name="T44" fmla="*/ 12942 w 18868"/>
                <a:gd name="T45" fmla="*/ 366 h 2337"/>
                <a:gd name="T46" fmla="*/ 13537 w 18868"/>
                <a:gd name="T47" fmla="*/ 401 h 2337"/>
                <a:gd name="T48" fmla="*/ 14130 w 18868"/>
                <a:gd name="T49" fmla="*/ 433 h 2337"/>
                <a:gd name="T50" fmla="*/ 14724 w 18868"/>
                <a:gd name="T51" fmla="*/ 462 h 2337"/>
                <a:gd name="T52" fmla="*/ 15317 w 18868"/>
                <a:gd name="T53" fmla="*/ 486 h 2337"/>
                <a:gd name="T54" fmla="*/ 15910 w 18868"/>
                <a:gd name="T55" fmla="*/ 504 h 2337"/>
                <a:gd name="T56" fmla="*/ 16504 w 18868"/>
                <a:gd name="T57" fmla="*/ 515 h 2337"/>
                <a:gd name="T58" fmla="*/ 17096 w 18868"/>
                <a:gd name="T59" fmla="*/ 519 h 2337"/>
                <a:gd name="T60" fmla="*/ 17688 w 18868"/>
                <a:gd name="T61" fmla="*/ 515 h 2337"/>
                <a:gd name="T62" fmla="*/ 18278 w 18868"/>
                <a:gd name="T63" fmla="*/ 502 h 2337"/>
                <a:gd name="T64" fmla="*/ 18868 w 18868"/>
                <a:gd name="T65" fmla="*/ 480 h 2337"/>
                <a:gd name="T66" fmla="*/ 18868 w 18868"/>
                <a:gd name="T67" fmla="*/ 2337 h 2337"/>
                <a:gd name="T68" fmla="*/ 0 w 18868"/>
                <a:gd name="T69" fmla="*/ 2337 h 2337"/>
                <a:gd name="T70" fmla="*/ 0 w 18868"/>
                <a:gd name="T71" fmla="*/ 480 h 23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8868" h="2337">
                  <a:moveTo>
                    <a:pt x="0" y="480"/>
                  </a:moveTo>
                  <a:lnTo>
                    <a:pt x="577" y="374"/>
                  </a:lnTo>
                  <a:lnTo>
                    <a:pt x="1154" y="283"/>
                  </a:lnTo>
                  <a:lnTo>
                    <a:pt x="1735" y="206"/>
                  </a:lnTo>
                  <a:lnTo>
                    <a:pt x="2316" y="143"/>
                  </a:lnTo>
                  <a:lnTo>
                    <a:pt x="2899" y="92"/>
                  </a:lnTo>
                  <a:lnTo>
                    <a:pt x="3484" y="53"/>
                  </a:lnTo>
                  <a:lnTo>
                    <a:pt x="4068" y="26"/>
                  </a:lnTo>
                  <a:lnTo>
                    <a:pt x="4654" y="8"/>
                  </a:lnTo>
                  <a:lnTo>
                    <a:pt x="5242" y="0"/>
                  </a:lnTo>
                  <a:lnTo>
                    <a:pt x="5831" y="0"/>
                  </a:lnTo>
                  <a:lnTo>
                    <a:pt x="6420" y="8"/>
                  </a:lnTo>
                  <a:lnTo>
                    <a:pt x="7011" y="23"/>
                  </a:lnTo>
                  <a:lnTo>
                    <a:pt x="7601" y="44"/>
                  </a:lnTo>
                  <a:lnTo>
                    <a:pt x="8193" y="70"/>
                  </a:lnTo>
                  <a:lnTo>
                    <a:pt x="8785" y="100"/>
                  </a:lnTo>
                  <a:lnTo>
                    <a:pt x="9379" y="135"/>
                  </a:lnTo>
                  <a:lnTo>
                    <a:pt x="9972" y="171"/>
                  </a:lnTo>
                  <a:lnTo>
                    <a:pt x="10566" y="210"/>
                  </a:lnTo>
                  <a:lnTo>
                    <a:pt x="11159" y="249"/>
                  </a:lnTo>
                  <a:lnTo>
                    <a:pt x="11754" y="289"/>
                  </a:lnTo>
                  <a:lnTo>
                    <a:pt x="12348" y="328"/>
                  </a:lnTo>
                  <a:lnTo>
                    <a:pt x="12942" y="366"/>
                  </a:lnTo>
                  <a:lnTo>
                    <a:pt x="13537" y="401"/>
                  </a:lnTo>
                  <a:lnTo>
                    <a:pt x="14130" y="433"/>
                  </a:lnTo>
                  <a:lnTo>
                    <a:pt x="14724" y="462"/>
                  </a:lnTo>
                  <a:lnTo>
                    <a:pt x="15317" y="486"/>
                  </a:lnTo>
                  <a:lnTo>
                    <a:pt x="15910" y="504"/>
                  </a:lnTo>
                  <a:lnTo>
                    <a:pt x="16504" y="515"/>
                  </a:lnTo>
                  <a:lnTo>
                    <a:pt x="17096" y="519"/>
                  </a:lnTo>
                  <a:lnTo>
                    <a:pt x="17688" y="515"/>
                  </a:lnTo>
                  <a:lnTo>
                    <a:pt x="18278" y="502"/>
                  </a:lnTo>
                  <a:lnTo>
                    <a:pt x="18868" y="480"/>
                  </a:lnTo>
                  <a:lnTo>
                    <a:pt x="18868" y="2337"/>
                  </a:lnTo>
                  <a:lnTo>
                    <a:pt x="0" y="2337"/>
                  </a:lnTo>
                  <a:lnTo>
                    <a:pt x="0" y="480"/>
                  </a:lnTo>
                  <a:close/>
                </a:path>
              </a:pathLst>
            </a:custGeom>
            <a:solidFill>
              <a:srgbClr val="F3C37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6653" tIns="58327" rIns="116653" bIns="58327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434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218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3" name="Group 4"/>
          <p:cNvGrpSpPr>
            <a:grpSpLocks noChangeAspect="1"/>
          </p:cNvGrpSpPr>
          <p:nvPr/>
        </p:nvGrpSpPr>
        <p:grpSpPr bwMode="auto">
          <a:xfrm>
            <a:off x="811180" y="41590"/>
            <a:ext cx="10061309" cy="6798675"/>
            <a:chOff x="-228" y="0"/>
            <a:chExt cx="4968" cy="3357"/>
          </a:xfrm>
        </p:grpSpPr>
        <p:sp>
          <p:nvSpPr>
            <p:cNvPr id="4" name="AutoShape 3"/>
            <p:cNvSpPr>
              <a:spLocks noChangeAspect="1" noChangeArrowheads="1" noTextEdit="1"/>
            </p:cNvSpPr>
            <p:nvPr/>
          </p:nvSpPr>
          <p:spPr bwMode="auto">
            <a:xfrm>
              <a:off x="23" y="0"/>
              <a:ext cx="4717" cy="335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16653" tIns="58327" rIns="116653" bIns="58327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434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218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1" name="Rectangle 12"/>
            <p:cNvSpPr>
              <a:spLocks noChangeArrowheads="1"/>
            </p:cNvSpPr>
            <p:nvPr/>
          </p:nvSpPr>
          <p:spPr bwMode="auto">
            <a:xfrm>
              <a:off x="-228" y="155"/>
              <a:ext cx="3923" cy="37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1166575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ru-RU" sz="2493" b="1" i="0" u="none" strike="noStrike" kern="1200" cap="none" spc="0" normalizeH="0" baseline="0" noProof="0" dirty="0">
                  <a:ln>
                    <a:noFill/>
                  </a:ln>
                  <a:solidFill>
                    <a:srgbClr val="14447A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rPr>
                <a:t>LINEX® FORTE </a:t>
              </a:r>
              <a:r>
                <a:rPr kumimoji="0" lang="en-US" altLang="ru-RU" sz="2493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14447A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rPr>
                <a:t>tərkibindəki</a:t>
              </a:r>
              <a:r>
                <a:rPr kumimoji="0" lang="en-US" altLang="ru-RU" sz="2493" b="1" i="0" u="none" strike="noStrike" kern="1200" cap="none" spc="0" normalizeH="0" baseline="0" noProof="0" dirty="0">
                  <a:ln>
                    <a:noFill/>
                  </a:ln>
                  <a:solidFill>
                    <a:srgbClr val="14447A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rPr>
                <a:t> LA-5 </a:t>
              </a:r>
              <a:r>
                <a:rPr kumimoji="0" lang="en-US" altLang="ru-RU" sz="2493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14447A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rPr>
                <a:t>və</a:t>
              </a:r>
              <a:r>
                <a:rPr kumimoji="0" lang="en-US" altLang="ru-RU" sz="2493" b="1" i="0" u="none" strike="noStrike" kern="1200" cap="none" spc="0" normalizeH="0" baseline="0" noProof="0" dirty="0">
                  <a:ln>
                    <a:noFill/>
                  </a:ln>
                  <a:solidFill>
                    <a:srgbClr val="14447A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rPr>
                <a:t> BB-12 </a:t>
              </a:r>
              <a:r>
                <a:rPr kumimoji="0" lang="en-US" altLang="ru-RU" sz="2493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14447A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rPr>
                <a:t>bakteriyaları</a:t>
              </a:r>
              <a:r>
                <a:rPr kumimoji="0" lang="en-US" altLang="ru-RU" sz="2493" b="1" i="0" u="none" strike="noStrike" kern="1200" cap="none" spc="0" normalizeH="0" baseline="0" noProof="0" dirty="0">
                  <a:ln>
                    <a:noFill/>
                  </a:ln>
                  <a:solidFill>
                    <a:srgbClr val="14447A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rPr>
                <a:t> </a:t>
              </a:r>
              <a:r>
                <a:rPr kumimoji="0" lang="en-US" altLang="ru-RU" sz="2493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14447A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rPr>
                <a:t>bir-birinin</a:t>
              </a:r>
              <a:r>
                <a:rPr kumimoji="0" lang="en-US" altLang="ru-RU" sz="2493" b="1" i="0" u="none" strike="noStrike" kern="1200" cap="none" spc="0" normalizeH="0" baseline="0" noProof="0" dirty="0">
                  <a:ln>
                    <a:noFill/>
                  </a:ln>
                  <a:solidFill>
                    <a:srgbClr val="14447A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rPr>
                <a:t> </a:t>
              </a:r>
              <a:r>
                <a:rPr kumimoji="0" lang="en-US" altLang="ru-RU" sz="2493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14447A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rPr>
                <a:t>təsirini</a:t>
              </a:r>
              <a:r>
                <a:rPr kumimoji="0" lang="en-US" altLang="ru-RU" sz="2493" b="1" i="0" u="none" strike="noStrike" kern="1200" cap="none" spc="0" normalizeH="0" baseline="0" noProof="0" dirty="0">
                  <a:ln>
                    <a:noFill/>
                  </a:ln>
                  <a:solidFill>
                    <a:srgbClr val="14447A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rPr>
                <a:t> </a:t>
              </a:r>
              <a:r>
                <a:rPr kumimoji="0" lang="en-US" altLang="ru-RU" sz="2493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14447A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rPr>
                <a:t>gücləndirir</a:t>
              </a:r>
              <a:r>
                <a:rPr kumimoji="0" lang="en-US" altLang="ru-RU" sz="2493" b="1" i="0" u="none" strike="noStrike" kern="1200" cap="none" spc="0" normalizeH="0" baseline="0" noProof="0" dirty="0">
                  <a:ln>
                    <a:noFill/>
                  </a:ln>
                  <a:solidFill>
                    <a:srgbClr val="14447A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rPr>
                <a:t>.</a:t>
              </a:r>
              <a:endParaRPr kumimoji="0" lang="ru-RU" altLang="ru-RU" sz="249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sp>
          <p:nvSpPr>
            <p:cNvPr id="14" name="Rectangle 15"/>
            <p:cNvSpPr>
              <a:spLocks noChangeArrowheads="1"/>
            </p:cNvSpPr>
            <p:nvPr/>
          </p:nvSpPr>
          <p:spPr bwMode="auto">
            <a:xfrm>
              <a:off x="2687" y="1487"/>
              <a:ext cx="250" cy="27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1166575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altLang="ru-RU" sz="3572" b="0" i="0" u="none" strike="noStrike" kern="1200" cap="none" spc="0" normalizeH="0" baseline="0" noProof="0">
                  <a:ln>
                    <a:noFill/>
                  </a:ln>
                  <a:solidFill>
                    <a:srgbClr val="14447A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rPr>
                <a:t>    </a:t>
              </a:r>
              <a:endParaRPr kumimoji="0" lang="ru-RU" altLang="ru-RU" sz="2297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</p:grpSp>
      <p:sp>
        <p:nvSpPr>
          <p:cNvPr id="33" name="TextBox 32"/>
          <p:cNvSpPr txBox="1"/>
          <p:nvPr/>
        </p:nvSpPr>
        <p:spPr>
          <a:xfrm>
            <a:off x="1978486" y="6075486"/>
            <a:ext cx="6778269" cy="2296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43477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92" b="0" i="0" u="none" strike="noStrike" kern="1200" cap="none" spc="0" normalizeH="0" baseline="0" noProof="0" dirty="0">
                <a:ln>
                  <a:noFill/>
                </a:ln>
                <a:solidFill>
                  <a:srgbClr val="14447A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Андреева И.В., Стецюк О. Клин </a:t>
            </a:r>
            <a:r>
              <a:rPr kumimoji="0" lang="ru-RU" sz="892" b="0" i="0" u="none" strike="noStrike" kern="1200" cap="none" spc="0" normalizeH="0" baseline="0" noProof="0" dirty="0" err="1">
                <a:ln>
                  <a:noFill/>
                </a:ln>
                <a:solidFill>
                  <a:srgbClr val="14447A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микробиол</a:t>
            </a:r>
            <a:r>
              <a:rPr kumimoji="0" lang="ru-RU" sz="892" b="0" i="0" u="none" strike="noStrike" kern="1200" cap="none" spc="0" normalizeH="0" baseline="0" noProof="0" dirty="0">
                <a:ln>
                  <a:noFill/>
                </a:ln>
                <a:solidFill>
                  <a:srgbClr val="14447A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. </a:t>
            </a:r>
            <a:r>
              <a:rPr kumimoji="0" lang="ru-RU" sz="892" b="0" i="0" u="none" strike="noStrike" kern="1200" cap="none" spc="0" normalizeH="0" baseline="0" noProof="0" dirty="0" err="1">
                <a:ln>
                  <a:noFill/>
                </a:ln>
                <a:solidFill>
                  <a:srgbClr val="14447A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антимикроб</a:t>
            </a:r>
            <a:r>
              <a:rPr kumimoji="0" lang="ru-RU" sz="892" b="0" i="0" u="none" strike="noStrike" kern="1200" cap="none" spc="0" normalizeH="0" baseline="0" noProof="0" dirty="0">
                <a:ln>
                  <a:noFill/>
                </a:ln>
                <a:solidFill>
                  <a:srgbClr val="14447A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. </a:t>
            </a:r>
            <a:r>
              <a:rPr kumimoji="0" lang="ru-RU" sz="892" b="0" i="0" u="none" strike="noStrike" kern="1200" cap="none" spc="0" normalizeH="0" baseline="0" noProof="0" dirty="0" err="1">
                <a:ln>
                  <a:noFill/>
                </a:ln>
                <a:solidFill>
                  <a:srgbClr val="14447A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химиотер</a:t>
            </a:r>
            <a:r>
              <a:rPr kumimoji="0" lang="ru-RU" sz="892" b="0" i="0" u="none" strike="noStrike" kern="1200" cap="none" spc="0" normalizeH="0" baseline="0" noProof="0" dirty="0">
                <a:ln>
                  <a:noFill/>
                </a:ln>
                <a:solidFill>
                  <a:srgbClr val="14447A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. 20</a:t>
            </a:r>
            <a:r>
              <a:rPr kumimoji="0" lang="en-US" sz="892" b="0" i="0" u="none" strike="noStrike" kern="1200" cap="none" spc="0" normalizeH="0" baseline="0" noProof="0" dirty="0">
                <a:ln>
                  <a:noFill/>
                </a:ln>
                <a:solidFill>
                  <a:srgbClr val="14447A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1</a:t>
            </a:r>
            <a:r>
              <a:rPr kumimoji="0" lang="ru-RU" sz="892" b="0" i="0" u="none" strike="noStrike" kern="1200" cap="none" spc="0" normalizeH="0" baseline="0" noProof="0" dirty="0">
                <a:ln>
                  <a:noFill/>
                </a:ln>
                <a:solidFill>
                  <a:srgbClr val="14447A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6, том 18, №2, с 116-124</a:t>
            </a:r>
          </a:p>
        </p:txBody>
      </p:sp>
      <p:graphicFrame>
        <p:nvGraphicFramePr>
          <p:cNvPr id="16" name="Схема 15"/>
          <p:cNvGraphicFramePr/>
          <p:nvPr/>
        </p:nvGraphicFramePr>
        <p:xfrm>
          <a:off x="2057229" y="1632233"/>
          <a:ext cx="8141137" cy="86668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pic>
        <p:nvPicPr>
          <p:cNvPr id="2" name="Рисунок 1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64258" y="2638027"/>
            <a:ext cx="6263492" cy="2846023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BD7B9000-0AD8-3382-3BBA-CBEF19924A46}"/>
              </a:ext>
            </a:extLst>
          </p:cNvPr>
          <p:cNvPicPr>
            <a:picLocks noChangeAspect="1"/>
          </p:cNvPicPr>
          <p:nvPr/>
        </p:nvPicPr>
        <p:blipFill rotWithShape="1">
          <a:blip r:embed="rId9"/>
          <a:srcRect l="21558" t="11283" r="20941" b="12333"/>
          <a:stretch/>
        </p:blipFill>
        <p:spPr>
          <a:xfrm>
            <a:off x="9289853" y="2725177"/>
            <a:ext cx="2659458" cy="2469892"/>
          </a:xfrm>
          <a:prstGeom prst="rect">
            <a:avLst/>
          </a:prstGeom>
        </p:spPr>
      </p:pic>
      <p:pic>
        <p:nvPicPr>
          <p:cNvPr id="24" name="Рисунок 23">
            <a:extLst>
              <a:ext uri="{FF2B5EF4-FFF2-40B4-BE49-F238E27FC236}">
                <a16:creationId xmlns:a16="http://schemas.microsoft.com/office/drawing/2014/main" id="{7623920F-9E2B-46E5-A5B9-74C1F7CE2FE1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09426" y="6510213"/>
            <a:ext cx="1394768" cy="1875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65000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Прямоугольник 30">
            <a:extLst>
              <a:ext uri="{FF2B5EF4-FFF2-40B4-BE49-F238E27FC236}">
                <a16:creationId xmlns:a16="http://schemas.microsoft.com/office/drawing/2014/main" id="{E5E54396-5417-DC48-9D82-42B370FEFBB2}"/>
              </a:ext>
            </a:extLst>
          </p:cNvPr>
          <p:cNvSpPr/>
          <p:nvPr/>
        </p:nvSpPr>
        <p:spPr>
          <a:xfrm>
            <a:off x="1705278" y="6343450"/>
            <a:ext cx="7124887" cy="28533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7662" marR="0" lvl="0" indent="-177662" algn="l" defTabSz="7106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kumimoji="0" lang="ru-RU" sz="627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Копылова. «Возможности применения масляной кислоты и инулина в раннем  восстановительном периоде после </a:t>
            </a:r>
            <a:r>
              <a:rPr kumimoji="0" lang="ru-RU" sz="627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холецистэктомии</a:t>
            </a:r>
            <a:r>
              <a:rPr kumimoji="0" lang="ru-RU" sz="627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». Лечащий врач, 02/2013.</a:t>
            </a:r>
          </a:p>
          <a:p>
            <a:pPr marL="177662" marR="0" lvl="0" indent="-177662" algn="l" defTabSz="7106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kumimoji="0" lang="ru-RU" sz="627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Л.С. Круглова. </a:t>
            </a:r>
            <a:r>
              <a:rPr kumimoji="0" lang="ru-RU" sz="627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Симптомокомплекс</a:t>
            </a:r>
            <a:r>
              <a:rPr kumimoji="0" lang="ru-RU" sz="627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sz="627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дисбиоза</a:t>
            </a:r>
            <a:r>
              <a:rPr kumimoji="0" lang="ru-RU" sz="627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у больных </a:t>
            </a:r>
            <a:r>
              <a:rPr kumimoji="0" lang="ru-RU" sz="627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атопическим</a:t>
            </a:r>
            <a:r>
              <a:rPr kumimoji="0" lang="ru-RU" sz="627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дерматитом и методы его коррекции. Лечащий врач. 2012.</a:t>
            </a:r>
          </a:p>
        </p:txBody>
      </p:sp>
      <p:sp>
        <p:nvSpPr>
          <p:cNvPr id="24" name="Заголовок 1">
            <a:extLst>
              <a:ext uri="{FF2B5EF4-FFF2-40B4-BE49-F238E27FC236}">
                <a16:creationId xmlns:a16="http://schemas.microsoft.com/office/drawing/2014/main" id="{CB635146-413D-4747-AF10-2AD15E0D4F3F}"/>
              </a:ext>
            </a:extLst>
          </p:cNvPr>
          <p:cNvSpPr txBox="1">
            <a:spLocks/>
          </p:cNvSpPr>
          <p:nvPr/>
        </p:nvSpPr>
        <p:spPr>
          <a:xfrm>
            <a:off x="1704339" y="316342"/>
            <a:ext cx="7062232" cy="541159"/>
          </a:xfrm>
          <a:prstGeom prst="rect">
            <a:avLst/>
          </a:prstGeom>
        </p:spPr>
        <p:txBody>
          <a:bodyPr vert="horz" lIns="114598" tIns="57299" rIns="114598" bIns="57299" rtlCol="0" anchor="ctr">
            <a:noAutofit/>
          </a:bodyPr>
          <a:lstStyle>
            <a:lvl1pPr algn="l" defTabSz="7296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b="1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8" rtl="0" eaLnBrk="1" fontAlgn="auto" latinLnBrk="0" hangingPunct="1">
              <a:lnSpc>
                <a:spcPts val="2381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632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1809502" y="259055"/>
            <a:ext cx="6870097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8" rtl="0" eaLnBrk="1" fontAlgn="auto" latinLnBrk="0" hangingPunct="1">
              <a:lnSpc>
                <a:spcPts val="2381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z-Latn-AZ" sz="2381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İnulin </a:t>
            </a:r>
            <a:r>
              <a:rPr kumimoji="0" lang="ru-RU" sz="2381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– </a:t>
            </a:r>
            <a:r>
              <a:rPr kumimoji="0" lang="az-Latn-AZ" sz="2381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ən effektiv prebiotiklərdən biridir</a:t>
            </a:r>
            <a:r>
              <a:rPr kumimoji="0" lang="ru-RU" sz="2381" b="1" i="0" u="none" strike="noStrike" kern="1200" cap="none" spc="0" normalizeH="0" baseline="3000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1</a:t>
            </a:r>
          </a:p>
        </p:txBody>
      </p:sp>
      <p:pic>
        <p:nvPicPr>
          <p:cNvPr id="16" name="Рисунок 15">
            <a:extLst>
              <a:ext uri="{FF2B5EF4-FFF2-40B4-BE49-F238E27FC236}">
                <a16:creationId xmlns:a16="http://schemas.microsoft.com/office/drawing/2014/main" id="{823C1C25-740C-DC48-B3A0-FAD21697C02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91354" y="1509413"/>
            <a:ext cx="2310862" cy="1985004"/>
          </a:xfrm>
          <a:prstGeom prst="roundRect">
            <a:avLst/>
          </a:prstGeom>
          <a:ln w="28575">
            <a:solidFill>
              <a:srgbClr val="F07C00"/>
            </a:solidFill>
          </a:ln>
        </p:spPr>
      </p:pic>
      <p:sp>
        <p:nvSpPr>
          <p:cNvPr id="17" name="Freeform 21">
            <a:extLst>
              <a:ext uri="{FF2B5EF4-FFF2-40B4-BE49-F238E27FC236}">
                <a16:creationId xmlns:a16="http://schemas.microsoft.com/office/drawing/2014/main" id="{2B6C3C74-7C85-2A4D-B004-44FDA7124D85}"/>
              </a:ext>
            </a:extLst>
          </p:cNvPr>
          <p:cNvSpPr>
            <a:spLocks/>
          </p:cNvSpPr>
          <p:nvPr/>
        </p:nvSpPr>
        <p:spPr bwMode="auto">
          <a:xfrm>
            <a:off x="2674263" y="1623438"/>
            <a:ext cx="305160" cy="355809"/>
          </a:xfrm>
          <a:custGeom>
            <a:avLst/>
            <a:gdLst>
              <a:gd name="T0" fmla="*/ 0 w 447"/>
              <a:gd name="T1" fmla="*/ 228 h 556"/>
              <a:gd name="T2" fmla="*/ 166 w 447"/>
              <a:gd name="T3" fmla="*/ 556 h 556"/>
              <a:gd name="T4" fmla="*/ 189 w 447"/>
              <a:gd name="T5" fmla="*/ 527 h 556"/>
              <a:gd name="T6" fmla="*/ 213 w 447"/>
              <a:gd name="T7" fmla="*/ 497 h 556"/>
              <a:gd name="T8" fmla="*/ 234 w 447"/>
              <a:gd name="T9" fmla="*/ 466 h 556"/>
              <a:gd name="T10" fmla="*/ 255 w 447"/>
              <a:gd name="T11" fmla="*/ 433 h 556"/>
              <a:gd name="T12" fmla="*/ 277 w 447"/>
              <a:gd name="T13" fmla="*/ 398 h 556"/>
              <a:gd name="T14" fmla="*/ 296 w 447"/>
              <a:gd name="T15" fmla="*/ 363 h 556"/>
              <a:gd name="T16" fmla="*/ 315 w 447"/>
              <a:gd name="T17" fmla="*/ 327 h 556"/>
              <a:gd name="T18" fmla="*/ 332 w 447"/>
              <a:gd name="T19" fmla="*/ 291 h 556"/>
              <a:gd name="T20" fmla="*/ 349 w 447"/>
              <a:gd name="T21" fmla="*/ 254 h 556"/>
              <a:gd name="T22" fmla="*/ 364 w 447"/>
              <a:gd name="T23" fmla="*/ 218 h 556"/>
              <a:gd name="T24" fmla="*/ 380 w 447"/>
              <a:gd name="T25" fmla="*/ 180 h 556"/>
              <a:gd name="T26" fmla="*/ 395 w 447"/>
              <a:gd name="T27" fmla="*/ 143 h 556"/>
              <a:gd name="T28" fmla="*/ 422 w 447"/>
              <a:gd name="T29" fmla="*/ 70 h 556"/>
              <a:gd name="T30" fmla="*/ 447 w 447"/>
              <a:gd name="T31" fmla="*/ 0 h 556"/>
              <a:gd name="T32" fmla="*/ 416 w 447"/>
              <a:gd name="T33" fmla="*/ 50 h 556"/>
              <a:gd name="T34" fmla="*/ 383 w 447"/>
              <a:gd name="T35" fmla="*/ 98 h 556"/>
              <a:gd name="T36" fmla="*/ 350 w 447"/>
              <a:gd name="T37" fmla="*/ 144 h 556"/>
              <a:gd name="T38" fmla="*/ 317 w 447"/>
              <a:gd name="T39" fmla="*/ 189 h 556"/>
              <a:gd name="T40" fmla="*/ 299 w 447"/>
              <a:gd name="T41" fmla="*/ 210 h 556"/>
              <a:gd name="T42" fmla="*/ 281 w 447"/>
              <a:gd name="T43" fmla="*/ 231 h 556"/>
              <a:gd name="T44" fmla="*/ 263 w 447"/>
              <a:gd name="T45" fmla="*/ 249 h 556"/>
              <a:gd name="T46" fmla="*/ 244 w 447"/>
              <a:gd name="T47" fmla="*/ 267 h 556"/>
              <a:gd name="T48" fmla="*/ 225 w 447"/>
              <a:gd name="T49" fmla="*/ 283 h 556"/>
              <a:gd name="T50" fmla="*/ 206 w 447"/>
              <a:gd name="T51" fmla="*/ 298 h 556"/>
              <a:gd name="T52" fmla="*/ 186 w 447"/>
              <a:gd name="T53" fmla="*/ 311 h 556"/>
              <a:gd name="T54" fmla="*/ 166 w 447"/>
              <a:gd name="T55" fmla="*/ 323 h 556"/>
              <a:gd name="T56" fmla="*/ 0 w 447"/>
              <a:gd name="T57" fmla="*/ 228 h 55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447" h="556">
                <a:moveTo>
                  <a:pt x="0" y="228"/>
                </a:moveTo>
                <a:lnTo>
                  <a:pt x="166" y="556"/>
                </a:lnTo>
                <a:lnTo>
                  <a:pt x="189" y="527"/>
                </a:lnTo>
                <a:lnTo>
                  <a:pt x="213" y="497"/>
                </a:lnTo>
                <a:lnTo>
                  <a:pt x="234" y="466"/>
                </a:lnTo>
                <a:lnTo>
                  <a:pt x="255" y="433"/>
                </a:lnTo>
                <a:lnTo>
                  <a:pt x="277" y="398"/>
                </a:lnTo>
                <a:lnTo>
                  <a:pt x="296" y="363"/>
                </a:lnTo>
                <a:lnTo>
                  <a:pt x="315" y="327"/>
                </a:lnTo>
                <a:lnTo>
                  <a:pt x="332" y="291"/>
                </a:lnTo>
                <a:lnTo>
                  <a:pt x="349" y="254"/>
                </a:lnTo>
                <a:lnTo>
                  <a:pt x="364" y="218"/>
                </a:lnTo>
                <a:lnTo>
                  <a:pt x="380" y="180"/>
                </a:lnTo>
                <a:lnTo>
                  <a:pt x="395" y="143"/>
                </a:lnTo>
                <a:lnTo>
                  <a:pt x="422" y="70"/>
                </a:lnTo>
                <a:lnTo>
                  <a:pt x="447" y="0"/>
                </a:lnTo>
                <a:lnTo>
                  <a:pt x="416" y="50"/>
                </a:lnTo>
                <a:lnTo>
                  <a:pt x="383" y="98"/>
                </a:lnTo>
                <a:lnTo>
                  <a:pt x="350" y="144"/>
                </a:lnTo>
                <a:lnTo>
                  <a:pt x="317" y="189"/>
                </a:lnTo>
                <a:lnTo>
                  <a:pt x="299" y="210"/>
                </a:lnTo>
                <a:lnTo>
                  <a:pt x="281" y="231"/>
                </a:lnTo>
                <a:lnTo>
                  <a:pt x="263" y="249"/>
                </a:lnTo>
                <a:lnTo>
                  <a:pt x="244" y="267"/>
                </a:lnTo>
                <a:lnTo>
                  <a:pt x="225" y="283"/>
                </a:lnTo>
                <a:lnTo>
                  <a:pt x="206" y="298"/>
                </a:lnTo>
                <a:lnTo>
                  <a:pt x="186" y="311"/>
                </a:lnTo>
                <a:lnTo>
                  <a:pt x="166" y="323"/>
                </a:lnTo>
                <a:lnTo>
                  <a:pt x="0" y="228"/>
                </a:lnTo>
                <a:close/>
              </a:path>
            </a:pathLst>
          </a:custGeom>
          <a:solidFill>
            <a:srgbClr val="EF7F1A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16653" tIns="58327" rIns="116653" bIns="58327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79243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569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8" name="Прямоугольник 17">
            <a:extLst>
              <a:ext uri="{FF2B5EF4-FFF2-40B4-BE49-F238E27FC236}">
                <a16:creationId xmlns:a16="http://schemas.microsoft.com/office/drawing/2014/main" id="{6D089CAC-8675-3843-8A81-2EB48F1C8441}"/>
              </a:ext>
            </a:extLst>
          </p:cNvPr>
          <p:cNvSpPr/>
          <p:nvPr/>
        </p:nvSpPr>
        <p:spPr>
          <a:xfrm>
            <a:off x="2979423" y="1703837"/>
            <a:ext cx="9295965" cy="25545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792439" rtl="0" eaLnBrk="1" fontAlgn="auto" latinLnBrk="0" hangingPunct="1">
              <a:lnSpc>
                <a:spcPts val="1579"/>
              </a:lnSpc>
              <a:spcBef>
                <a:spcPts val="1504"/>
              </a:spcBef>
              <a:spcAft>
                <a:spcPts val="0"/>
              </a:spcAft>
              <a:buClr>
                <a:srgbClr val="F07C00"/>
              </a:buClr>
              <a:buSzPct val="115000"/>
              <a:buFontTx/>
              <a:buNone/>
              <a:tabLst/>
              <a:defRPr/>
            </a:pPr>
            <a:r>
              <a:rPr kumimoji="0" lang="az-Latn-AZ" sz="2000" b="1" i="0" u="none" strike="noStrike" kern="1200" cap="none" spc="0" normalizeH="0" baseline="0" noProof="0" dirty="0">
                <a:ln>
                  <a:noFill/>
                </a:ln>
                <a:solidFill>
                  <a:srgbClr val="15438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Bütün MBT boyunca faydalı bak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15438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</a:t>
            </a:r>
            <a:r>
              <a:rPr kumimoji="0" lang="az-Latn-AZ" sz="2000" b="1" i="0" u="none" strike="noStrike" kern="1200" cap="none" spc="0" normalizeH="0" baseline="0" noProof="0" dirty="0">
                <a:ln>
                  <a:noFill/>
                </a:ln>
                <a:solidFill>
                  <a:srgbClr val="15438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e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15438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</a:t>
            </a:r>
            <a:r>
              <a:rPr kumimoji="0" lang="az-Latn-AZ" sz="2000" b="1" i="0" u="none" strike="noStrike" kern="1200" cap="none" spc="0" normalizeH="0" baseline="0" noProof="0" dirty="0">
                <a:ln>
                  <a:noFill/>
                </a:ln>
                <a:solidFill>
                  <a:srgbClr val="15438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yaların boyüməsini təmin edir</a:t>
            </a:r>
            <a:r>
              <a:rPr kumimoji="0" lang="ru-RU" sz="2000" b="1" i="0" u="none" strike="noStrike" kern="1200" cap="none" spc="0" normalizeH="0" baseline="30000" noProof="0" dirty="0">
                <a:ln>
                  <a:noFill/>
                </a:ln>
                <a:solidFill>
                  <a:srgbClr val="15438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</a:t>
            </a:r>
          </a:p>
          <a:p>
            <a:pPr marL="0" marR="0" lvl="0" indent="0" algn="l" defTabSz="792439" rtl="0" eaLnBrk="1" fontAlgn="auto" latinLnBrk="0" hangingPunct="1">
              <a:lnSpc>
                <a:spcPts val="1579"/>
              </a:lnSpc>
              <a:spcBef>
                <a:spcPts val="1504"/>
              </a:spcBef>
              <a:spcAft>
                <a:spcPts val="0"/>
              </a:spcAft>
              <a:buClr>
                <a:srgbClr val="F07C00"/>
              </a:buClr>
              <a:buSzPct val="115000"/>
              <a:buFontTx/>
              <a:buNone/>
              <a:tabLst/>
              <a:defRPr/>
            </a:pPr>
            <a:r>
              <a:rPr kumimoji="0" lang="az-Latn-AZ" sz="2000" b="1" i="0" u="none" strike="noStrike" kern="1200" cap="none" spc="0" normalizeH="0" baseline="0" noProof="0" dirty="0">
                <a:ln>
                  <a:noFill/>
                </a:ln>
                <a:solidFill>
                  <a:srgbClr val="15438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Endogen yağ turşusu sintez edərək:</a:t>
            </a:r>
          </a:p>
          <a:p>
            <a:pPr marL="0" marR="0" lvl="0" indent="0" algn="l" defTabSz="792439" rtl="0" eaLnBrk="1" fontAlgn="auto" latinLnBrk="0" hangingPunct="1">
              <a:lnSpc>
                <a:spcPts val="1579"/>
              </a:lnSpc>
              <a:spcBef>
                <a:spcPts val="1504"/>
              </a:spcBef>
              <a:spcAft>
                <a:spcPts val="0"/>
              </a:spcAft>
              <a:buClr>
                <a:srgbClr val="F07C00"/>
              </a:buClr>
              <a:buSzPct val="115000"/>
              <a:buFontTx/>
              <a:buNone/>
              <a:tabLst/>
              <a:defRPr/>
            </a:pPr>
            <a:r>
              <a:rPr kumimoji="0" lang="az-Latn-AZ" sz="2000" b="1" i="0" u="none" strike="noStrike" kern="1200" cap="none" spc="0" normalizeH="0" baseline="0" noProof="0" dirty="0">
                <a:ln>
                  <a:noFill/>
                </a:ln>
                <a:solidFill>
                  <a:srgbClr val="15438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Bağırsaq epiteliyinin funksiyasını bərpa edir</a:t>
            </a:r>
            <a:endParaRPr kumimoji="0" lang="ru-RU" sz="2000" b="1" i="0" u="none" strike="noStrike" kern="1200" cap="none" spc="0" normalizeH="0" baseline="0" noProof="0" dirty="0">
              <a:ln>
                <a:noFill/>
              </a:ln>
              <a:solidFill>
                <a:srgbClr val="154381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792439" rtl="0" eaLnBrk="1" fontAlgn="auto" latinLnBrk="0" hangingPunct="1">
              <a:lnSpc>
                <a:spcPts val="1579"/>
              </a:lnSpc>
              <a:spcBef>
                <a:spcPts val="1504"/>
              </a:spcBef>
              <a:spcAft>
                <a:spcPts val="0"/>
              </a:spcAft>
              <a:buClr>
                <a:srgbClr val="F07C00"/>
              </a:buClr>
              <a:buSzPct val="115000"/>
              <a:buFontTx/>
              <a:buNone/>
              <a:tabLst/>
              <a:defRPr/>
            </a:pPr>
            <a:r>
              <a:rPr kumimoji="0" lang="az-Latn-AZ" sz="2000" b="1" i="0" u="none" strike="noStrike" kern="1200" cap="none" spc="0" normalizeH="0" baseline="0" noProof="0" dirty="0">
                <a:ln>
                  <a:noFill/>
                </a:ln>
                <a:solidFill>
                  <a:srgbClr val="15438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İltihabəleyhinə təsirə malikdir</a:t>
            </a:r>
            <a:r>
              <a:rPr kumimoji="0" lang="ru-RU" sz="2000" b="1" i="0" u="none" strike="noStrike" kern="1200" cap="none" spc="0" normalizeH="0" baseline="30000" noProof="0" dirty="0">
                <a:ln>
                  <a:noFill/>
                </a:ln>
                <a:solidFill>
                  <a:srgbClr val="15438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</a:t>
            </a:r>
          </a:p>
          <a:p>
            <a:pPr marL="0" marR="0" lvl="0" indent="0" algn="l" defTabSz="792439" rtl="0" eaLnBrk="1" fontAlgn="auto" latinLnBrk="0" hangingPunct="1">
              <a:lnSpc>
                <a:spcPts val="1579"/>
              </a:lnSpc>
              <a:spcBef>
                <a:spcPts val="1504"/>
              </a:spcBef>
              <a:spcAft>
                <a:spcPts val="0"/>
              </a:spcAft>
              <a:buClr>
                <a:srgbClr val="F07C00"/>
              </a:buClr>
              <a:buSzPct val="115000"/>
              <a:buFontTx/>
              <a:buNone/>
              <a:tabLst/>
              <a:defRPr/>
            </a:pPr>
            <a:r>
              <a:rPr kumimoji="0" lang="az-Latn-AZ" sz="2000" b="1" i="0" u="none" strike="noStrike" kern="1200" cap="none" spc="0" normalizeH="0" baseline="0" noProof="0" dirty="0">
                <a:ln>
                  <a:noFill/>
                </a:ln>
                <a:solidFill>
                  <a:srgbClr val="15438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ntikanserogen aktivliyə malikdir</a:t>
            </a:r>
            <a:r>
              <a:rPr kumimoji="0" lang="ru-RU" sz="2000" b="1" i="0" u="none" strike="noStrike" kern="1200" cap="none" spc="0" normalizeH="0" baseline="30000" noProof="0" dirty="0">
                <a:ln>
                  <a:noFill/>
                </a:ln>
                <a:solidFill>
                  <a:srgbClr val="15438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</a:t>
            </a:r>
          </a:p>
          <a:p>
            <a:pPr marL="0" marR="0" lvl="0" indent="0" algn="l" defTabSz="792439" rtl="0" eaLnBrk="1" fontAlgn="auto" latinLnBrk="0" hangingPunct="1">
              <a:lnSpc>
                <a:spcPts val="1579"/>
              </a:lnSpc>
              <a:spcBef>
                <a:spcPts val="1504"/>
              </a:spcBef>
              <a:spcAft>
                <a:spcPts val="0"/>
              </a:spcAft>
              <a:buClr>
                <a:srgbClr val="F07C00"/>
              </a:buClr>
              <a:buSzPct val="115000"/>
              <a:buFontTx/>
              <a:buNone/>
              <a:tabLst/>
              <a:defRPr/>
            </a:pPr>
            <a:r>
              <a:rPr kumimoji="0" lang="az-Latn-AZ" sz="2000" b="1" i="0" u="none" strike="noStrike" kern="1200" cap="none" spc="0" normalizeH="0" baseline="0" noProof="0" dirty="0">
                <a:ln>
                  <a:noFill/>
                </a:ln>
                <a:solidFill>
                  <a:srgbClr val="15438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Lipidlərin metabolizminə təsir edir</a:t>
            </a:r>
            <a:r>
              <a:rPr kumimoji="0" lang="ru-RU" sz="2000" b="1" i="0" u="none" strike="noStrike" kern="1200" cap="none" spc="0" normalizeH="0" baseline="0" noProof="0" dirty="0">
                <a:ln>
                  <a:noFill/>
                </a:ln>
                <a:solidFill>
                  <a:srgbClr val="15438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, </a:t>
            </a:r>
            <a:r>
              <a:rPr kumimoji="0" lang="az-Latn-AZ" sz="2000" b="1" i="0" u="none" strike="noStrike" kern="1200" cap="none" spc="0" normalizeH="0" baseline="0" noProof="0" dirty="0">
                <a:ln>
                  <a:noFill/>
                </a:ln>
                <a:solidFill>
                  <a:srgbClr val="15438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teroskleroz inkişaf etmə riskini azaldır</a:t>
            </a:r>
            <a:r>
              <a:rPr kumimoji="0" lang="ru-RU" sz="2000" b="1" i="0" u="none" strike="noStrike" kern="1200" cap="none" spc="0" normalizeH="0" baseline="30000" noProof="0" dirty="0">
                <a:ln>
                  <a:noFill/>
                </a:ln>
                <a:solidFill>
                  <a:srgbClr val="15438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</a:t>
            </a:r>
          </a:p>
          <a:p>
            <a:pPr marL="214878" marR="0" lvl="0" indent="-214878" algn="l" defTabSz="792439" rtl="0" eaLnBrk="1" fontAlgn="auto" latinLnBrk="0" hangingPunct="1">
              <a:lnSpc>
                <a:spcPts val="1554"/>
              </a:lnSpc>
              <a:spcBef>
                <a:spcPts val="501"/>
              </a:spcBef>
              <a:spcAft>
                <a:spcPts val="0"/>
              </a:spcAft>
              <a:buClr>
                <a:srgbClr val="F07C00"/>
              </a:buClr>
              <a:buSzPct val="115000"/>
              <a:buFont typeface="Arial" panose="020B0604020202020204" pitchFamily="34" charset="0"/>
              <a:buChar char="•"/>
              <a:tabLst/>
              <a:defRPr/>
            </a:pPr>
            <a:endParaRPr kumimoji="0" lang="en" sz="1441" b="0" i="0" u="none" strike="noStrike" kern="1200" cap="none" spc="0" normalizeH="0" baseline="0" noProof="0" dirty="0">
              <a:ln>
                <a:noFill/>
              </a:ln>
              <a:solidFill>
                <a:srgbClr val="154381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1" name="Freeform 21">
            <a:extLst>
              <a:ext uri="{FF2B5EF4-FFF2-40B4-BE49-F238E27FC236}">
                <a16:creationId xmlns:a16="http://schemas.microsoft.com/office/drawing/2014/main" id="{43CAAA3A-DE9F-E346-B546-4E7EE379C6B7}"/>
              </a:ext>
            </a:extLst>
          </p:cNvPr>
          <p:cNvSpPr>
            <a:spLocks/>
          </p:cNvSpPr>
          <p:nvPr/>
        </p:nvSpPr>
        <p:spPr bwMode="auto">
          <a:xfrm>
            <a:off x="2784053" y="3283769"/>
            <a:ext cx="181236" cy="150831"/>
          </a:xfrm>
          <a:custGeom>
            <a:avLst/>
            <a:gdLst>
              <a:gd name="T0" fmla="*/ 0 w 447"/>
              <a:gd name="T1" fmla="*/ 228 h 556"/>
              <a:gd name="T2" fmla="*/ 166 w 447"/>
              <a:gd name="T3" fmla="*/ 556 h 556"/>
              <a:gd name="T4" fmla="*/ 189 w 447"/>
              <a:gd name="T5" fmla="*/ 527 h 556"/>
              <a:gd name="T6" fmla="*/ 213 w 447"/>
              <a:gd name="T7" fmla="*/ 497 h 556"/>
              <a:gd name="T8" fmla="*/ 234 w 447"/>
              <a:gd name="T9" fmla="*/ 466 h 556"/>
              <a:gd name="T10" fmla="*/ 255 w 447"/>
              <a:gd name="T11" fmla="*/ 433 h 556"/>
              <a:gd name="T12" fmla="*/ 277 w 447"/>
              <a:gd name="T13" fmla="*/ 398 h 556"/>
              <a:gd name="T14" fmla="*/ 296 w 447"/>
              <a:gd name="T15" fmla="*/ 363 h 556"/>
              <a:gd name="T16" fmla="*/ 315 w 447"/>
              <a:gd name="T17" fmla="*/ 327 h 556"/>
              <a:gd name="T18" fmla="*/ 332 w 447"/>
              <a:gd name="T19" fmla="*/ 291 h 556"/>
              <a:gd name="T20" fmla="*/ 349 w 447"/>
              <a:gd name="T21" fmla="*/ 254 h 556"/>
              <a:gd name="T22" fmla="*/ 364 w 447"/>
              <a:gd name="T23" fmla="*/ 218 h 556"/>
              <a:gd name="T24" fmla="*/ 380 w 447"/>
              <a:gd name="T25" fmla="*/ 180 h 556"/>
              <a:gd name="T26" fmla="*/ 395 w 447"/>
              <a:gd name="T27" fmla="*/ 143 h 556"/>
              <a:gd name="T28" fmla="*/ 422 w 447"/>
              <a:gd name="T29" fmla="*/ 70 h 556"/>
              <a:gd name="T30" fmla="*/ 447 w 447"/>
              <a:gd name="T31" fmla="*/ 0 h 556"/>
              <a:gd name="T32" fmla="*/ 416 w 447"/>
              <a:gd name="T33" fmla="*/ 50 h 556"/>
              <a:gd name="T34" fmla="*/ 383 w 447"/>
              <a:gd name="T35" fmla="*/ 98 h 556"/>
              <a:gd name="T36" fmla="*/ 350 w 447"/>
              <a:gd name="T37" fmla="*/ 144 h 556"/>
              <a:gd name="T38" fmla="*/ 317 w 447"/>
              <a:gd name="T39" fmla="*/ 189 h 556"/>
              <a:gd name="T40" fmla="*/ 299 w 447"/>
              <a:gd name="T41" fmla="*/ 210 h 556"/>
              <a:gd name="T42" fmla="*/ 281 w 447"/>
              <a:gd name="T43" fmla="*/ 231 h 556"/>
              <a:gd name="T44" fmla="*/ 263 w 447"/>
              <a:gd name="T45" fmla="*/ 249 h 556"/>
              <a:gd name="T46" fmla="*/ 244 w 447"/>
              <a:gd name="T47" fmla="*/ 267 h 556"/>
              <a:gd name="T48" fmla="*/ 225 w 447"/>
              <a:gd name="T49" fmla="*/ 283 h 556"/>
              <a:gd name="T50" fmla="*/ 206 w 447"/>
              <a:gd name="T51" fmla="*/ 298 h 556"/>
              <a:gd name="T52" fmla="*/ 186 w 447"/>
              <a:gd name="T53" fmla="*/ 311 h 556"/>
              <a:gd name="T54" fmla="*/ 166 w 447"/>
              <a:gd name="T55" fmla="*/ 323 h 556"/>
              <a:gd name="T56" fmla="*/ 0 w 447"/>
              <a:gd name="T57" fmla="*/ 228 h 55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447" h="556">
                <a:moveTo>
                  <a:pt x="0" y="228"/>
                </a:moveTo>
                <a:lnTo>
                  <a:pt x="166" y="556"/>
                </a:lnTo>
                <a:lnTo>
                  <a:pt x="189" y="527"/>
                </a:lnTo>
                <a:lnTo>
                  <a:pt x="213" y="497"/>
                </a:lnTo>
                <a:lnTo>
                  <a:pt x="234" y="466"/>
                </a:lnTo>
                <a:lnTo>
                  <a:pt x="255" y="433"/>
                </a:lnTo>
                <a:lnTo>
                  <a:pt x="277" y="398"/>
                </a:lnTo>
                <a:lnTo>
                  <a:pt x="296" y="363"/>
                </a:lnTo>
                <a:lnTo>
                  <a:pt x="315" y="327"/>
                </a:lnTo>
                <a:lnTo>
                  <a:pt x="332" y="291"/>
                </a:lnTo>
                <a:lnTo>
                  <a:pt x="349" y="254"/>
                </a:lnTo>
                <a:lnTo>
                  <a:pt x="364" y="218"/>
                </a:lnTo>
                <a:lnTo>
                  <a:pt x="380" y="180"/>
                </a:lnTo>
                <a:lnTo>
                  <a:pt x="395" y="143"/>
                </a:lnTo>
                <a:lnTo>
                  <a:pt x="422" y="70"/>
                </a:lnTo>
                <a:lnTo>
                  <a:pt x="447" y="0"/>
                </a:lnTo>
                <a:lnTo>
                  <a:pt x="416" y="50"/>
                </a:lnTo>
                <a:lnTo>
                  <a:pt x="383" y="98"/>
                </a:lnTo>
                <a:lnTo>
                  <a:pt x="350" y="144"/>
                </a:lnTo>
                <a:lnTo>
                  <a:pt x="317" y="189"/>
                </a:lnTo>
                <a:lnTo>
                  <a:pt x="299" y="210"/>
                </a:lnTo>
                <a:lnTo>
                  <a:pt x="281" y="231"/>
                </a:lnTo>
                <a:lnTo>
                  <a:pt x="263" y="249"/>
                </a:lnTo>
                <a:lnTo>
                  <a:pt x="244" y="267"/>
                </a:lnTo>
                <a:lnTo>
                  <a:pt x="225" y="283"/>
                </a:lnTo>
                <a:lnTo>
                  <a:pt x="206" y="298"/>
                </a:lnTo>
                <a:lnTo>
                  <a:pt x="186" y="311"/>
                </a:lnTo>
                <a:lnTo>
                  <a:pt x="166" y="323"/>
                </a:lnTo>
                <a:lnTo>
                  <a:pt x="0" y="228"/>
                </a:lnTo>
                <a:close/>
              </a:path>
            </a:pathLst>
          </a:custGeom>
          <a:solidFill>
            <a:srgbClr val="EF7F1A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16653" tIns="58327" rIns="116653" bIns="58327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79243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569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5" name="Скругленный прямоугольник 24">
            <a:extLst>
              <a:ext uri="{FF2B5EF4-FFF2-40B4-BE49-F238E27FC236}">
                <a16:creationId xmlns:a16="http://schemas.microsoft.com/office/drawing/2014/main" id="{19E7743B-483B-8E45-A40E-76B0EEBDD9FB}"/>
              </a:ext>
            </a:extLst>
          </p:cNvPr>
          <p:cNvSpPr/>
          <p:nvPr/>
        </p:nvSpPr>
        <p:spPr>
          <a:xfrm>
            <a:off x="1290084" y="4740016"/>
            <a:ext cx="10657501" cy="972250"/>
          </a:xfrm>
          <a:prstGeom prst="roundRect">
            <a:avLst/>
          </a:prstGeom>
          <a:solidFill>
            <a:srgbClr val="E9EFFF">
              <a:alpha val="55000"/>
            </a:srgbClr>
          </a:solidFill>
          <a:ln w="25400">
            <a:solidFill>
              <a:srgbClr val="15438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79243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56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6" name="Content Placeholder 2">
            <a:extLst>
              <a:ext uri="{FF2B5EF4-FFF2-40B4-BE49-F238E27FC236}">
                <a16:creationId xmlns:a16="http://schemas.microsoft.com/office/drawing/2014/main" id="{7669875E-67C1-B245-8423-80432D42D6D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286889" y="4910581"/>
            <a:ext cx="9905111" cy="772755"/>
          </a:xfrm>
        </p:spPr>
        <p:txBody>
          <a:bodyPr>
            <a:noAutofit/>
          </a:bodyPr>
          <a:lstStyle/>
          <a:p>
            <a:pPr marL="0" indent="0">
              <a:buNone/>
              <a:defRPr/>
            </a:pPr>
            <a:r>
              <a:rPr lang="az-Latn-AZ" sz="2000" b="1" dirty="0">
                <a:solidFill>
                  <a:srgbClr val="154381"/>
                </a:solidFill>
              </a:rPr>
              <a:t>Prebiotiklər normal mikrofloranın daha tez və davamlı bərpasına səbəb olur</a:t>
            </a:r>
            <a:r>
              <a:rPr lang="ru-RU" sz="2000" baseline="30000" dirty="0">
                <a:solidFill>
                  <a:srgbClr val="154381"/>
                </a:solidFill>
              </a:rPr>
              <a:t>2</a:t>
            </a:r>
          </a:p>
        </p:txBody>
      </p:sp>
      <p:pic>
        <p:nvPicPr>
          <p:cNvPr id="27" name="Рисунок 26">
            <a:extLst>
              <a:ext uri="{FF2B5EF4-FFF2-40B4-BE49-F238E27FC236}">
                <a16:creationId xmlns:a16="http://schemas.microsoft.com/office/drawing/2014/main" id="{D2105925-9AB6-E546-8A64-1B6B50270C2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44083" y="4537685"/>
            <a:ext cx="1074419" cy="1145651"/>
          </a:xfrm>
          <a:prstGeom prst="rect">
            <a:avLst/>
          </a:prstGeom>
        </p:spPr>
      </p:pic>
      <p:sp>
        <p:nvSpPr>
          <p:cNvPr id="3" name="Freeform 21">
            <a:extLst>
              <a:ext uri="{FF2B5EF4-FFF2-40B4-BE49-F238E27FC236}">
                <a16:creationId xmlns:a16="http://schemas.microsoft.com/office/drawing/2014/main" id="{54EC9C84-C173-6459-AB1B-01D94633E811}"/>
              </a:ext>
            </a:extLst>
          </p:cNvPr>
          <p:cNvSpPr>
            <a:spLocks/>
          </p:cNvSpPr>
          <p:nvPr/>
        </p:nvSpPr>
        <p:spPr bwMode="auto">
          <a:xfrm>
            <a:off x="2766001" y="2955126"/>
            <a:ext cx="181236" cy="150831"/>
          </a:xfrm>
          <a:custGeom>
            <a:avLst/>
            <a:gdLst>
              <a:gd name="T0" fmla="*/ 0 w 447"/>
              <a:gd name="T1" fmla="*/ 228 h 556"/>
              <a:gd name="T2" fmla="*/ 166 w 447"/>
              <a:gd name="T3" fmla="*/ 556 h 556"/>
              <a:gd name="T4" fmla="*/ 189 w 447"/>
              <a:gd name="T5" fmla="*/ 527 h 556"/>
              <a:gd name="T6" fmla="*/ 213 w 447"/>
              <a:gd name="T7" fmla="*/ 497 h 556"/>
              <a:gd name="T8" fmla="*/ 234 w 447"/>
              <a:gd name="T9" fmla="*/ 466 h 556"/>
              <a:gd name="T10" fmla="*/ 255 w 447"/>
              <a:gd name="T11" fmla="*/ 433 h 556"/>
              <a:gd name="T12" fmla="*/ 277 w 447"/>
              <a:gd name="T13" fmla="*/ 398 h 556"/>
              <a:gd name="T14" fmla="*/ 296 w 447"/>
              <a:gd name="T15" fmla="*/ 363 h 556"/>
              <a:gd name="T16" fmla="*/ 315 w 447"/>
              <a:gd name="T17" fmla="*/ 327 h 556"/>
              <a:gd name="T18" fmla="*/ 332 w 447"/>
              <a:gd name="T19" fmla="*/ 291 h 556"/>
              <a:gd name="T20" fmla="*/ 349 w 447"/>
              <a:gd name="T21" fmla="*/ 254 h 556"/>
              <a:gd name="T22" fmla="*/ 364 w 447"/>
              <a:gd name="T23" fmla="*/ 218 h 556"/>
              <a:gd name="T24" fmla="*/ 380 w 447"/>
              <a:gd name="T25" fmla="*/ 180 h 556"/>
              <a:gd name="T26" fmla="*/ 395 w 447"/>
              <a:gd name="T27" fmla="*/ 143 h 556"/>
              <a:gd name="T28" fmla="*/ 422 w 447"/>
              <a:gd name="T29" fmla="*/ 70 h 556"/>
              <a:gd name="T30" fmla="*/ 447 w 447"/>
              <a:gd name="T31" fmla="*/ 0 h 556"/>
              <a:gd name="T32" fmla="*/ 416 w 447"/>
              <a:gd name="T33" fmla="*/ 50 h 556"/>
              <a:gd name="T34" fmla="*/ 383 w 447"/>
              <a:gd name="T35" fmla="*/ 98 h 556"/>
              <a:gd name="T36" fmla="*/ 350 w 447"/>
              <a:gd name="T37" fmla="*/ 144 h 556"/>
              <a:gd name="T38" fmla="*/ 317 w 447"/>
              <a:gd name="T39" fmla="*/ 189 h 556"/>
              <a:gd name="T40" fmla="*/ 299 w 447"/>
              <a:gd name="T41" fmla="*/ 210 h 556"/>
              <a:gd name="T42" fmla="*/ 281 w 447"/>
              <a:gd name="T43" fmla="*/ 231 h 556"/>
              <a:gd name="T44" fmla="*/ 263 w 447"/>
              <a:gd name="T45" fmla="*/ 249 h 556"/>
              <a:gd name="T46" fmla="*/ 244 w 447"/>
              <a:gd name="T47" fmla="*/ 267 h 556"/>
              <a:gd name="T48" fmla="*/ 225 w 447"/>
              <a:gd name="T49" fmla="*/ 283 h 556"/>
              <a:gd name="T50" fmla="*/ 206 w 447"/>
              <a:gd name="T51" fmla="*/ 298 h 556"/>
              <a:gd name="T52" fmla="*/ 186 w 447"/>
              <a:gd name="T53" fmla="*/ 311 h 556"/>
              <a:gd name="T54" fmla="*/ 166 w 447"/>
              <a:gd name="T55" fmla="*/ 323 h 556"/>
              <a:gd name="T56" fmla="*/ 0 w 447"/>
              <a:gd name="T57" fmla="*/ 228 h 55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447" h="556">
                <a:moveTo>
                  <a:pt x="0" y="228"/>
                </a:moveTo>
                <a:lnTo>
                  <a:pt x="166" y="556"/>
                </a:lnTo>
                <a:lnTo>
                  <a:pt x="189" y="527"/>
                </a:lnTo>
                <a:lnTo>
                  <a:pt x="213" y="497"/>
                </a:lnTo>
                <a:lnTo>
                  <a:pt x="234" y="466"/>
                </a:lnTo>
                <a:lnTo>
                  <a:pt x="255" y="433"/>
                </a:lnTo>
                <a:lnTo>
                  <a:pt x="277" y="398"/>
                </a:lnTo>
                <a:lnTo>
                  <a:pt x="296" y="363"/>
                </a:lnTo>
                <a:lnTo>
                  <a:pt x="315" y="327"/>
                </a:lnTo>
                <a:lnTo>
                  <a:pt x="332" y="291"/>
                </a:lnTo>
                <a:lnTo>
                  <a:pt x="349" y="254"/>
                </a:lnTo>
                <a:lnTo>
                  <a:pt x="364" y="218"/>
                </a:lnTo>
                <a:lnTo>
                  <a:pt x="380" y="180"/>
                </a:lnTo>
                <a:lnTo>
                  <a:pt x="395" y="143"/>
                </a:lnTo>
                <a:lnTo>
                  <a:pt x="422" y="70"/>
                </a:lnTo>
                <a:lnTo>
                  <a:pt x="447" y="0"/>
                </a:lnTo>
                <a:lnTo>
                  <a:pt x="416" y="50"/>
                </a:lnTo>
                <a:lnTo>
                  <a:pt x="383" y="98"/>
                </a:lnTo>
                <a:lnTo>
                  <a:pt x="350" y="144"/>
                </a:lnTo>
                <a:lnTo>
                  <a:pt x="317" y="189"/>
                </a:lnTo>
                <a:lnTo>
                  <a:pt x="299" y="210"/>
                </a:lnTo>
                <a:lnTo>
                  <a:pt x="281" y="231"/>
                </a:lnTo>
                <a:lnTo>
                  <a:pt x="263" y="249"/>
                </a:lnTo>
                <a:lnTo>
                  <a:pt x="244" y="267"/>
                </a:lnTo>
                <a:lnTo>
                  <a:pt x="225" y="283"/>
                </a:lnTo>
                <a:lnTo>
                  <a:pt x="206" y="298"/>
                </a:lnTo>
                <a:lnTo>
                  <a:pt x="186" y="311"/>
                </a:lnTo>
                <a:lnTo>
                  <a:pt x="166" y="323"/>
                </a:lnTo>
                <a:lnTo>
                  <a:pt x="0" y="228"/>
                </a:lnTo>
                <a:close/>
              </a:path>
            </a:pathLst>
          </a:custGeom>
          <a:solidFill>
            <a:srgbClr val="EF7F1A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16653" tIns="58327" rIns="116653" bIns="58327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79243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569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" name="Freeform 21">
            <a:extLst>
              <a:ext uri="{FF2B5EF4-FFF2-40B4-BE49-F238E27FC236}">
                <a16:creationId xmlns:a16="http://schemas.microsoft.com/office/drawing/2014/main" id="{C6FADF0B-41D4-B2E2-525F-FBB9D645E79B}"/>
              </a:ext>
            </a:extLst>
          </p:cNvPr>
          <p:cNvSpPr>
            <a:spLocks/>
          </p:cNvSpPr>
          <p:nvPr/>
        </p:nvSpPr>
        <p:spPr bwMode="auto">
          <a:xfrm>
            <a:off x="2750857" y="2563894"/>
            <a:ext cx="181236" cy="150831"/>
          </a:xfrm>
          <a:custGeom>
            <a:avLst/>
            <a:gdLst>
              <a:gd name="T0" fmla="*/ 0 w 447"/>
              <a:gd name="T1" fmla="*/ 228 h 556"/>
              <a:gd name="T2" fmla="*/ 166 w 447"/>
              <a:gd name="T3" fmla="*/ 556 h 556"/>
              <a:gd name="T4" fmla="*/ 189 w 447"/>
              <a:gd name="T5" fmla="*/ 527 h 556"/>
              <a:gd name="T6" fmla="*/ 213 w 447"/>
              <a:gd name="T7" fmla="*/ 497 h 556"/>
              <a:gd name="T8" fmla="*/ 234 w 447"/>
              <a:gd name="T9" fmla="*/ 466 h 556"/>
              <a:gd name="T10" fmla="*/ 255 w 447"/>
              <a:gd name="T11" fmla="*/ 433 h 556"/>
              <a:gd name="T12" fmla="*/ 277 w 447"/>
              <a:gd name="T13" fmla="*/ 398 h 556"/>
              <a:gd name="T14" fmla="*/ 296 w 447"/>
              <a:gd name="T15" fmla="*/ 363 h 556"/>
              <a:gd name="T16" fmla="*/ 315 w 447"/>
              <a:gd name="T17" fmla="*/ 327 h 556"/>
              <a:gd name="T18" fmla="*/ 332 w 447"/>
              <a:gd name="T19" fmla="*/ 291 h 556"/>
              <a:gd name="T20" fmla="*/ 349 w 447"/>
              <a:gd name="T21" fmla="*/ 254 h 556"/>
              <a:gd name="T22" fmla="*/ 364 w 447"/>
              <a:gd name="T23" fmla="*/ 218 h 556"/>
              <a:gd name="T24" fmla="*/ 380 w 447"/>
              <a:gd name="T25" fmla="*/ 180 h 556"/>
              <a:gd name="T26" fmla="*/ 395 w 447"/>
              <a:gd name="T27" fmla="*/ 143 h 556"/>
              <a:gd name="T28" fmla="*/ 422 w 447"/>
              <a:gd name="T29" fmla="*/ 70 h 556"/>
              <a:gd name="T30" fmla="*/ 447 w 447"/>
              <a:gd name="T31" fmla="*/ 0 h 556"/>
              <a:gd name="T32" fmla="*/ 416 w 447"/>
              <a:gd name="T33" fmla="*/ 50 h 556"/>
              <a:gd name="T34" fmla="*/ 383 w 447"/>
              <a:gd name="T35" fmla="*/ 98 h 556"/>
              <a:gd name="T36" fmla="*/ 350 w 447"/>
              <a:gd name="T37" fmla="*/ 144 h 556"/>
              <a:gd name="T38" fmla="*/ 317 w 447"/>
              <a:gd name="T39" fmla="*/ 189 h 556"/>
              <a:gd name="T40" fmla="*/ 299 w 447"/>
              <a:gd name="T41" fmla="*/ 210 h 556"/>
              <a:gd name="T42" fmla="*/ 281 w 447"/>
              <a:gd name="T43" fmla="*/ 231 h 556"/>
              <a:gd name="T44" fmla="*/ 263 w 447"/>
              <a:gd name="T45" fmla="*/ 249 h 556"/>
              <a:gd name="T46" fmla="*/ 244 w 447"/>
              <a:gd name="T47" fmla="*/ 267 h 556"/>
              <a:gd name="T48" fmla="*/ 225 w 447"/>
              <a:gd name="T49" fmla="*/ 283 h 556"/>
              <a:gd name="T50" fmla="*/ 206 w 447"/>
              <a:gd name="T51" fmla="*/ 298 h 556"/>
              <a:gd name="T52" fmla="*/ 186 w 447"/>
              <a:gd name="T53" fmla="*/ 311 h 556"/>
              <a:gd name="T54" fmla="*/ 166 w 447"/>
              <a:gd name="T55" fmla="*/ 323 h 556"/>
              <a:gd name="T56" fmla="*/ 0 w 447"/>
              <a:gd name="T57" fmla="*/ 228 h 55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447" h="556">
                <a:moveTo>
                  <a:pt x="0" y="228"/>
                </a:moveTo>
                <a:lnTo>
                  <a:pt x="166" y="556"/>
                </a:lnTo>
                <a:lnTo>
                  <a:pt x="189" y="527"/>
                </a:lnTo>
                <a:lnTo>
                  <a:pt x="213" y="497"/>
                </a:lnTo>
                <a:lnTo>
                  <a:pt x="234" y="466"/>
                </a:lnTo>
                <a:lnTo>
                  <a:pt x="255" y="433"/>
                </a:lnTo>
                <a:lnTo>
                  <a:pt x="277" y="398"/>
                </a:lnTo>
                <a:lnTo>
                  <a:pt x="296" y="363"/>
                </a:lnTo>
                <a:lnTo>
                  <a:pt x="315" y="327"/>
                </a:lnTo>
                <a:lnTo>
                  <a:pt x="332" y="291"/>
                </a:lnTo>
                <a:lnTo>
                  <a:pt x="349" y="254"/>
                </a:lnTo>
                <a:lnTo>
                  <a:pt x="364" y="218"/>
                </a:lnTo>
                <a:lnTo>
                  <a:pt x="380" y="180"/>
                </a:lnTo>
                <a:lnTo>
                  <a:pt x="395" y="143"/>
                </a:lnTo>
                <a:lnTo>
                  <a:pt x="422" y="70"/>
                </a:lnTo>
                <a:lnTo>
                  <a:pt x="447" y="0"/>
                </a:lnTo>
                <a:lnTo>
                  <a:pt x="416" y="50"/>
                </a:lnTo>
                <a:lnTo>
                  <a:pt x="383" y="98"/>
                </a:lnTo>
                <a:lnTo>
                  <a:pt x="350" y="144"/>
                </a:lnTo>
                <a:lnTo>
                  <a:pt x="317" y="189"/>
                </a:lnTo>
                <a:lnTo>
                  <a:pt x="299" y="210"/>
                </a:lnTo>
                <a:lnTo>
                  <a:pt x="281" y="231"/>
                </a:lnTo>
                <a:lnTo>
                  <a:pt x="263" y="249"/>
                </a:lnTo>
                <a:lnTo>
                  <a:pt x="244" y="267"/>
                </a:lnTo>
                <a:lnTo>
                  <a:pt x="225" y="283"/>
                </a:lnTo>
                <a:lnTo>
                  <a:pt x="206" y="298"/>
                </a:lnTo>
                <a:lnTo>
                  <a:pt x="186" y="311"/>
                </a:lnTo>
                <a:lnTo>
                  <a:pt x="166" y="323"/>
                </a:lnTo>
                <a:lnTo>
                  <a:pt x="0" y="228"/>
                </a:lnTo>
                <a:close/>
              </a:path>
            </a:pathLst>
          </a:custGeom>
          <a:solidFill>
            <a:srgbClr val="EF7F1A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16653" tIns="58327" rIns="116653" bIns="58327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79243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569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" name="Freeform 21">
            <a:extLst>
              <a:ext uri="{FF2B5EF4-FFF2-40B4-BE49-F238E27FC236}">
                <a16:creationId xmlns:a16="http://schemas.microsoft.com/office/drawing/2014/main" id="{3D62A667-7BA7-36D1-D500-5D24A5D37B94}"/>
              </a:ext>
            </a:extLst>
          </p:cNvPr>
          <p:cNvSpPr>
            <a:spLocks/>
          </p:cNvSpPr>
          <p:nvPr/>
        </p:nvSpPr>
        <p:spPr bwMode="auto">
          <a:xfrm>
            <a:off x="2722091" y="3562001"/>
            <a:ext cx="305160" cy="355809"/>
          </a:xfrm>
          <a:custGeom>
            <a:avLst/>
            <a:gdLst>
              <a:gd name="T0" fmla="*/ 0 w 447"/>
              <a:gd name="T1" fmla="*/ 228 h 556"/>
              <a:gd name="T2" fmla="*/ 166 w 447"/>
              <a:gd name="T3" fmla="*/ 556 h 556"/>
              <a:gd name="T4" fmla="*/ 189 w 447"/>
              <a:gd name="T5" fmla="*/ 527 h 556"/>
              <a:gd name="T6" fmla="*/ 213 w 447"/>
              <a:gd name="T7" fmla="*/ 497 h 556"/>
              <a:gd name="T8" fmla="*/ 234 w 447"/>
              <a:gd name="T9" fmla="*/ 466 h 556"/>
              <a:gd name="T10" fmla="*/ 255 w 447"/>
              <a:gd name="T11" fmla="*/ 433 h 556"/>
              <a:gd name="T12" fmla="*/ 277 w 447"/>
              <a:gd name="T13" fmla="*/ 398 h 556"/>
              <a:gd name="T14" fmla="*/ 296 w 447"/>
              <a:gd name="T15" fmla="*/ 363 h 556"/>
              <a:gd name="T16" fmla="*/ 315 w 447"/>
              <a:gd name="T17" fmla="*/ 327 h 556"/>
              <a:gd name="T18" fmla="*/ 332 w 447"/>
              <a:gd name="T19" fmla="*/ 291 h 556"/>
              <a:gd name="T20" fmla="*/ 349 w 447"/>
              <a:gd name="T21" fmla="*/ 254 h 556"/>
              <a:gd name="T22" fmla="*/ 364 w 447"/>
              <a:gd name="T23" fmla="*/ 218 h 556"/>
              <a:gd name="T24" fmla="*/ 380 w 447"/>
              <a:gd name="T25" fmla="*/ 180 h 556"/>
              <a:gd name="T26" fmla="*/ 395 w 447"/>
              <a:gd name="T27" fmla="*/ 143 h 556"/>
              <a:gd name="T28" fmla="*/ 422 w 447"/>
              <a:gd name="T29" fmla="*/ 70 h 556"/>
              <a:gd name="T30" fmla="*/ 447 w 447"/>
              <a:gd name="T31" fmla="*/ 0 h 556"/>
              <a:gd name="T32" fmla="*/ 416 w 447"/>
              <a:gd name="T33" fmla="*/ 50 h 556"/>
              <a:gd name="T34" fmla="*/ 383 w 447"/>
              <a:gd name="T35" fmla="*/ 98 h 556"/>
              <a:gd name="T36" fmla="*/ 350 w 447"/>
              <a:gd name="T37" fmla="*/ 144 h 556"/>
              <a:gd name="T38" fmla="*/ 317 w 447"/>
              <a:gd name="T39" fmla="*/ 189 h 556"/>
              <a:gd name="T40" fmla="*/ 299 w 447"/>
              <a:gd name="T41" fmla="*/ 210 h 556"/>
              <a:gd name="T42" fmla="*/ 281 w 447"/>
              <a:gd name="T43" fmla="*/ 231 h 556"/>
              <a:gd name="T44" fmla="*/ 263 w 447"/>
              <a:gd name="T45" fmla="*/ 249 h 556"/>
              <a:gd name="T46" fmla="*/ 244 w 447"/>
              <a:gd name="T47" fmla="*/ 267 h 556"/>
              <a:gd name="T48" fmla="*/ 225 w 447"/>
              <a:gd name="T49" fmla="*/ 283 h 556"/>
              <a:gd name="T50" fmla="*/ 206 w 447"/>
              <a:gd name="T51" fmla="*/ 298 h 556"/>
              <a:gd name="T52" fmla="*/ 186 w 447"/>
              <a:gd name="T53" fmla="*/ 311 h 556"/>
              <a:gd name="T54" fmla="*/ 166 w 447"/>
              <a:gd name="T55" fmla="*/ 323 h 556"/>
              <a:gd name="T56" fmla="*/ 0 w 447"/>
              <a:gd name="T57" fmla="*/ 228 h 55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447" h="556">
                <a:moveTo>
                  <a:pt x="0" y="228"/>
                </a:moveTo>
                <a:lnTo>
                  <a:pt x="166" y="556"/>
                </a:lnTo>
                <a:lnTo>
                  <a:pt x="189" y="527"/>
                </a:lnTo>
                <a:lnTo>
                  <a:pt x="213" y="497"/>
                </a:lnTo>
                <a:lnTo>
                  <a:pt x="234" y="466"/>
                </a:lnTo>
                <a:lnTo>
                  <a:pt x="255" y="433"/>
                </a:lnTo>
                <a:lnTo>
                  <a:pt x="277" y="398"/>
                </a:lnTo>
                <a:lnTo>
                  <a:pt x="296" y="363"/>
                </a:lnTo>
                <a:lnTo>
                  <a:pt x="315" y="327"/>
                </a:lnTo>
                <a:lnTo>
                  <a:pt x="332" y="291"/>
                </a:lnTo>
                <a:lnTo>
                  <a:pt x="349" y="254"/>
                </a:lnTo>
                <a:lnTo>
                  <a:pt x="364" y="218"/>
                </a:lnTo>
                <a:lnTo>
                  <a:pt x="380" y="180"/>
                </a:lnTo>
                <a:lnTo>
                  <a:pt x="395" y="143"/>
                </a:lnTo>
                <a:lnTo>
                  <a:pt x="422" y="70"/>
                </a:lnTo>
                <a:lnTo>
                  <a:pt x="447" y="0"/>
                </a:lnTo>
                <a:lnTo>
                  <a:pt x="416" y="50"/>
                </a:lnTo>
                <a:lnTo>
                  <a:pt x="383" y="98"/>
                </a:lnTo>
                <a:lnTo>
                  <a:pt x="350" y="144"/>
                </a:lnTo>
                <a:lnTo>
                  <a:pt x="317" y="189"/>
                </a:lnTo>
                <a:lnTo>
                  <a:pt x="299" y="210"/>
                </a:lnTo>
                <a:lnTo>
                  <a:pt x="281" y="231"/>
                </a:lnTo>
                <a:lnTo>
                  <a:pt x="263" y="249"/>
                </a:lnTo>
                <a:lnTo>
                  <a:pt x="244" y="267"/>
                </a:lnTo>
                <a:lnTo>
                  <a:pt x="225" y="283"/>
                </a:lnTo>
                <a:lnTo>
                  <a:pt x="206" y="298"/>
                </a:lnTo>
                <a:lnTo>
                  <a:pt x="186" y="311"/>
                </a:lnTo>
                <a:lnTo>
                  <a:pt x="166" y="323"/>
                </a:lnTo>
                <a:lnTo>
                  <a:pt x="0" y="228"/>
                </a:lnTo>
                <a:close/>
              </a:path>
            </a:pathLst>
          </a:custGeom>
          <a:solidFill>
            <a:srgbClr val="EF7F1A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16653" tIns="58327" rIns="116653" bIns="58327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79243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569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7" name="Freeform 21">
            <a:extLst>
              <a:ext uri="{FF2B5EF4-FFF2-40B4-BE49-F238E27FC236}">
                <a16:creationId xmlns:a16="http://schemas.microsoft.com/office/drawing/2014/main" id="{A8005455-272D-994B-5E8B-4D534534C148}"/>
              </a:ext>
            </a:extLst>
          </p:cNvPr>
          <p:cNvSpPr>
            <a:spLocks/>
          </p:cNvSpPr>
          <p:nvPr/>
        </p:nvSpPr>
        <p:spPr bwMode="auto">
          <a:xfrm>
            <a:off x="2688895" y="2043356"/>
            <a:ext cx="305160" cy="355809"/>
          </a:xfrm>
          <a:custGeom>
            <a:avLst/>
            <a:gdLst>
              <a:gd name="T0" fmla="*/ 0 w 447"/>
              <a:gd name="T1" fmla="*/ 228 h 556"/>
              <a:gd name="T2" fmla="*/ 166 w 447"/>
              <a:gd name="T3" fmla="*/ 556 h 556"/>
              <a:gd name="T4" fmla="*/ 189 w 447"/>
              <a:gd name="T5" fmla="*/ 527 h 556"/>
              <a:gd name="T6" fmla="*/ 213 w 447"/>
              <a:gd name="T7" fmla="*/ 497 h 556"/>
              <a:gd name="T8" fmla="*/ 234 w 447"/>
              <a:gd name="T9" fmla="*/ 466 h 556"/>
              <a:gd name="T10" fmla="*/ 255 w 447"/>
              <a:gd name="T11" fmla="*/ 433 h 556"/>
              <a:gd name="T12" fmla="*/ 277 w 447"/>
              <a:gd name="T13" fmla="*/ 398 h 556"/>
              <a:gd name="T14" fmla="*/ 296 w 447"/>
              <a:gd name="T15" fmla="*/ 363 h 556"/>
              <a:gd name="T16" fmla="*/ 315 w 447"/>
              <a:gd name="T17" fmla="*/ 327 h 556"/>
              <a:gd name="T18" fmla="*/ 332 w 447"/>
              <a:gd name="T19" fmla="*/ 291 h 556"/>
              <a:gd name="T20" fmla="*/ 349 w 447"/>
              <a:gd name="T21" fmla="*/ 254 h 556"/>
              <a:gd name="T22" fmla="*/ 364 w 447"/>
              <a:gd name="T23" fmla="*/ 218 h 556"/>
              <a:gd name="T24" fmla="*/ 380 w 447"/>
              <a:gd name="T25" fmla="*/ 180 h 556"/>
              <a:gd name="T26" fmla="*/ 395 w 447"/>
              <a:gd name="T27" fmla="*/ 143 h 556"/>
              <a:gd name="T28" fmla="*/ 422 w 447"/>
              <a:gd name="T29" fmla="*/ 70 h 556"/>
              <a:gd name="T30" fmla="*/ 447 w 447"/>
              <a:gd name="T31" fmla="*/ 0 h 556"/>
              <a:gd name="T32" fmla="*/ 416 w 447"/>
              <a:gd name="T33" fmla="*/ 50 h 556"/>
              <a:gd name="T34" fmla="*/ 383 w 447"/>
              <a:gd name="T35" fmla="*/ 98 h 556"/>
              <a:gd name="T36" fmla="*/ 350 w 447"/>
              <a:gd name="T37" fmla="*/ 144 h 556"/>
              <a:gd name="T38" fmla="*/ 317 w 447"/>
              <a:gd name="T39" fmla="*/ 189 h 556"/>
              <a:gd name="T40" fmla="*/ 299 w 447"/>
              <a:gd name="T41" fmla="*/ 210 h 556"/>
              <a:gd name="T42" fmla="*/ 281 w 447"/>
              <a:gd name="T43" fmla="*/ 231 h 556"/>
              <a:gd name="T44" fmla="*/ 263 w 447"/>
              <a:gd name="T45" fmla="*/ 249 h 556"/>
              <a:gd name="T46" fmla="*/ 244 w 447"/>
              <a:gd name="T47" fmla="*/ 267 h 556"/>
              <a:gd name="T48" fmla="*/ 225 w 447"/>
              <a:gd name="T49" fmla="*/ 283 h 556"/>
              <a:gd name="T50" fmla="*/ 206 w 447"/>
              <a:gd name="T51" fmla="*/ 298 h 556"/>
              <a:gd name="T52" fmla="*/ 186 w 447"/>
              <a:gd name="T53" fmla="*/ 311 h 556"/>
              <a:gd name="T54" fmla="*/ 166 w 447"/>
              <a:gd name="T55" fmla="*/ 323 h 556"/>
              <a:gd name="T56" fmla="*/ 0 w 447"/>
              <a:gd name="T57" fmla="*/ 228 h 55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447" h="556">
                <a:moveTo>
                  <a:pt x="0" y="228"/>
                </a:moveTo>
                <a:lnTo>
                  <a:pt x="166" y="556"/>
                </a:lnTo>
                <a:lnTo>
                  <a:pt x="189" y="527"/>
                </a:lnTo>
                <a:lnTo>
                  <a:pt x="213" y="497"/>
                </a:lnTo>
                <a:lnTo>
                  <a:pt x="234" y="466"/>
                </a:lnTo>
                <a:lnTo>
                  <a:pt x="255" y="433"/>
                </a:lnTo>
                <a:lnTo>
                  <a:pt x="277" y="398"/>
                </a:lnTo>
                <a:lnTo>
                  <a:pt x="296" y="363"/>
                </a:lnTo>
                <a:lnTo>
                  <a:pt x="315" y="327"/>
                </a:lnTo>
                <a:lnTo>
                  <a:pt x="332" y="291"/>
                </a:lnTo>
                <a:lnTo>
                  <a:pt x="349" y="254"/>
                </a:lnTo>
                <a:lnTo>
                  <a:pt x="364" y="218"/>
                </a:lnTo>
                <a:lnTo>
                  <a:pt x="380" y="180"/>
                </a:lnTo>
                <a:lnTo>
                  <a:pt x="395" y="143"/>
                </a:lnTo>
                <a:lnTo>
                  <a:pt x="422" y="70"/>
                </a:lnTo>
                <a:lnTo>
                  <a:pt x="447" y="0"/>
                </a:lnTo>
                <a:lnTo>
                  <a:pt x="416" y="50"/>
                </a:lnTo>
                <a:lnTo>
                  <a:pt x="383" y="98"/>
                </a:lnTo>
                <a:lnTo>
                  <a:pt x="350" y="144"/>
                </a:lnTo>
                <a:lnTo>
                  <a:pt x="317" y="189"/>
                </a:lnTo>
                <a:lnTo>
                  <a:pt x="299" y="210"/>
                </a:lnTo>
                <a:lnTo>
                  <a:pt x="281" y="231"/>
                </a:lnTo>
                <a:lnTo>
                  <a:pt x="263" y="249"/>
                </a:lnTo>
                <a:lnTo>
                  <a:pt x="244" y="267"/>
                </a:lnTo>
                <a:lnTo>
                  <a:pt x="225" y="283"/>
                </a:lnTo>
                <a:lnTo>
                  <a:pt x="206" y="298"/>
                </a:lnTo>
                <a:lnTo>
                  <a:pt x="186" y="311"/>
                </a:lnTo>
                <a:lnTo>
                  <a:pt x="166" y="323"/>
                </a:lnTo>
                <a:lnTo>
                  <a:pt x="0" y="228"/>
                </a:lnTo>
                <a:close/>
              </a:path>
            </a:pathLst>
          </a:custGeom>
          <a:solidFill>
            <a:srgbClr val="EF7F1A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16653" tIns="58327" rIns="116653" bIns="58327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79243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569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9" name="Прямоугольник 18">
            <a:extLst>
              <a:ext uri="{FF2B5EF4-FFF2-40B4-BE49-F238E27FC236}">
                <a16:creationId xmlns:a16="http://schemas.microsoft.com/office/drawing/2014/main" id="{19884540-AAAE-42AB-B3EB-725E96EE5C15}"/>
              </a:ext>
            </a:extLst>
          </p:cNvPr>
          <p:cNvSpPr/>
          <p:nvPr/>
        </p:nvSpPr>
        <p:spPr>
          <a:xfrm>
            <a:off x="9508141" y="6178048"/>
            <a:ext cx="2439444" cy="585061"/>
          </a:xfrm>
          <a:prstGeom prst="rect">
            <a:avLst/>
          </a:prstGeom>
          <a:solidFill>
            <a:srgbClr val="F7A81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20" name="Рисунок 19">
            <a:extLst>
              <a:ext uri="{FF2B5EF4-FFF2-40B4-BE49-F238E27FC236}">
                <a16:creationId xmlns:a16="http://schemas.microsoft.com/office/drawing/2014/main" id="{38458865-CAF4-42F6-AEA8-AA19C67C0914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52817" y="6501875"/>
            <a:ext cx="1394768" cy="1875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9429022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2000"/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1000"/>
                                        <p:tgtEl>
                                          <p:spTgt spid="1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0" dur="1000" fill="hold"/>
                                        <p:tgtEl>
                                          <p:spTgt spid="1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1000" fill="hold"/>
                                        <p:tgtEl>
                                          <p:spTgt spid="1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2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1000"/>
                                        <p:tgtEl>
                                          <p:spTgt spid="1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5" dur="1000" fill="hold"/>
                                        <p:tgtEl>
                                          <p:spTgt spid="1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1000" fill="hold"/>
                                        <p:tgtEl>
                                          <p:spTgt spid="1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7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1000"/>
                                        <p:tgtEl>
                                          <p:spTgt spid="18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0" dur="1000" fill="hold"/>
                                        <p:tgtEl>
                                          <p:spTgt spid="18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1" dur="1000" fill="hold"/>
                                        <p:tgtEl>
                                          <p:spTgt spid="18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2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1000"/>
                                        <p:tgtEl>
                                          <p:spTgt spid="18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5" dur="1000" fill="hold"/>
                                        <p:tgtEl>
                                          <p:spTgt spid="18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6" dur="1000" fill="hold"/>
                                        <p:tgtEl>
                                          <p:spTgt spid="18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1000"/>
                                        <p:tgtEl>
                                          <p:spTgt spid="18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2" dur="1000" fill="hold"/>
                                        <p:tgtEl>
                                          <p:spTgt spid="18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3" dur="1000" fill="hold"/>
                                        <p:tgtEl>
                                          <p:spTgt spid="18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>
          <a:xfrm>
            <a:off x="2509941" y="2417547"/>
            <a:ext cx="184731" cy="6546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27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27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9758397" y="9770394"/>
            <a:ext cx="320134" cy="3238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56" b="0" i="0" u="none" strike="noStrike" kern="1200" cap="none" spc="0" normalizeH="0" baseline="3000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7" name="TextBox 26"/>
          <p:cNvSpPr txBox="1"/>
          <p:nvPr/>
        </p:nvSpPr>
        <p:spPr>
          <a:xfrm>
            <a:off x="3685716" y="2431678"/>
            <a:ext cx="5600187" cy="25873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79" b="1" i="0" u="none" strike="noStrike" kern="1200" cap="none" spc="0" normalizeH="0" baseline="30000" noProof="0" dirty="0">
              <a:ln>
                <a:noFill/>
              </a:ln>
              <a:solidFill>
                <a:srgbClr val="14447A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379" b="1" i="0" u="none" strike="noStrike" kern="1200" cap="none" spc="0" normalizeH="0" baseline="30000" noProof="0" dirty="0">
              <a:ln>
                <a:noFill/>
              </a:ln>
              <a:solidFill>
                <a:srgbClr val="14447A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214878" marR="0" lvl="0" indent="-21487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755" b="1" i="0" u="none" strike="noStrike" kern="1200" cap="none" spc="0" normalizeH="0" baseline="0" noProof="0" dirty="0">
                <a:ln>
                  <a:noFill/>
                </a:ln>
                <a:solidFill>
                  <a:srgbClr val="14447A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en-US" sz="1755" b="1" i="0" u="none" strike="noStrike" kern="1200" cap="none" spc="0" normalizeH="0" baseline="0" noProof="0" dirty="0">
                <a:ln>
                  <a:noFill/>
                </a:ln>
                <a:solidFill>
                  <a:srgbClr val="14447A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BB-12 </a:t>
            </a:r>
            <a:r>
              <a:rPr kumimoji="0" lang="az-Latn-AZ" sz="1755" b="1" i="0" u="none" strike="noStrike" kern="1200" cap="none" spc="0" normalizeH="0" baseline="0" noProof="0" dirty="0">
                <a:ln>
                  <a:noFill/>
                </a:ln>
                <a:solidFill>
                  <a:srgbClr val="14447A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və</a:t>
            </a:r>
            <a:r>
              <a:rPr kumimoji="0" lang="en-US" sz="1755" b="1" i="0" u="none" strike="noStrike" kern="1200" cap="none" spc="0" normalizeH="0" baseline="0" noProof="0" dirty="0">
                <a:ln>
                  <a:noFill/>
                </a:ln>
                <a:solidFill>
                  <a:srgbClr val="14447A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LA-5</a:t>
            </a:r>
            <a:r>
              <a:rPr kumimoji="0" lang="az-Latn-AZ" sz="1755" b="1" i="0" u="none" strike="noStrike" kern="1200" cap="none" spc="0" normalizeH="0" baseline="0" noProof="0" dirty="0">
                <a:ln>
                  <a:noFill/>
                </a:ln>
                <a:solidFill>
                  <a:srgbClr val="14447A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bakteriyalarının</a:t>
            </a:r>
            <a:r>
              <a:rPr kumimoji="0" lang="en-US" sz="1755" b="1" i="0" u="none" strike="noStrike" kern="1200" cap="none" spc="0" normalizeH="0" baseline="0" noProof="0" dirty="0">
                <a:ln>
                  <a:noFill/>
                </a:ln>
                <a:solidFill>
                  <a:srgbClr val="14447A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az-Latn-AZ" sz="1755" b="1" i="0" u="none" strike="noStrike" kern="1200" cap="none" spc="0" normalizeH="0" baseline="0" noProof="0" dirty="0">
                <a:ln>
                  <a:noFill/>
                </a:ln>
                <a:solidFill>
                  <a:srgbClr val="14447A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öz</a:t>
            </a:r>
            <a:r>
              <a:rPr kumimoji="0" lang="ru-RU" sz="1755" b="1" i="0" u="none" strike="noStrike" kern="1200" cap="none" spc="0" normalizeH="0" baseline="0" noProof="0" dirty="0">
                <a:ln>
                  <a:noFill/>
                </a:ln>
                <a:solidFill>
                  <a:srgbClr val="14447A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en-US" sz="1755" b="1" i="0" u="none" strike="noStrike" kern="1200" cap="none" spc="0" normalizeH="0" baseline="0" noProof="0" dirty="0">
                <a:ln>
                  <a:noFill/>
                </a:ln>
                <a:solidFill>
                  <a:srgbClr val="14447A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“</a:t>
            </a:r>
            <a:r>
              <a:rPr kumimoji="0" lang="az-Latn-AZ" sz="1755" b="1" i="0" u="none" strike="noStrike" kern="1200" cap="none" spc="0" normalizeH="0" baseline="0" noProof="0" dirty="0">
                <a:ln>
                  <a:noFill/>
                </a:ln>
                <a:solidFill>
                  <a:srgbClr val="14447A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asportu</a:t>
            </a:r>
            <a:r>
              <a:rPr kumimoji="0" lang="en-US" sz="1755" b="1" i="0" u="none" strike="noStrike" kern="1200" cap="none" spc="0" normalizeH="0" baseline="0" noProof="0" dirty="0">
                <a:ln>
                  <a:noFill/>
                </a:ln>
                <a:solidFill>
                  <a:srgbClr val="14447A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”</a:t>
            </a:r>
            <a:r>
              <a:rPr kumimoji="0" lang="ru-RU" sz="1755" b="1" i="0" u="none" strike="noStrike" kern="1200" cap="none" spc="0" normalizeH="0" baseline="0" noProof="0" dirty="0">
                <a:ln>
                  <a:noFill/>
                </a:ln>
                <a:solidFill>
                  <a:srgbClr val="14447A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,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755" b="1" i="0" u="none" strike="noStrike" kern="1200" cap="none" spc="0" normalizeH="0" baseline="0" noProof="0" dirty="0">
                <a:ln>
                  <a:noFill/>
                </a:ln>
                <a:solidFill>
                  <a:srgbClr val="14447A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  </a:t>
            </a:r>
            <a:r>
              <a:rPr kumimoji="0" lang="az-Latn-AZ" sz="1755" b="1" i="0" u="none" strike="noStrike" kern="1200" cap="none" spc="0" normalizeH="0" baseline="0" noProof="0" dirty="0">
                <a:ln>
                  <a:noFill/>
                </a:ln>
                <a:solidFill>
                  <a:srgbClr val="14447A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təyin olunmuş fenotip və genotipi var</a:t>
            </a:r>
            <a:r>
              <a:rPr kumimoji="0" lang="ru-RU" sz="1755" b="1" i="0" u="none" strike="noStrike" kern="1200" cap="none" spc="0" normalizeH="0" baseline="30000" noProof="0" dirty="0">
                <a:ln>
                  <a:noFill/>
                </a:ln>
                <a:solidFill>
                  <a:srgbClr val="14447A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1</a:t>
            </a:r>
            <a:r>
              <a:rPr kumimoji="0" lang="en-US" sz="1755" b="1" i="0" u="none" strike="noStrike" kern="1200" cap="none" spc="0" normalizeH="0" baseline="30000" noProof="0" dirty="0">
                <a:ln>
                  <a:noFill/>
                </a:ln>
                <a:solidFill>
                  <a:srgbClr val="14447A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,</a:t>
            </a:r>
            <a:r>
              <a:rPr kumimoji="0" lang="ru-RU" sz="1755" b="1" i="0" u="none" strike="noStrike" kern="1200" cap="none" spc="0" normalizeH="0" baseline="30000" noProof="0" dirty="0">
                <a:ln>
                  <a:noFill/>
                </a:ln>
                <a:solidFill>
                  <a:srgbClr val="14447A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2</a:t>
            </a:r>
          </a:p>
          <a:p>
            <a:pPr marL="214878" marR="0" lvl="0" indent="-21487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ru-RU" sz="1755" b="1" i="0" u="none" strike="noStrike" kern="1200" cap="none" spc="0" normalizeH="0" baseline="30000" noProof="0" dirty="0">
              <a:ln>
                <a:noFill/>
              </a:ln>
              <a:solidFill>
                <a:srgbClr val="14447A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379" b="1" i="0" u="none" strike="noStrike" kern="1200" cap="none" spc="0" normalizeH="0" baseline="30000" noProof="0" dirty="0">
              <a:ln>
                <a:noFill/>
              </a:ln>
              <a:solidFill>
                <a:srgbClr val="14447A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214878" marR="0" lvl="0" indent="-21487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ru-RU" sz="1379" b="1" i="0" u="none" strike="noStrike" kern="1200" cap="none" spc="0" normalizeH="0" baseline="30000" noProof="0" dirty="0">
              <a:ln>
                <a:noFill/>
              </a:ln>
              <a:solidFill>
                <a:srgbClr val="14447A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214878" marR="0" lvl="0" indent="-21487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755" b="1" i="0" u="none" strike="noStrike" kern="1200" cap="none" spc="0" normalizeH="0" baseline="0" noProof="0" dirty="0">
                <a:ln>
                  <a:noFill/>
                </a:ln>
                <a:solidFill>
                  <a:srgbClr val="14447A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«</a:t>
            </a:r>
            <a:r>
              <a:rPr kumimoji="0" lang="az-Latn-AZ" sz="1755" b="1" i="0" u="none" strike="noStrike" kern="1200" cap="none" spc="0" normalizeH="0" baseline="0" noProof="0" dirty="0">
                <a:ln>
                  <a:noFill/>
                </a:ln>
                <a:solidFill>
                  <a:srgbClr val="14447A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Ümumtanınan təhlükəsizlik</a:t>
            </a:r>
            <a:r>
              <a:rPr kumimoji="0" lang="ru-RU" sz="1755" b="1" i="0" u="none" strike="noStrike" kern="1200" cap="none" spc="0" normalizeH="0" baseline="0" noProof="0" dirty="0">
                <a:ln>
                  <a:noFill/>
                </a:ln>
                <a:solidFill>
                  <a:srgbClr val="14447A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»</a:t>
            </a:r>
            <a:r>
              <a:rPr kumimoji="0" lang="az-Latn-AZ" sz="1755" b="1" i="0" u="none" strike="noStrike" kern="1200" cap="none" spc="0" normalizeH="0" baseline="0" noProof="0" dirty="0">
                <a:ln>
                  <a:noFill/>
                </a:ln>
                <a:solidFill>
                  <a:srgbClr val="14447A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statusu</a:t>
            </a:r>
            <a:r>
              <a:rPr kumimoji="0" lang="ru-RU" sz="1755" b="1" i="0" u="none" strike="noStrike" kern="1200" cap="none" spc="0" normalizeH="0" baseline="0" noProof="0" dirty="0">
                <a:ln>
                  <a:noFill/>
                </a:ln>
                <a:solidFill>
                  <a:srgbClr val="14447A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755" b="1" i="0" u="none" strike="noStrike" kern="1200" cap="none" spc="0" normalizeH="0" baseline="0" noProof="0" dirty="0">
                <a:ln>
                  <a:noFill/>
                </a:ln>
                <a:solidFill>
                  <a:srgbClr val="14447A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   FDA</a:t>
            </a:r>
            <a:r>
              <a:rPr kumimoji="0" lang="az-Latn-AZ" sz="1755" b="1" i="0" u="none" strike="noStrike" kern="1200" cap="none" spc="0" normalizeH="0" baseline="0" noProof="0" dirty="0">
                <a:ln>
                  <a:noFill/>
                </a:ln>
                <a:solidFill>
                  <a:srgbClr val="14447A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-</a:t>
            </a:r>
            <a:r>
              <a:rPr kumimoji="0" lang="ru-RU" sz="1755" b="1" i="0" u="none" strike="noStrike" kern="1200" cap="none" spc="0" normalizeH="0" baseline="0" noProof="0" dirty="0">
                <a:ln>
                  <a:noFill/>
                </a:ln>
                <a:solidFill>
                  <a:srgbClr val="14447A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GRAS </a:t>
            </a:r>
            <a:r>
              <a:rPr kumimoji="0" lang="az-Latn-AZ" sz="1755" b="1" i="0" u="none" strike="noStrike" kern="1200" cap="none" spc="0" normalizeH="0" baseline="0" noProof="0" dirty="0">
                <a:ln>
                  <a:noFill/>
                </a:ln>
                <a:solidFill>
                  <a:srgbClr val="14447A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və ADA(EMA)-</a:t>
            </a:r>
            <a:r>
              <a:rPr kumimoji="0" lang="ru-RU" sz="1755" b="1" i="0" u="none" strike="noStrike" kern="1200" cap="none" spc="0" normalizeH="0" baseline="0" noProof="0" dirty="0">
                <a:ln>
                  <a:noFill/>
                </a:ln>
                <a:solidFill>
                  <a:srgbClr val="14447A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Q</a:t>
            </a:r>
            <a:r>
              <a:rPr kumimoji="0" lang="en-US" sz="1755" b="1" i="0" u="none" strike="noStrike" kern="1200" cap="none" spc="0" normalizeH="0" baseline="0" noProof="0" dirty="0">
                <a:ln>
                  <a:noFill/>
                </a:ln>
                <a:solidFill>
                  <a:srgbClr val="14447A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</a:t>
            </a:r>
            <a:r>
              <a:rPr kumimoji="0" lang="ru-RU" sz="1755" b="1" i="0" u="none" strike="noStrike" kern="1200" cap="none" spc="0" normalizeH="0" baseline="0" noProof="0" dirty="0">
                <a:ln>
                  <a:noFill/>
                </a:ln>
                <a:solidFill>
                  <a:srgbClr val="14447A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 </a:t>
            </a:r>
            <a:r>
              <a:rPr kumimoji="0" lang="ru-RU" sz="1755" b="1" i="0" u="none" strike="noStrike" kern="1200" cap="none" spc="0" normalizeH="0" baseline="30000" noProof="0" dirty="0">
                <a:ln>
                  <a:noFill/>
                </a:ln>
                <a:solidFill>
                  <a:srgbClr val="14447A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3</a:t>
            </a:r>
            <a:r>
              <a:rPr kumimoji="0" lang="en-US" sz="1755" b="1" i="0" u="none" strike="noStrike" kern="1200" cap="none" spc="0" normalizeH="0" baseline="30000" noProof="0" dirty="0">
                <a:ln>
                  <a:noFill/>
                </a:ln>
                <a:solidFill>
                  <a:srgbClr val="14447A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,</a:t>
            </a:r>
            <a:r>
              <a:rPr kumimoji="0" lang="ru-RU" sz="1755" b="1" i="0" u="none" strike="noStrike" kern="1200" cap="none" spc="0" normalizeH="0" baseline="30000" noProof="0" dirty="0">
                <a:ln>
                  <a:noFill/>
                </a:ln>
                <a:solidFill>
                  <a:srgbClr val="14447A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4</a:t>
            </a:r>
            <a:r>
              <a:rPr kumimoji="0" lang="en-US" sz="1755" b="1" i="0" u="none" strike="noStrike" kern="1200" cap="none" spc="0" normalizeH="0" baseline="30000" noProof="0" dirty="0">
                <a:ln>
                  <a:noFill/>
                </a:ln>
                <a:solidFill>
                  <a:srgbClr val="14447A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,</a:t>
            </a:r>
            <a:r>
              <a:rPr kumimoji="0" lang="ru-RU" sz="1755" b="1" i="0" u="none" strike="noStrike" kern="1200" cap="none" spc="0" normalizeH="0" baseline="30000" noProof="0" dirty="0">
                <a:ln>
                  <a:noFill/>
                </a:ln>
                <a:solidFill>
                  <a:srgbClr val="14447A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5 </a:t>
            </a:r>
            <a:endParaRPr kumimoji="0" lang="en-US" sz="1755" b="1" i="0" u="none" strike="noStrike" kern="1200" cap="none" spc="0" normalizeH="0" baseline="30000" noProof="0" dirty="0">
              <a:ln>
                <a:noFill/>
              </a:ln>
              <a:solidFill>
                <a:srgbClr val="14447A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005" b="1" i="0" u="none" strike="noStrike" kern="1200" cap="none" spc="0" normalizeH="0" baseline="3000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56" b="1" i="0" u="none" strike="noStrike" kern="1200" cap="none" spc="0" normalizeH="0" baseline="3000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56" b="1" i="0" u="none" strike="noStrike" kern="1200" cap="none" spc="0" normalizeH="0" baseline="3000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pic>
        <p:nvPicPr>
          <p:cNvPr id="12" name="Рисунок 11">
            <a:extLst>
              <a:ext uri="{FF2B5EF4-FFF2-40B4-BE49-F238E27FC236}">
                <a16:creationId xmlns:a16="http://schemas.microsoft.com/office/drawing/2014/main" id="{8C33241B-337C-3D42-8A6D-9E771D255B77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81664" y="2345266"/>
            <a:ext cx="1856248" cy="2258682"/>
          </a:xfrm>
          <a:prstGeom prst="rect">
            <a:avLst/>
          </a:prstGeom>
        </p:spPr>
      </p:pic>
      <p:pic>
        <p:nvPicPr>
          <p:cNvPr id="30" name="Рисунок 29">
            <a:extLst>
              <a:ext uri="{FF2B5EF4-FFF2-40B4-BE49-F238E27FC236}">
                <a16:creationId xmlns:a16="http://schemas.microsoft.com/office/drawing/2014/main" id="{36C09A15-9702-6E44-B719-69BBA14508C5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4908"/>
            <a:ext cx="12191999" cy="6823091"/>
          </a:xfrm>
          <a:prstGeom prst="rect">
            <a:avLst/>
          </a:prstGeom>
        </p:spPr>
      </p:pic>
      <p:sp>
        <p:nvSpPr>
          <p:cNvPr id="32" name="TextBox 31">
            <a:extLst>
              <a:ext uri="{FF2B5EF4-FFF2-40B4-BE49-F238E27FC236}">
                <a16:creationId xmlns:a16="http://schemas.microsoft.com/office/drawing/2014/main" id="{6E1D6579-2071-A243-8A87-B71BB1969DF2}"/>
              </a:ext>
            </a:extLst>
          </p:cNvPr>
          <p:cNvSpPr txBox="1"/>
          <p:nvPr/>
        </p:nvSpPr>
        <p:spPr>
          <a:xfrm>
            <a:off x="1845314" y="5896575"/>
            <a:ext cx="7298793" cy="12304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752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1</a:t>
            </a:r>
            <a:r>
              <a:rPr kumimoji="0" lang="en-US" sz="752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. Probiotics and prebiotics. Practice Guideline World Gastroenterology Organization, 2011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752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2. </a:t>
            </a:r>
            <a:r>
              <a:rPr kumimoji="0" lang="de-DE" sz="752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Jungersen</a:t>
            </a:r>
            <a:r>
              <a:rPr kumimoji="0" lang="de-DE" sz="752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M, Wind A. et al. </a:t>
            </a:r>
            <a:r>
              <a:rPr kumimoji="0" lang="en-US" sz="752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The Science behind the Probiotic Strain </a:t>
            </a:r>
            <a:r>
              <a:rPr kumimoji="0" lang="en-US" sz="752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Bifidobacterium</a:t>
            </a:r>
            <a:r>
              <a:rPr kumimoji="0" lang="en-US" sz="752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en-US" sz="752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nimalis</a:t>
            </a:r>
            <a:r>
              <a:rPr kumimoji="0" lang="en-US" sz="752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subsp. </a:t>
            </a:r>
            <a:r>
              <a:rPr kumimoji="0" lang="en-US" sz="752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lactis</a:t>
            </a:r>
            <a:r>
              <a:rPr kumimoji="0" lang="en-US" sz="752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BB-12(®). </a:t>
            </a:r>
            <a:r>
              <a:rPr kumimoji="0" lang="en-US" sz="752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Microorg</a:t>
            </a:r>
            <a:r>
              <a:rPr kumimoji="0" lang="en-US" sz="752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. </a:t>
            </a:r>
            <a:r>
              <a:rPr kumimoji="0" lang="ru-RU" sz="752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2014;(2):92-110</a:t>
            </a:r>
            <a:endParaRPr kumimoji="0" lang="en-US" sz="752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752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3. GRAS (</a:t>
            </a:r>
            <a:r>
              <a:rPr kumimoji="0" lang="ru-RU" sz="752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Generally</a:t>
            </a:r>
            <a:r>
              <a:rPr kumimoji="0" lang="ru-RU" sz="752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sz="752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Regarded</a:t>
            </a:r>
            <a:r>
              <a:rPr kumimoji="0" lang="ru-RU" sz="752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sz="752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s</a:t>
            </a:r>
            <a:r>
              <a:rPr kumimoji="0" lang="ru-RU" sz="752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 </a:t>
            </a:r>
            <a:r>
              <a:rPr kumimoji="0" lang="ru-RU" sz="752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afe</a:t>
            </a:r>
            <a:r>
              <a:rPr kumimoji="0" lang="ru-RU" sz="752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 — общепризнан как безопасный) в управлении по контролю качества пищевых продуктов и лекарственных препаратов ,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752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FDA (GRAS </a:t>
            </a:r>
            <a:r>
              <a:rPr kumimoji="0" lang="ru-RU" sz="752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Notice</a:t>
            </a:r>
            <a:r>
              <a:rPr kumimoji="0" lang="ru-RU" sz="752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sz="752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No</a:t>
            </a:r>
            <a:r>
              <a:rPr kumimoji="0" lang="ru-RU" sz="752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. GRN 000049, 2002)</a:t>
            </a:r>
            <a:r>
              <a:rPr kumimoji="0" lang="en-US" sz="752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endParaRPr kumimoji="0" lang="ru-RU" sz="752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752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4. </a:t>
            </a:r>
            <a:r>
              <a:rPr kumimoji="0" lang="en-US" sz="752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EFSA Journal</a:t>
            </a:r>
            <a:r>
              <a:rPr kumimoji="0" lang="ru-RU" sz="752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2016; 14(7):4522</a:t>
            </a:r>
            <a:r>
              <a:rPr kumimoji="0" lang="en-US" sz="752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. </a:t>
            </a:r>
            <a:r>
              <a:rPr kumimoji="0" lang="ru-RU" sz="752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QPS (</a:t>
            </a:r>
            <a:r>
              <a:rPr kumimoji="0" lang="ru-RU" sz="752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Qualified</a:t>
            </a:r>
            <a:r>
              <a:rPr kumimoji="0" lang="ru-RU" sz="752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sz="752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resumption</a:t>
            </a:r>
            <a:r>
              <a:rPr kumimoji="0" lang="ru-RU" sz="752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sz="752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of</a:t>
            </a:r>
            <a:r>
              <a:rPr kumimoji="0" lang="ru-RU" sz="752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sz="752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afety</a:t>
            </a:r>
            <a:r>
              <a:rPr kumimoji="0" lang="ru-RU" sz="752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) – квалифицированная презумпция безопасности Европейского агентства</a:t>
            </a:r>
            <a:endParaRPr kumimoji="0" lang="en-US" sz="752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752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по безопасности продуктов питания</a:t>
            </a:r>
            <a:endParaRPr kumimoji="0" lang="en-US" sz="752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752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5</a:t>
            </a:r>
            <a:r>
              <a:rPr kumimoji="0" lang="en-US" sz="752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. </a:t>
            </a:r>
            <a:r>
              <a:rPr kumimoji="0" lang="ru-RU" sz="752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М. Бехтерева </a:t>
            </a:r>
            <a:r>
              <a:rPr kumimoji="0" lang="en-US" sz="752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“</a:t>
            </a:r>
            <a:r>
              <a:rPr kumimoji="0" lang="ru-RU" sz="752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Выбор </a:t>
            </a:r>
            <a:r>
              <a:rPr kumimoji="0" lang="ru-RU" sz="752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пробиотика</a:t>
            </a:r>
            <a:r>
              <a:rPr kumimoji="0" lang="ru-RU" sz="752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при инфекционной диарее у детей</a:t>
            </a:r>
            <a:r>
              <a:rPr kumimoji="0" lang="en-US" sz="752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: C</a:t>
            </a:r>
            <a:r>
              <a:rPr kumimoji="0" lang="ru-RU" sz="752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уществет</a:t>
            </a:r>
            <a:r>
              <a:rPr kumimoji="0" lang="ru-RU" sz="752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ли проблема </a:t>
            </a:r>
            <a:r>
              <a:rPr kumimoji="0" lang="en-US" sz="752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?”, </a:t>
            </a:r>
            <a:r>
              <a:rPr kumimoji="0" lang="ru-RU" sz="752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Врач,09</a:t>
            </a:r>
            <a:r>
              <a:rPr kumimoji="0" lang="en-US" sz="752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/ 2015</a:t>
            </a:r>
            <a:endParaRPr kumimoji="0" lang="ru-RU" sz="752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752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379" b="0" i="1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pic>
        <p:nvPicPr>
          <p:cNvPr id="33" name="Рисунок 32">
            <a:extLst>
              <a:ext uri="{FF2B5EF4-FFF2-40B4-BE49-F238E27FC236}">
                <a16:creationId xmlns:a16="http://schemas.microsoft.com/office/drawing/2014/main" id="{EDA04740-69E1-8249-8BFA-9F819A37183C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23109" y="2455572"/>
            <a:ext cx="2386739" cy="1657459"/>
          </a:xfrm>
          <a:prstGeom prst="rect">
            <a:avLst/>
          </a:prstGeom>
          <a:effectLst>
            <a:outerShdw blurRad="190500" dist="50800" dir="5400000" sx="88000" sy="88000" algn="ctr" rotWithShape="0">
              <a:srgbClr val="000000">
                <a:alpha val="99000"/>
              </a:srgbClr>
            </a:outerShdw>
          </a:effectLst>
        </p:spPr>
      </p:pic>
      <p:sp>
        <p:nvSpPr>
          <p:cNvPr id="34" name="Скругленный прямоугольник 33">
            <a:extLst>
              <a:ext uri="{FF2B5EF4-FFF2-40B4-BE49-F238E27FC236}">
                <a16:creationId xmlns:a16="http://schemas.microsoft.com/office/drawing/2014/main" id="{A516CABA-1AD9-5449-8339-29A5C5B0DB2F}"/>
              </a:ext>
            </a:extLst>
          </p:cNvPr>
          <p:cNvSpPr/>
          <p:nvPr/>
        </p:nvSpPr>
        <p:spPr>
          <a:xfrm>
            <a:off x="1418423" y="1391358"/>
            <a:ext cx="9370318" cy="831614"/>
          </a:xfrm>
          <a:prstGeom prst="roundRect">
            <a:avLst/>
          </a:prstGeom>
          <a:gradFill flip="none" rotWithShape="1">
            <a:gsLst>
              <a:gs pos="0">
                <a:srgbClr val="14447A">
                  <a:shade val="30000"/>
                  <a:satMod val="115000"/>
                </a:srgbClr>
              </a:gs>
              <a:gs pos="50000">
                <a:srgbClr val="14447A">
                  <a:shade val="67500"/>
                  <a:satMod val="115000"/>
                </a:srgbClr>
              </a:gs>
              <a:gs pos="100000">
                <a:srgbClr val="14447A">
                  <a:shade val="100000"/>
                  <a:satMod val="115000"/>
                </a:srgbClr>
              </a:gs>
            </a:gsLst>
            <a:lin ang="2700000" scaled="1"/>
            <a:tileRect/>
          </a:gradFill>
          <a:ln>
            <a:noFill/>
          </a:ln>
          <a:effectLst>
            <a:outerShdw blurRad="50800" dist="50800" dir="5400000" algn="ctr" rotWithShape="0">
              <a:srgbClr val="000000">
                <a:alpha val="9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256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35" name="Рисунок 34">
            <a:extLst>
              <a:ext uri="{FF2B5EF4-FFF2-40B4-BE49-F238E27FC236}">
                <a16:creationId xmlns:a16="http://schemas.microsoft.com/office/drawing/2014/main" id="{28A8FA11-6FE0-7E41-943B-27C1C5FD2554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3406" b="44467"/>
          <a:stretch/>
        </p:blipFill>
        <p:spPr>
          <a:xfrm flipH="1">
            <a:off x="1418423" y="1391357"/>
            <a:ext cx="5013159" cy="831614"/>
          </a:xfrm>
          <a:prstGeom prst="rect">
            <a:avLst/>
          </a:prstGeom>
        </p:spPr>
      </p:pic>
      <p:sp>
        <p:nvSpPr>
          <p:cNvPr id="36" name="TextBox 35">
            <a:extLst>
              <a:ext uri="{FF2B5EF4-FFF2-40B4-BE49-F238E27FC236}">
                <a16:creationId xmlns:a16="http://schemas.microsoft.com/office/drawing/2014/main" id="{CD583188-220C-E44E-888D-E57A3BA6B546}"/>
              </a:ext>
            </a:extLst>
          </p:cNvPr>
          <p:cNvSpPr txBox="1"/>
          <p:nvPr/>
        </p:nvSpPr>
        <p:spPr>
          <a:xfrm>
            <a:off x="5825265" y="1443610"/>
            <a:ext cx="5234211" cy="3735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11676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altLang="ru-RU" sz="1827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Lactobacillus </a:t>
            </a:r>
            <a:r>
              <a:rPr kumimoji="0" lang="fr-FR" altLang="ru-RU" sz="1827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cidophilus</a:t>
            </a:r>
            <a:r>
              <a:rPr kumimoji="0" lang="fr-FR" altLang="ru-RU" sz="1827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 LA-5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A7C4ADDD-92AF-D240-B653-5B479CB63ADC}"/>
              </a:ext>
            </a:extLst>
          </p:cNvPr>
          <p:cNvSpPr txBox="1"/>
          <p:nvPr/>
        </p:nvSpPr>
        <p:spPr>
          <a:xfrm>
            <a:off x="5396743" y="1727177"/>
            <a:ext cx="4984942" cy="3735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11676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altLang="ru-RU" sz="1827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Bifidobacterium </a:t>
            </a:r>
            <a:r>
              <a:rPr kumimoji="0" lang="fr-FR" altLang="ru-RU" sz="1827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nimalis</a:t>
            </a:r>
            <a:r>
              <a:rPr kumimoji="0" lang="be-BY" altLang="ru-RU" sz="1827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en-US" altLang="ru-RU" sz="1827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ubs </a:t>
            </a:r>
            <a:r>
              <a:rPr kumimoji="0" lang="fr-FR" altLang="ru-RU" sz="1827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lactis</a:t>
            </a:r>
            <a:r>
              <a:rPr kumimoji="0" lang="fr-FR" altLang="ru-RU" sz="1827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BB-12</a:t>
            </a: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4B8DE410-4B6E-EC40-B58A-0AC955E9A293}"/>
              </a:ext>
            </a:extLst>
          </p:cNvPr>
          <p:cNvSpPr txBox="1"/>
          <p:nvPr/>
        </p:nvSpPr>
        <p:spPr>
          <a:xfrm>
            <a:off x="2135645" y="801793"/>
            <a:ext cx="7080169" cy="48538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554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Состав Линекс Форте  </a:t>
            </a:r>
            <a:endParaRPr kumimoji="0" lang="en-US" sz="2554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3C4E3595-FDEF-854B-A34E-C5DCD3D9FC33}"/>
              </a:ext>
            </a:extLst>
          </p:cNvPr>
          <p:cNvSpPr txBox="1"/>
          <p:nvPr/>
        </p:nvSpPr>
        <p:spPr>
          <a:xfrm>
            <a:off x="1530478" y="1492212"/>
            <a:ext cx="1415772" cy="55521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3008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</a:t>
            </a:r>
            <a:r>
              <a:rPr kumimoji="0" lang="en-US" sz="3008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+1 &gt; 2 </a:t>
            </a:r>
          </a:p>
        </p:txBody>
      </p:sp>
      <p:sp>
        <p:nvSpPr>
          <p:cNvPr id="40" name="Прямоугольник 39">
            <a:extLst>
              <a:ext uri="{FF2B5EF4-FFF2-40B4-BE49-F238E27FC236}">
                <a16:creationId xmlns:a16="http://schemas.microsoft.com/office/drawing/2014/main" id="{03B3F644-995C-B844-A489-E9DB738E5736}"/>
              </a:ext>
            </a:extLst>
          </p:cNvPr>
          <p:cNvSpPr/>
          <p:nvPr/>
        </p:nvSpPr>
        <p:spPr>
          <a:xfrm>
            <a:off x="0" y="1"/>
            <a:ext cx="12191999" cy="1185775"/>
          </a:xfrm>
          <a:prstGeom prst="rect">
            <a:avLst/>
          </a:prstGeom>
          <a:gradFill flip="none" rotWithShape="1">
            <a:gsLst>
              <a:gs pos="0">
                <a:srgbClr val="14447A">
                  <a:shade val="30000"/>
                  <a:satMod val="115000"/>
                </a:srgbClr>
              </a:gs>
              <a:gs pos="50000">
                <a:srgbClr val="14447A">
                  <a:shade val="67500"/>
                  <a:satMod val="115000"/>
                </a:srgbClr>
              </a:gs>
              <a:gs pos="100000">
                <a:srgbClr val="14447A">
                  <a:shade val="100000"/>
                  <a:satMod val="115000"/>
                </a:srgb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256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B42432A7-43AD-BB44-8928-AB3E37BDE992}"/>
              </a:ext>
            </a:extLst>
          </p:cNvPr>
          <p:cNvSpPr txBox="1"/>
          <p:nvPr/>
        </p:nvSpPr>
        <p:spPr>
          <a:xfrm>
            <a:off x="1850342" y="398727"/>
            <a:ext cx="3670748" cy="55521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507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Линекс</a:t>
            </a:r>
            <a:r>
              <a:rPr kumimoji="0" lang="ru-RU" altLang="ru-RU" sz="3008" b="0" i="0" u="none" strike="noStrike" kern="1200" cap="none" spc="0" normalizeH="0" baseline="3000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®</a:t>
            </a:r>
            <a:r>
              <a:rPr kumimoji="0" lang="ru-RU" sz="3008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sz="2507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Форте</a:t>
            </a:r>
            <a:r>
              <a:rPr kumimoji="0" lang="az-Latn-AZ" sz="2507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tərkibi</a:t>
            </a:r>
            <a:endParaRPr kumimoji="0" lang="en-US" sz="2507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pic>
        <p:nvPicPr>
          <p:cNvPr id="43" name="Рисунок 42">
            <a:extLst>
              <a:ext uri="{FF2B5EF4-FFF2-40B4-BE49-F238E27FC236}">
                <a16:creationId xmlns:a16="http://schemas.microsoft.com/office/drawing/2014/main" id="{33BD23CF-0FBE-C54F-AB43-2C6EF426E038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1715" b="51934"/>
          <a:stretch/>
        </p:blipFill>
        <p:spPr>
          <a:xfrm>
            <a:off x="5790858" y="-14267"/>
            <a:ext cx="6497045" cy="1327809"/>
          </a:xfrm>
          <a:prstGeom prst="rect">
            <a:avLst/>
          </a:prstGeom>
        </p:spPr>
      </p:pic>
      <p:pic>
        <p:nvPicPr>
          <p:cNvPr id="44" name="Рисунок 43">
            <a:extLst>
              <a:ext uri="{FF2B5EF4-FFF2-40B4-BE49-F238E27FC236}">
                <a16:creationId xmlns:a16="http://schemas.microsoft.com/office/drawing/2014/main" id="{B0694449-C644-5242-AA2B-BCC28D9516B3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16725" y="147178"/>
            <a:ext cx="2189922" cy="886188"/>
          </a:xfrm>
          <a:prstGeom prst="rect">
            <a:avLst/>
          </a:prstGeom>
        </p:spPr>
      </p:pic>
      <p:sp>
        <p:nvSpPr>
          <p:cNvPr id="2" name="Скругленный прямоугольник 11">
            <a:extLst>
              <a:ext uri="{FF2B5EF4-FFF2-40B4-BE49-F238E27FC236}">
                <a16:creationId xmlns:a16="http://schemas.microsoft.com/office/drawing/2014/main" id="{1FFF4D9F-8972-CD43-6439-8CEA4F348E0F}"/>
              </a:ext>
            </a:extLst>
          </p:cNvPr>
          <p:cNvSpPr/>
          <p:nvPr/>
        </p:nvSpPr>
        <p:spPr>
          <a:xfrm>
            <a:off x="2222867" y="4862698"/>
            <a:ext cx="7200242" cy="883280"/>
          </a:xfrm>
          <a:prstGeom prst="roundRect">
            <a:avLst>
              <a:gd name="adj" fmla="val 18549"/>
            </a:avLst>
          </a:prstGeom>
          <a:solidFill>
            <a:srgbClr val="1444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75279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BB-12 </a:t>
            </a:r>
            <a:r>
              <a:rPr kumimoji="0" lang="ru-RU" sz="1800" b="1" i="0" u="none" strike="noStrike" kern="1200" cap="none" spc="0" normalizeH="0" baseline="3000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®</a:t>
            </a:r>
            <a:r>
              <a:rPr kumimoji="0" lang="az-Latn-AZ" sz="1800" b="1" i="0" u="none" strike="noStrike" kern="1200" cap="none" spc="0" normalizeH="0" baseline="3000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</a:t>
            </a:r>
            <a:r>
              <a:rPr kumimoji="0" lang="az-Latn-A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və 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LA-5</a:t>
            </a: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 </a:t>
            </a:r>
            <a:r>
              <a:rPr kumimoji="0" lang="ru-RU" sz="1800" b="1" i="0" u="none" strike="noStrike" kern="1200" cap="none" spc="0" normalizeH="0" baseline="3000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®</a:t>
            </a: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</a:t>
            </a:r>
            <a:r>
              <a:rPr kumimoji="0" lang="az-Latn-A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dunyada №1 probiotik istehsalçısı olan Danimarkanın </a:t>
            </a:r>
            <a:r>
              <a:rPr kumimoji="0" lang="ru-RU" sz="24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Chr</a:t>
            </a:r>
            <a:r>
              <a:rPr kumimoji="0" lang="ru-RU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. </a:t>
            </a:r>
            <a:r>
              <a:rPr kumimoji="0" lang="ru-RU" sz="24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Hansen</a:t>
            </a:r>
            <a:r>
              <a:rPr kumimoji="0" lang="ru-RU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</a:t>
            </a:r>
            <a:r>
              <a:rPr kumimoji="0" lang="az-Latn-AZ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şirkəti</a:t>
            </a:r>
            <a:r>
              <a:rPr kumimoji="0" lang="az-Latn-A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nə</a:t>
            </a:r>
            <a:r>
              <a:rPr kumimoji="0" lang="az-Latn-AZ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</a:t>
            </a:r>
            <a:r>
              <a:rPr kumimoji="0" lang="az-Latn-A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məxsusdur.</a:t>
            </a:r>
            <a:endParaRPr kumimoji="0" lang="ru-RU" sz="1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93805C46-1E18-9B11-7129-91303336235B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9380574" y="4365155"/>
            <a:ext cx="1546597" cy="883279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AA1F8F26-A620-30E6-66D8-2813462B88E3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10713984" y="4405031"/>
            <a:ext cx="1406953" cy="803526"/>
          </a:xfrm>
          <a:prstGeom prst="rect">
            <a:avLst/>
          </a:prstGeom>
        </p:spPr>
      </p:pic>
      <p:pic>
        <p:nvPicPr>
          <p:cNvPr id="25" name="Рисунок 24">
            <a:extLst>
              <a:ext uri="{FF2B5EF4-FFF2-40B4-BE49-F238E27FC236}">
                <a16:creationId xmlns:a16="http://schemas.microsoft.com/office/drawing/2014/main" id="{A3DA1E92-BAC1-489D-BFD0-D029B658F339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09426" y="6510213"/>
            <a:ext cx="1394768" cy="1875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0553986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5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4_Тема Office">
  <a:themeElements>
    <a:clrScheme name="Тема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Тема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6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2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7.xml><?xml version="1.0" encoding="utf-8"?>
<a:theme xmlns:a="http://schemas.openxmlformats.org/drawingml/2006/main" name="5_Тема Office">
  <a:themeElements>
    <a:clrScheme name="Тема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Тема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8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312</TotalTime>
  <Words>1088</Words>
  <Application>Microsoft Office PowerPoint</Application>
  <PresentationFormat>Широкоэкранный</PresentationFormat>
  <Paragraphs>176</Paragraphs>
  <Slides>14</Slides>
  <Notes>11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6</vt:i4>
      </vt:variant>
      <vt:variant>
        <vt:lpstr>Тема</vt:lpstr>
      </vt:variant>
      <vt:variant>
        <vt:i4>7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4</vt:i4>
      </vt:variant>
    </vt:vector>
  </HeadingPairs>
  <TitlesOfParts>
    <vt:vector size="28" baseType="lpstr">
      <vt:lpstr>Arial</vt:lpstr>
      <vt:lpstr>Calibri</vt:lpstr>
      <vt:lpstr>Calibri Light</vt:lpstr>
      <vt:lpstr>Gadugi</vt:lpstr>
      <vt:lpstr>inherit</vt:lpstr>
      <vt:lpstr>Trebuchet MS</vt:lpstr>
      <vt:lpstr>Тема Office</vt:lpstr>
      <vt:lpstr>Office Theme</vt:lpstr>
      <vt:lpstr>5_Office Theme</vt:lpstr>
      <vt:lpstr>4_Тема Office</vt:lpstr>
      <vt:lpstr>6_Office Theme</vt:lpstr>
      <vt:lpstr>2_Тема Office</vt:lpstr>
      <vt:lpstr>5_Тема Office</vt:lpstr>
      <vt:lpstr>Слайд think-cell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Bağırsaqlara daxil olduqdan sonra LINEX FORTE®-nin komponentləri normal bağırsaq mikroflorasının bütün funksiyalarını yerinə yetirir:</vt:lpstr>
      <vt:lpstr>Презентация PowerPoint</vt:lpstr>
      <vt:lpstr>Презентация PowerPoint</vt:lpstr>
      <vt:lpstr>Презентация PowerPoint</vt:lpstr>
      <vt:lpstr>Презентация PowerPoint</vt:lpstr>
      <vt:lpstr>Линекс® Форте antibiotiklə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Haciyeva Ayla</dc:creator>
  <cp:lastModifiedBy>Haciyeva Ayla</cp:lastModifiedBy>
  <cp:revision>9</cp:revision>
  <dcterms:created xsi:type="dcterms:W3CDTF">2025-04-08T06:50:37Z</dcterms:created>
  <dcterms:modified xsi:type="dcterms:W3CDTF">2025-05-05T05:33:38Z</dcterms:modified>
</cp:coreProperties>
</file>